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8" r:id="rId4"/>
  </p:sldMasterIdLst>
  <p:notesMasterIdLst>
    <p:notesMasterId r:id="rId27"/>
  </p:notesMasterIdLst>
  <p:handoutMasterIdLst>
    <p:handoutMasterId r:id="rId28"/>
  </p:handoutMasterIdLst>
  <p:sldIdLst>
    <p:sldId id="3309" r:id="rId5"/>
    <p:sldId id="3289" r:id="rId6"/>
    <p:sldId id="3302" r:id="rId7"/>
    <p:sldId id="3312" r:id="rId8"/>
    <p:sldId id="2560" r:id="rId9"/>
    <p:sldId id="2162" r:id="rId10"/>
    <p:sldId id="3313" r:id="rId11"/>
    <p:sldId id="3301" r:id="rId12"/>
    <p:sldId id="3303" r:id="rId13"/>
    <p:sldId id="3314" r:id="rId14"/>
    <p:sldId id="3315" r:id="rId15"/>
    <p:sldId id="3316" r:id="rId16"/>
    <p:sldId id="3317" r:id="rId17"/>
    <p:sldId id="3318" r:id="rId18"/>
    <p:sldId id="3319" r:id="rId19"/>
    <p:sldId id="2338" r:id="rId20"/>
    <p:sldId id="2034" r:id="rId21"/>
    <p:sldId id="3282" r:id="rId22"/>
    <p:sldId id="1711" r:id="rId23"/>
    <p:sldId id="1598" r:id="rId24"/>
    <p:sldId id="2240" r:id="rId25"/>
    <p:sldId id="1600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C207A647-356E-4D94-9FE3-66ADA0BB504F}">
          <p14:sldIdLst>
            <p14:sldId id="3309"/>
            <p14:sldId id="3289"/>
            <p14:sldId id="3302"/>
            <p14:sldId id="3312"/>
            <p14:sldId id="2560"/>
          </p14:sldIdLst>
        </p14:section>
        <p14:section name="Toolkit overview" id="{F236E09D-F1BA-49AA-851C-9B6FC4C418CC}">
          <p14:sldIdLst>
            <p14:sldId id="2162"/>
            <p14:sldId id="3313"/>
            <p14:sldId id="3301"/>
            <p14:sldId id="3303"/>
            <p14:sldId id="3314"/>
            <p14:sldId id="3315"/>
            <p14:sldId id="3316"/>
            <p14:sldId id="3317"/>
            <p14:sldId id="3318"/>
            <p14:sldId id="3319"/>
            <p14:sldId id="2338"/>
          </p14:sldIdLst>
        </p14:section>
        <p14:section name="Domont Consulting overview" id="{CFC560AE-1A41-4E74-900F-7DB740784DCF}">
          <p14:sldIdLst>
            <p14:sldId id="2034"/>
            <p14:sldId id="3282"/>
            <p14:sldId id="1711"/>
            <p14:sldId id="1598"/>
            <p14:sldId id="2240"/>
            <p14:sldId id="160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1F985DA-E5B7-E2D5-F2BA-A9B5C32074DF}" name="Aurelien Domont" initials="AD" userId="6da7715ce44349b3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  <p:cmAuthor id="3" name="Megan Platt" initials="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7A3"/>
    <a:srgbClr val="D3EFCE"/>
    <a:srgbClr val="F3D26A"/>
    <a:srgbClr val="FFEAA5"/>
    <a:srgbClr val="FFE9A0"/>
    <a:srgbClr val="FFABAB"/>
    <a:srgbClr val="FF8B8B"/>
    <a:srgbClr val="FF0000"/>
    <a:srgbClr val="EBF6DE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B2C6B8-087B-43B3-8633-024465984332}" v="720" dt="2024-02-27T00:03:45.908"/>
  </p1510:revLst>
</p1510:revInfo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447" autoAdjust="0"/>
  </p:normalViewPr>
  <p:slideViewPr>
    <p:cSldViewPr snapToGrid="0">
      <p:cViewPr varScale="1">
        <p:scale>
          <a:sx n="60" d="100"/>
          <a:sy n="60" d="100"/>
        </p:scale>
        <p:origin x="816" y="44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5" d="100"/>
          <a:sy n="45" d="100"/>
        </p:scale>
        <p:origin x="2760" y="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37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6/11/relationships/changesInfo" Target="changesInfos/changesInfo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elien Domont" userId="6da7715ce44349b3" providerId="LiveId" clId="{C3B994DB-AF37-400D-AF7F-B1D12BA6F4D5}"/>
    <pc:docChg chg="addSld delSld modSld">
      <pc:chgData name="Aurelien Domont" userId="6da7715ce44349b3" providerId="LiveId" clId="{C3B994DB-AF37-400D-AF7F-B1D12BA6F4D5}" dt="2023-11-22T03:45:32.729" v="30" actId="47"/>
      <pc:docMkLst>
        <pc:docMk/>
      </pc:docMkLst>
      <pc:sldChg chg="add del">
        <pc:chgData name="Aurelien Domont" userId="6da7715ce44349b3" providerId="LiveId" clId="{C3B994DB-AF37-400D-AF7F-B1D12BA6F4D5}" dt="2023-11-22T03:45:32.729" v="30" actId="47"/>
        <pc:sldMkLst>
          <pc:docMk/>
          <pc:sldMk cId="3761177222" sldId="2582"/>
        </pc:sldMkLst>
      </pc:sldChg>
      <pc:sldChg chg="modSp mod">
        <pc:chgData name="Aurelien Domont" userId="6da7715ce44349b3" providerId="LiveId" clId="{C3B994DB-AF37-400D-AF7F-B1D12BA6F4D5}" dt="2023-11-22T03:35:09.656" v="28" actId="20577"/>
        <pc:sldMkLst>
          <pc:docMk/>
          <pc:sldMk cId="3022687460" sldId="3295"/>
        </pc:sldMkLst>
        <pc:spChg chg="mod">
          <ac:chgData name="Aurelien Domont" userId="6da7715ce44349b3" providerId="LiveId" clId="{C3B994DB-AF37-400D-AF7F-B1D12BA6F4D5}" dt="2023-11-22T03:35:09.656" v="28" actId="20577"/>
          <ac:spMkLst>
            <pc:docMk/>
            <pc:sldMk cId="3022687460" sldId="3295"/>
            <ac:spMk id="25" creationId="{AC2EE0FE-7F2E-7FC2-1816-49176A3E26E1}"/>
          </ac:spMkLst>
        </pc:spChg>
      </pc:sldChg>
    </pc:docChg>
  </pc:docChgLst>
  <pc:docChgLst>
    <pc:chgData name="Aurelien Domont" userId="6da7715ce44349b3" providerId="LiveId" clId="{D6B2C6B8-087B-43B3-8633-024465984332}"/>
    <pc:docChg chg="undo redo custSel addSld delSld modSld sldOrd addSection delSection modSection replTag">
      <pc:chgData name="Aurelien Domont" userId="6da7715ce44349b3" providerId="LiveId" clId="{D6B2C6B8-087B-43B3-8633-024465984332}" dt="2024-02-27T00:12:13.105" v="5308" actId="20577"/>
      <pc:docMkLst>
        <pc:docMk/>
      </pc:docMkLst>
      <pc:sldChg chg="del">
        <pc:chgData name="Aurelien Domont" userId="6da7715ce44349b3" providerId="LiveId" clId="{D6B2C6B8-087B-43B3-8633-024465984332}" dt="2024-02-21T05:55:37.311" v="43" actId="47"/>
        <pc:sldMkLst>
          <pc:docMk/>
          <pc:sldMk cId="3956982643" sldId="526"/>
        </pc:sldMkLst>
      </pc:sldChg>
      <pc:sldChg chg="add del">
        <pc:chgData name="Aurelien Domont" userId="6da7715ce44349b3" providerId="LiveId" clId="{D6B2C6B8-087B-43B3-8633-024465984332}" dt="2024-02-22T00:05:55.467" v="5099"/>
        <pc:sldMkLst>
          <pc:docMk/>
          <pc:sldMk cId="1324642353" sldId="2152"/>
        </pc:sldMkLst>
      </pc:sldChg>
      <pc:sldChg chg="modSp mod ord">
        <pc:chgData name="Aurelien Domont" userId="6da7715ce44349b3" providerId="LiveId" clId="{D6B2C6B8-087B-43B3-8633-024465984332}" dt="2024-02-27T00:12:13.105" v="5308" actId="20577"/>
        <pc:sldMkLst>
          <pc:docMk/>
          <pc:sldMk cId="3272444503" sldId="2162"/>
        </pc:sldMkLst>
        <pc:spChg chg="mod">
          <ac:chgData name="Aurelien Domont" userId="6da7715ce44349b3" providerId="LiveId" clId="{D6B2C6B8-087B-43B3-8633-024465984332}" dt="2024-02-27T00:12:13.105" v="5308" actId="20577"/>
          <ac:spMkLst>
            <pc:docMk/>
            <pc:sldMk cId="3272444503" sldId="2162"/>
            <ac:spMk id="6" creationId="{22D27BA3-CC85-4DD2-AEDB-C22AC367D60A}"/>
          </ac:spMkLst>
        </pc:spChg>
      </pc:sldChg>
      <pc:sldChg chg="addSp delSp modSp mod ord">
        <pc:chgData name="Aurelien Domont" userId="6da7715ce44349b3" providerId="LiveId" clId="{D6B2C6B8-087B-43B3-8633-024465984332}" dt="2024-02-22T00:08:49.071" v="5229" actId="20577"/>
        <pc:sldMkLst>
          <pc:docMk/>
          <pc:sldMk cId="1209091634" sldId="2338"/>
        </pc:sldMkLst>
        <pc:spChg chg="add mod">
          <ac:chgData name="Aurelien Domont" userId="6da7715ce44349b3" providerId="LiveId" clId="{D6B2C6B8-087B-43B3-8633-024465984332}" dt="2024-02-22T00:08:32.042" v="5221"/>
          <ac:spMkLst>
            <pc:docMk/>
            <pc:sldMk cId="1209091634" sldId="2338"/>
            <ac:spMk id="3" creationId="{B927FF4E-317C-4CEC-FBC7-B39A59DED97E}"/>
          </ac:spMkLst>
        </pc:spChg>
        <pc:spChg chg="mod">
          <ac:chgData name="Aurelien Domont" userId="6da7715ce44349b3" providerId="LiveId" clId="{D6B2C6B8-087B-43B3-8633-024465984332}" dt="2024-02-22T00:08:49.071" v="5229" actId="20577"/>
          <ac:spMkLst>
            <pc:docMk/>
            <pc:sldMk cId="1209091634" sldId="2338"/>
            <ac:spMk id="15" creationId="{777600B6-F58C-3E6A-BB6D-D47C974412BF}"/>
          </ac:spMkLst>
        </pc:spChg>
        <pc:spChg chg="mod">
          <ac:chgData name="Aurelien Domont" userId="6da7715ce44349b3" providerId="LiveId" clId="{D6B2C6B8-087B-43B3-8633-024465984332}" dt="2024-02-22T00:08:40.116" v="5225" actId="20577"/>
          <ac:spMkLst>
            <pc:docMk/>
            <pc:sldMk cId="1209091634" sldId="2338"/>
            <ac:spMk id="17" creationId="{FE597C27-D46E-623C-682B-08389CD25348}"/>
          </ac:spMkLst>
        </pc:spChg>
        <pc:spChg chg="del">
          <ac:chgData name="Aurelien Domont" userId="6da7715ce44349b3" providerId="LiveId" clId="{D6B2C6B8-087B-43B3-8633-024465984332}" dt="2024-02-22T00:08:31.339" v="5220" actId="478"/>
          <ac:spMkLst>
            <pc:docMk/>
            <pc:sldMk cId="1209091634" sldId="2338"/>
            <ac:spMk id="18" creationId="{4D320F2E-6201-9947-D452-66AFE8B758E1}"/>
          </ac:spMkLst>
        </pc:spChg>
      </pc:sldChg>
      <pc:sldChg chg="addSp delSp modSp mod ord">
        <pc:chgData name="Aurelien Domont" userId="6da7715ce44349b3" providerId="LiveId" clId="{D6B2C6B8-087B-43B3-8633-024465984332}" dt="2024-02-21T06:37:22.847" v="1832" actId="478"/>
        <pc:sldMkLst>
          <pc:docMk/>
          <pc:sldMk cId="862292938" sldId="2560"/>
        </pc:sldMkLst>
        <pc:spChg chg="mod">
          <ac:chgData name="Aurelien Domont" userId="6da7715ce44349b3" providerId="LiveId" clId="{D6B2C6B8-087B-43B3-8633-024465984332}" dt="2024-02-21T06:27:01.774" v="1496" actId="948"/>
          <ac:spMkLst>
            <pc:docMk/>
            <pc:sldMk cId="862292938" sldId="2560"/>
            <ac:spMk id="2" creationId="{F7C4AEFD-F24A-61C6-413F-137EBECACF93}"/>
          </ac:spMkLst>
        </pc:spChg>
        <pc:spChg chg="add del mod modVis">
          <ac:chgData name="Aurelien Domont" userId="6da7715ce44349b3" providerId="LiveId" clId="{D6B2C6B8-087B-43B3-8633-024465984332}" dt="2024-02-21T06:25:20.653" v="1090"/>
          <ac:spMkLst>
            <pc:docMk/>
            <pc:sldMk cId="862292938" sldId="2560"/>
            <ac:spMk id="3" creationId="{6715530E-B460-EFA3-BCC8-C751224496C8}"/>
          </ac:spMkLst>
        </pc:spChg>
        <pc:spChg chg="add del mod modVis">
          <ac:chgData name="Aurelien Domont" userId="6da7715ce44349b3" providerId="LiveId" clId="{D6B2C6B8-087B-43B3-8633-024465984332}" dt="2024-02-21T06:25:22.523" v="1134"/>
          <ac:spMkLst>
            <pc:docMk/>
            <pc:sldMk cId="862292938" sldId="2560"/>
            <ac:spMk id="4" creationId="{F882A608-4553-8022-4E0F-808196F2AB23}"/>
          </ac:spMkLst>
        </pc:spChg>
        <pc:spChg chg="add del mod modVis">
          <ac:chgData name="Aurelien Domont" userId="6da7715ce44349b3" providerId="LiveId" clId="{D6B2C6B8-087B-43B3-8633-024465984332}" dt="2024-02-21T06:25:25.619" v="1186"/>
          <ac:spMkLst>
            <pc:docMk/>
            <pc:sldMk cId="862292938" sldId="2560"/>
            <ac:spMk id="5" creationId="{1D3512D3-2CC3-9617-8DE2-A13692288B43}"/>
          </ac:spMkLst>
        </pc:spChg>
        <pc:spChg chg="add del mod modVis">
          <ac:chgData name="Aurelien Domont" userId="6da7715ce44349b3" providerId="LiveId" clId="{D6B2C6B8-087B-43B3-8633-024465984332}" dt="2024-02-21T06:25:29.802" v="1230"/>
          <ac:spMkLst>
            <pc:docMk/>
            <pc:sldMk cId="862292938" sldId="2560"/>
            <ac:spMk id="7" creationId="{D4DD2344-9155-84E5-A686-56A0CC0D1FB0}"/>
          </ac:spMkLst>
        </pc:spChg>
        <pc:spChg chg="add del mod modVis">
          <ac:chgData name="Aurelien Domont" userId="6da7715ce44349b3" providerId="LiveId" clId="{D6B2C6B8-087B-43B3-8633-024465984332}" dt="2024-02-21T06:25:45.031" v="1286"/>
          <ac:spMkLst>
            <pc:docMk/>
            <pc:sldMk cId="862292938" sldId="2560"/>
            <ac:spMk id="8" creationId="{1C8E645A-C5FD-98FD-0D44-E65969EC726F}"/>
          </ac:spMkLst>
        </pc:spChg>
        <pc:spChg chg="add del mod modVis">
          <ac:chgData name="Aurelien Domont" userId="6da7715ce44349b3" providerId="LiveId" clId="{D6B2C6B8-087B-43B3-8633-024465984332}" dt="2024-02-21T06:25:48.158" v="1348"/>
          <ac:spMkLst>
            <pc:docMk/>
            <pc:sldMk cId="862292938" sldId="2560"/>
            <ac:spMk id="9" creationId="{E70C22C4-05E9-436A-46A2-BDBCBA899D98}"/>
          </ac:spMkLst>
        </pc:spChg>
        <pc:spChg chg="add del mod modVis">
          <ac:chgData name="Aurelien Domont" userId="6da7715ce44349b3" providerId="LiveId" clId="{D6B2C6B8-087B-43B3-8633-024465984332}" dt="2024-02-21T06:25:51.818" v="1411"/>
          <ac:spMkLst>
            <pc:docMk/>
            <pc:sldMk cId="862292938" sldId="2560"/>
            <ac:spMk id="10" creationId="{349B2875-381F-4EAE-61EF-FA72BF78C427}"/>
          </ac:spMkLst>
        </pc:spChg>
        <pc:spChg chg="add del mod modVis">
          <ac:chgData name="Aurelien Domont" userId="6da7715ce44349b3" providerId="LiveId" clId="{D6B2C6B8-087B-43B3-8633-024465984332}" dt="2024-02-21T06:26:02.778" v="1448"/>
          <ac:spMkLst>
            <pc:docMk/>
            <pc:sldMk cId="862292938" sldId="2560"/>
            <ac:spMk id="11" creationId="{19592AEE-E7B0-968E-12F7-1F27CCDCB3C9}"/>
          </ac:spMkLst>
        </pc:spChg>
        <pc:spChg chg="add del mod modVis">
          <ac:chgData name="Aurelien Domont" userId="6da7715ce44349b3" providerId="LiveId" clId="{D6B2C6B8-087B-43B3-8633-024465984332}" dt="2024-02-21T06:26:03.717" v="1492"/>
          <ac:spMkLst>
            <pc:docMk/>
            <pc:sldMk cId="862292938" sldId="2560"/>
            <ac:spMk id="12" creationId="{CB49C435-067B-E95A-359A-0C2D152E0EFF}"/>
          </ac:spMkLst>
        </pc:spChg>
        <pc:spChg chg="add del mod modVis">
          <ac:chgData name="Aurelien Domont" userId="6da7715ce44349b3" providerId="LiveId" clId="{D6B2C6B8-087B-43B3-8633-024465984332}" dt="2024-02-21T06:27:01.822" v="1536"/>
          <ac:spMkLst>
            <pc:docMk/>
            <pc:sldMk cId="862292938" sldId="2560"/>
            <ac:spMk id="13" creationId="{A3F3E8D0-0E00-3DFA-5542-4FE912300960}"/>
          </ac:spMkLst>
        </pc:spChg>
        <pc:spChg chg="add del">
          <ac:chgData name="Aurelien Domont" userId="6da7715ce44349b3" providerId="LiveId" clId="{D6B2C6B8-087B-43B3-8633-024465984332}" dt="2024-02-21T06:37:22.847" v="1832" actId="478"/>
          <ac:spMkLst>
            <pc:docMk/>
            <pc:sldMk cId="862292938" sldId="2560"/>
            <ac:spMk id="24" creationId="{0B841915-6BBA-61C7-023B-507BAD013462}"/>
          </ac:spMkLst>
        </pc:spChg>
        <pc:spChg chg="mod">
          <ac:chgData name="Aurelien Domont" userId="6da7715ce44349b3" providerId="LiveId" clId="{D6B2C6B8-087B-43B3-8633-024465984332}" dt="2024-02-21T06:27:28.319" v="1545" actId="20577"/>
          <ac:spMkLst>
            <pc:docMk/>
            <pc:sldMk cId="862292938" sldId="2560"/>
            <ac:spMk id="68" creationId="{6EF07348-B887-1E63-314E-8D5065886A79}"/>
          </ac:spMkLst>
        </pc:spChg>
        <pc:spChg chg="mod">
          <ac:chgData name="Aurelien Domont" userId="6da7715ce44349b3" providerId="LiveId" clId="{D6B2C6B8-087B-43B3-8633-024465984332}" dt="2024-02-21T06:27:29.387" v="1546" actId="20577"/>
          <ac:spMkLst>
            <pc:docMk/>
            <pc:sldMk cId="862292938" sldId="2560"/>
            <ac:spMk id="72" creationId="{FE359F32-85A0-ACB5-DB66-C02488E95509}"/>
          </ac:spMkLst>
        </pc:spChg>
        <pc:graphicFrameChg chg="mod">
          <ac:chgData name="Aurelien Domont" userId="6da7715ce44349b3" providerId="LiveId" clId="{D6B2C6B8-087B-43B3-8633-024465984332}" dt="2024-02-21T06:27:01.822" v="1538"/>
          <ac:graphicFrameMkLst>
            <pc:docMk/>
            <pc:sldMk cId="862292938" sldId="2560"/>
            <ac:graphicFrameMk id="6" creationId="{C74B90F8-16E2-149E-13EF-2AEEB8172E8E}"/>
          </ac:graphicFrameMkLst>
        </pc:graphicFrameChg>
      </pc:sldChg>
      <pc:sldChg chg="modSp mod ord">
        <pc:chgData name="Aurelien Domont" userId="6da7715ce44349b3" providerId="LiveId" clId="{D6B2C6B8-087B-43B3-8633-024465984332}" dt="2024-02-22T00:26:15.990" v="5240" actId="20577"/>
        <pc:sldMkLst>
          <pc:docMk/>
          <pc:sldMk cId="2246164536" sldId="3289"/>
        </pc:sldMkLst>
        <pc:spChg chg="mod">
          <ac:chgData name="Aurelien Domont" userId="6da7715ce44349b3" providerId="LiveId" clId="{D6B2C6B8-087B-43B3-8633-024465984332}" dt="2024-02-22T00:26:15.990" v="5240" actId="20577"/>
          <ac:spMkLst>
            <pc:docMk/>
            <pc:sldMk cId="2246164536" sldId="3289"/>
            <ac:spMk id="5" creationId="{DC054480-D828-7B59-3328-48D130C91ED1}"/>
          </ac:spMkLst>
        </pc:spChg>
      </pc:sldChg>
      <pc:sldChg chg="addSp delSp modSp mod ord chgLayout">
        <pc:chgData name="Aurelien Domont" userId="6da7715ce44349b3" providerId="LiveId" clId="{D6B2C6B8-087B-43B3-8633-024465984332}" dt="2024-02-27T00:04:25.826" v="5292" actId="20577"/>
        <pc:sldMkLst>
          <pc:docMk/>
          <pc:sldMk cId="2392440094" sldId="3301"/>
        </pc:sldMkLst>
        <pc:spChg chg="mod ord">
          <ac:chgData name="Aurelien Domont" userId="6da7715ce44349b3" providerId="LiveId" clId="{D6B2C6B8-087B-43B3-8633-024465984332}" dt="2024-02-21T06:39:20.164" v="1997" actId="948"/>
          <ac:spMkLst>
            <pc:docMk/>
            <pc:sldMk cId="2392440094" sldId="3301"/>
            <ac:spMk id="2" creationId="{12009DA8-0966-101B-E219-F283F194BD59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3" creationId="{1344A6CB-05DF-7EFE-6A4F-5326960A4224}"/>
          </ac:spMkLst>
        </pc:spChg>
        <pc:spChg chg="add del mod modVis">
          <ac:chgData name="Aurelien Domont" userId="6da7715ce44349b3" providerId="LiveId" clId="{D6B2C6B8-087B-43B3-8633-024465984332}" dt="2024-02-21T06:33:53.038" v="1606"/>
          <ac:spMkLst>
            <pc:docMk/>
            <pc:sldMk cId="2392440094" sldId="3301"/>
            <ac:spMk id="4" creationId="{DFAC2BF6-D2D9-B79D-CB33-149A0F3AE9DA}"/>
          </ac:spMkLst>
        </pc:spChg>
        <pc:spChg chg="add del mod ord">
          <ac:chgData name="Aurelien Domont" userId="6da7715ce44349b3" providerId="LiveId" clId="{D6B2C6B8-087B-43B3-8633-024465984332}" dt="2024-02-21T06:39:19.425" v="1947" actId="700"/>
          <ac:spMkLst>
            <pc:docMk/>
            <pc:sldMk cId="2392440094" sldId="3301"/>
            <ac:spMk id="5" creationId="{8963E3F0-E584-CAB8-E78D-4B53E6277CDA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7" creationId="{FE3FDD9B-75FF-A85A-B583-5989E754BAD2}"/>
          </ac:spMkLst>
        </pc:spChg>
        <pc:spChg chg="add del mod modVis">
          <ac:chgData name="Aurelien Domont" userId="6da7715ce44349b3" providerId="LiveId" clId="{D6B2C6B8-087B-43B3-8633-024465984332}" dt="2024-02-21T06:34:15.002" v="1768" actId="962"/>
          <ac:spMkLst>
            <pc:docMk/>
            <pc:sldMk cId="2392440094" sldId="3301"/>
            <ac:spMk id="8" creationId="{5C3B8B6C-820F-1E78-574D-D4653B064B77}"/>
          </ac:spMkLst>
        </pc:spChg>
        <pc:spChg chg="add del mod modVis">
          <ac:chgData name="Aurelien Domont" userId="6da7715ce44349b3" providerId="LiveId" clId="{D6B2C6B8-087B-43B3-8633-024465984332}" dt="2024-02-21T06:34:14.468" v="1741" actId="962"/>
          <ac:spMkLst>
            <pc:docMk/>
            <pc:sldMk cId="2392440094" sldId="3301"/>
            <ac:spMk id="9" creationId="{ADEF4F5E-553E-63B8-45C6-0065CE2DFA64}"/>
          </ac:spMkLst>
        </pc:spChg>
        <pc:spChg chg="add del mod ord">
          <ac:chgData name="Aurelien Domont" userId="6da7715ce44349b3" providerId="LiveId" clId="{D6B2C6B8-087B-43B3-8633-024465984332}" dt="2024-02-21T06:39:19.425" v="1947" actId="700"/>
          <ac:spMkLst>
            <pc:docMk/>
            <pc:sldMk cId="2392440094" sldId="3301"/>
            <ac:spMk id="10" creationId="{D3BBE21D-BAC3-6D20-D000-C42F0ED6877C}"/>
          </ac:spMkLst>
        </pc:spChg>
        <pc:spChg chg="add del mod modVis">
          <ac:chgData name="Aurelien Domont" userId="6da7715ce44349b3" providerId="LiveId" clId="{D6B2C6B8-087B-43B3-8633-024465984332}" dt="2024-02-21T06:34:13.996" v="1714" actId="962"/>
          <ac:spMkLst>
            <pc:docMk/>
            <pc:sldMk cId="2392440094" sldId="3301"/>
            <ac:spMk id="11" creationId="{498F69EE-3171-2288-286C-119E68DDACD9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12" creationId="{BC51187C-3FC3-BEBD-AE39-0085ECF7D6DD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13" creationId="{62EEBFBC-83B8-7DAD-6B14-D3BE025CACEE}"/>
          </ac:spMkLst>
        </pc:spChg>
        <pc:spChg chg="add del mod modVis">
          <ac:chgData name="Aurelien Domont" userId="6da7715ce44349b3" providerId="LiveId" clId="{D6B2C6B8-087B-43B3-8633-024465984332}" dt="2024-02-21T06:34:57.120" v="1798"/>
          <ac:spMkLst>
            <pc:docMk/>
            <pc:sldMk cId="2392440094" sldId="3301"/>
            <ac:spMk id="14" creationId="{8B72D036-178B-6B4F-8294-8F5E481E65CE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15" creationId="{F95D053A-FBA3-610B-9BD1-F145684E3208}"/>
          </ac:spMkLst>
        </pc:spChg>
        <pc:spChg chg="add del mod modVis">
          <ac:chgData name="Aurelien Domont" userId="6da7715ce44349b3" providerId="LiveId" clId="{D6B2C6B8-087B-43B3-8633-024465984332}" dt="2024-02-21T06:34:58.494" v="1826"/>
          <ac:spMkLst>
            <pc:docMk/>
            <pc:sldMk cId="2392440094" sldId="3301"/>
            <ac:spMk id="16" creationId="{23ABC499-A25A-1531-583A-568704DF363E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17" creationId="{E5481ADC-6F25-FA8A-B6AD-2CC5B4D7BA17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18" creationId="{6E6D3AEF-8103-50DE-EE19-03519C99B8F0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20" creationId="{CF34658B-6EF1-BA26-EAA5-B8267B142FAC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21" creationId="{1EAC0D87-F56B-3DFE-0218-3DC57C53DEE3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22" creationId="{4E2AC980-738F-5410-7396-9BD48409D85A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24" creationId="{2E819BAE-2B69-C19A-C55F-0E02F7BE605E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25" creationId="{494F9D9A-9C7B-4039-5508-73CF09BD236E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26" creationId="{40BA366A-8155-1900-4F44-1A1B01E06BC4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29" creationId="{49C8C22A-D467-A890-4374-1DF594E8AE3D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30" creationId="{3142A629-52C8-BC84-0159-47E3BA371663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31" creationId="{E1978435-C540-2E60-80ED-5F61F834CA95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32" creationId="{6C4CF8C0-1A00-E65C-D8C8-7BBD332982F9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33" creationId="{7E167919-0035-4CAC-7358-39216AD200F8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34" creationId="{7135FAC9-501A-BA59-7C84-E3E4C56016F4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35" creationId="{34D4905D-FFF2-23DB-E4A8-7BE699EAD4ED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36" creationId="{269EC4A1-4EA1-3CAA-119D-F8AFC34538D1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37" creationId="{96DA231F-06D3-2297-A065-B752B0AD0D72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38" creationId="{5E898187-5ED4-A91E-84F1-E137A53A657F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39" creationId="{749EA744-A726-0A1A-F95A-60614F8DBDB8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40" creationId="{11C08D12-C84E-92EC-5C44-8E92052C5256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44" creationId="{C468381A-F395-B4E2-0D5A-D8B2E6485A5E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45" creationId="{F4497DC1-54D5-A631-5F33-76CD732E2B87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46" creationId="{07288D11-4573-4AB4-B089-CF5AE94ACFB5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47" creationId="{9E4A6680-5025-FB6B-DA1A-B4A028F45B79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48" creationId="{6E5CA747-2D26-66DD-BB96-9AAA8CC980AB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49" creationId="{D000125F-0088-751F-E3A3-3ECDEF236824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50" creationId="{F160A322-898E-E49B-D5D2-C8EE5E71D010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52" creationId="{006FC88C-B28E-60A7-B0A8-5D5AEC12ED17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53" creationId="{C2C2F71A-06DF-8A50-3F47-0E4A0AD236CE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54" creationId="{560707EA-CB40-A079-3F40-BCA6C18723CB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55" creationId="{4E6836EF-7AE3-D0C9-59EE-F017C56C2108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56" creationId="{485737D5-0CF3-9082-DA25-E5ED8220601A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57" creationId="{C2C15A32-7D55-DAB2-41C0-EA9AC96ADED7}"/>
          </ac:spMkLst>
        </pc:spChg>
        <pc:spChg chg="del">
          <ac:chgData name="Aurelien Domont" userId="6da7715ce44349b3" providerId="LiveId" clId="{D6B2C6B8-087B-43B3-8633-024465984332}" dt="2024-02-21T06:35:04.604" v="1829" actId="478"/>
          <ac:spMkLst>
            <pc:docMk/>
            <pc:sldMk cId="2392440094" sldId="3301"/>
            <ac:spMk id="58" creationId="{7D152806-36A5-C9F4-81D1-0916B910C26E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59" creationId="{24DFBB33-9D73-41C4-757C-4B7095A8AD05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60" creationId="{4DE0157E-89EC-0AD2-E008-B65C1F43F673}"/>
          </ac:spMkLst>
        </pc:spChg>
        <pc:spChg chg="add mod">
          <ac:chgData name="Aurelien Domont" userId="6da7715ce44349b3" providerId="LiveId" clId="{D6B2C6B8-087B-43B3-8633-024465984332}" dt="2024-02-21T06:38:06.591" v="1833"/>
          <ac:spMkLst>
            <pc:docMk/>
            <pc:sldMk cId="2392440094" sldId="3301"/>
            <ac:spMk id="66" creationId="{9D0F080F-A8EF-625D-1CEB-D21F3AC4F623}"/>
          </ac:spMkLst>
        </pc:spChg>
        <pc:spChg chg="add del mod">
          <ac:chgData name="Aurelien Domont" userId="6da7715ce44349b3" providerId="LiveId" clId="{D6B2C6B8-087B-43B3-8633-024465984332}" dt="2024-02-21T06:39:20.164" v="1998" actId="478"/>
          <ac:spMkLst>
            <pc:docMk/>
            <pc:sldMk cId="2392440094" sldId="3301"/>
            <ac:spMk id="67" creationId="{48F88024-7AF0-402A-082F-E2A8276D8B60}"/>
          </ac:spMkLst>
        </pc:spChg>
        <pc:spChg chg="add del mod modVis">
          <ac:chgData name="Aurelien Domont" userId="6da7715ce44349b3" providerId="LiveId" clId="{D6B2C6B8-087B-43B3-8633-024465984332}" dt="2024-02-21T06:39:18.308" v="1941" actId="962"/>
          <ac:spMkLst>
            <pc:docMk/>
            <pc:sldMk cId="2392440094" sldId="3301"/>
            <ac:spMk id="68" creationId="{3A16983F-A458-7737-F6F8-D7CDC2904A49}"/>
          </ac:spMkLst>
        </pc:spChg>
        <pc:spChg chg="add del mod modVis">
          <ac:chgData name="Aurelien Domont" userId="6da7715ce44349b3" providerId="LiveId" clId="{D6B2C6B8-087B-43B3-8633-024465984332}" dt="2024-02-21T06:39:16.626" v="1913" actId="962"/>
          <ac:spMkLst>
            <pc:docMk/>
            <pc:sldMk cId="2392440094" sldId="3301"/>
            <ac:spMk id="69" creationId="{F1966FAB-865A-6AAD-E64C-7D80CF5AFBD5}"/>
          </ac:spMkLst>
        </pc:spChg>
        <pc:spChg chg="add del mod modVis">
          <ac:chgData name="Aurelien Domont" userId="6da7715ce44349b3" providerId="LiveId" clId="{D6B2C6B8-087B-43B3-8633-024465984332}" dt="2024-02-21T06:39:20.164" v="1996" actId="962"/>
          <ac:spMkLst>
            <pc:docMk/>
            <pc:sldMk cId="2392440094" sldId="3301"/>
            <ac:spMk id="70" creationId="{73A19E87-D3FB-CED1-5C30-594004743FFD}"/>
          </ac:spMkLst>
        </pc:spChg>
        <pc:spChg chg="add mod">
          <ac:chgData name="Aurelien Domont" userId="6da7715ce44349b3" providerId="LiveId" clId="{D6B2C6B8-087B-43B3-8633-024465984332}" dt="2024-02-21T06:44:12.143" v="2131" actId="1035"/>
          <ac:spMkLst>
            <pc:docMk/>
            <pc:sldMk cId="2392440094" sldId="3301"/>
            <ac:spMk id="71" creationId="{A7A43E85-BA7D-FC08-4F3C-0F55980E1481}"/>
          </ac:spMkLst>
        </pc:spChg>
        <pc:spChg chg="add mod">
          <ac:chgData name="Aurelien Domont" userId="6da7715ce44349b3" providerId="LiveId" clId="{D6B2C6B8-087B-43B3-8633-024465984332}" dt="2024-02-22T00:13:04.889" v="5230" actId="313"/>
          <ac:spMkLst>
            <pc:docMk/>
            <pc:sldMk cId="2392440094" sldId="3301"/>
            <ac:spMk id="72" creationId="{0F0B0624-A434-34BB-AF7C-81FB5EF86D42}"/>
          </ac:spMkLst>
        </pc:spChg>
        <pc:spChg chg="add mod">
          <ac:chgData name="Aurelien Domont" userId="6da7715ce44349b3" providerId="LiveId" clId="{D6B2C6B8-087B-43B3-8633-024465984332}" dt="2024-02-27T00:04:25.826" v="5292" actId="20577"/>
          <ac:spMkLst>
            <pc:docMk/>
            <pc:sldMk cId="2392440094" sldId="3301"/>
            <ac:spMk id="73" creationId="{4F27D601-3970-94F5-BFE6-286753CEC9BF}"/>
          </ac:spMkLst>
        </pc:spChg>
        <pc:spChg chg="add mod">
          <ac:chgData name="Aurelien Domont" userId="6da7715ce44349b3" providerId="LiveId" clId="{D6B2C6B8-087B-43B3-8633-024465984332}" dt="2024-02-21T06:45:12.094" v="2141" actId="465"/>
          <ac:spMkLst>
            <pc:docMk/>
            <pc:sldMk cId="2392440094" sldId="3301"/>
            <ac:spMk id="74" creationId="{4289508E-2732-48E0-9EB3-43516D3FEC07}"/>
          </ac:spMkLst>
        </pc:spChg>
        <pc:spChg chg="add mod">
          <ac:chgData name="Aurelien Domont" userId="6da7715ce44349b3" providerId="LiveId" clId="{D6B2C6B8-087B-43B3-8633-024465984332}" dt="2024-02-21T06:45:12.094" v="2141" actId="465"/>
          <ac:spMkLst>
            <pc:docMk/>
            <pc:sldMk cId="2392440094" sldId="3301"/>
            <ac:spMk id="75" creationId="{739E3E6E-4823-CA1E-BA42-693C394E36C5}"/>
          </ac:spMkLst>
        </pc:spChg>
        <pc:spChg chg="add mod">
          <ac:chgData name="Aurelien Domont" userId="6da7715ce44349b3" providerId="LiveId" clId="{D6B2C6B8-087B-43B3-8633-024465984332}" dt="2024-02-21T06:49:53.864" v="2173" actId="108"/>
          <ac:spMkLst>
            <pc:docMk/>
            <pc:sldMk cId="2392440094" sldId="3301"/>
            <ac:spMk id="76" creationId="{6F56E799-54F2-974E-2269-F082D4E741B3}"/>
          </ac:spMkLst>
        </pc:spChg>
        <pc:spChg chg="add mod">
          <ac:chgData name="Aurelien Domont" userId="6da7715ce44349b3" providerId="LiveId" clId="{D6B2C6B8-087B-43B3-8633-024465984332}" dt="2024-02-21T06:49:54.430" v="2174" actId="108"/>
          <ac:spMkLst>
            <pc:docMk/>
            <pc:sldMk cId="2392440094" sldId="3301"/>
            <ac:spMk id="77" creationId="{315048E3-033D-8A7C-D1DE-AC2D34350848}"/>
          </ac:spMkLst>
        </pc:spChg>
        <pc:spChg chg="add mod">
          <ac:chgData name="Aurelien Domont" userId="6da7715ce44349b3" providerId="LiveId" clId="{D6B2C6B8-087B-43B3-8633-024465984332}" dt="2024-02-21T06:49:49.591" v="2172" actId="20577"/>
          <ac:spMkLst>
            <pc:docMk/>
            <pc:sldMk cId="2392440094" sldId="3301"/>
            <ac:spMk id="78" creationId="{D5C80B47-F72D-EC8A-7B03-ABA803F4D3BC}"/>
          </ac:spMkLst>
        </pc:spChg>
        <pc:spChg chg="add mod">
          <ac:chgData name="Aurelien Domont" userId="6da7715ce44349b3" providerId="LiveId" clId="{D6B2C6B8-087B-43B3-8633-024465984332}" dt="2024-02-21T06:45:12.094" v="2141" actId="465"/>
          <ac:spMkLst>
            <pc:docMk/>
            <pc:sldMk cId="2392440094" sldId="3301"/>
            <ac:spMk id="79" creationId="{A5472601-475C-7FF5-5CF6-B966B0124255}"/>
          </ac:spMkLst>
        </pc:spChg>
        <pc:spChg chg="add mod">
          <ac:chgData name="Aurelien Domont" userId="6da7715ce44349b3" providerId="LiveId" clId="{D6B2C6B8-087B-43B3-8633-024465984332}" dt="2024-02-21T06:45:37.721" v="2153" actId="1036"/>
          <ac:spMkLst>
            <pc:docMk/>
            <pc:sldMk cId="2392440094" sldId="3301"/>
            <ac:spMk id="80" creationId="{8F972E18-EF20-60C6-39B6-57C43668EF28}"/>
          </ac:spMkLst>
        </pc:spChg>
        <pc:spChg chg="add mod">
          <ac:chgData name="Aurelien Domont" userId="6da7715ce44349b3" providerId="LiveId" clId="{D6B2C6B8-087B-43B3-8633-024465984332}" dt="2024-02-21T06:49:47.171" v="2170" actId="20577"/>
          <ac:spMkLst>
            <pc:docMk/>
            <pc:sldMk cId="2392440094" sldId="3301"/>
            <ac:spMk id="81" creationId="{060F8374-4DAB-62F8-798C-8EF80FD8042C}"/>
          </ac:spMkLst>
        </pc:spChg>
        <pc:spChg chg="add mod">
          <ac:chgData name="Aurelien Domont" userId="6da7715ce44349b3" providerId="LiveId" clId="{D6B2C6B8-087B-43B3-8633-024465984332}" dt="2024-02-21T06:49:54.885" v="2175" actId="108"/>
          <ac:spMkLst>
            <pc:docMk/>
            <pc:sldMk cId="2392440094" sldId="3301"/>
            <ac:spMk id="82" creationId="{A44B63C5-B15C-5FA1-3FC9-B9F6225C28A9}"/>
          </ac:spMkLst>
        </pc:spChg>
        <pc:spChg chg="add mod">
          <ac:chgData name="Aurelien Domont" userId="6da7715ce44349b3" providerId="LiveId" clId="{D6B2C6B8-087B-43B3-8633-024465984332}" dt="2024-02-21T06:49:55.246" v="2176" actId="108"/>
          <ac:spMkLst>
            <pc:docMk/>
            <pc:sldMk cId="2392440094" sldId="3301"/>
            <ac:spMk id="83" creationId="{A041EB7B-DCC8-99D6-B9F0-87F97EE1623B}"/>
          </ac:spMkLst>
        </pc:spChg>
        <pc:spChg chg="add mod">
          <ac:chgData name="Aurelien Domont" userId="6da7715ce44349b3" providerId="LiveId" clId="{D6B2C6B8-087B-43B3-8633-024465984332}" dt="2024-02-21T06:45:24.627" v="2152" actId="1036"/>
          <ac:spMkLst>
            <pc:docMk/>
            <pc:sldMk cId="2392440094" sldId="3301"/>
            <ac:spMk id="84" creationId="{73855F5F-C472-C8DE-24B0-20E8FA03A018}"/>
          </ac:spMkLst>
        </pc:spChg>
        <pc:spChg chg="add mod">
          <ac:chgData name="Aurelien Domont" userId="6da7715ce44349b3" providerId="LiveId" clId="{D6B2C6B8-087B-43B3-8633-024465984332}" dt="2024-02-21T06:45:24.627" v="2152" actId="1036"/>
          <ac:spMkLst>
            <pc:docMk/>
            <pc:sldMk cId="2392440094" sldId="3301"/>
            <ac:spMk id="85" creationId="{BAF1AA2F-4459-4EDD-B484-F18FEF1EFDBC}"/>
          </ac:spMkLst>
        </pc:spChg>
        <pc:spChg chg="add mod">
          <ac:chgData name="Aurelien Domont" userId="6da7715ce44349b3" providerId="LiveId" clId="{D6B2C6B8-087B-43B3-8633-024465984332}" dt="2024-02-21T06:45:24.627" v="2152" actId="1036"/>
          <ac:spMkLst>
            <pc:docMk/>
            <pc:sldMk cId="2392440094" sldId="3301"/>
            <ac:spMk id="86" creationId="{E0F5D6B0-B49F-F5E9-CC18-B4BE9052C402}"/>
          </ac:spMkLst>
        </pc:spChg>
        <pc:spChg chg="add mod">
          <ac:chgData name="Aurelien Domont" userId="6da7715ce44349b3" providerId="LiveId" clId="{D6B2C6B8-087B-43B3-8633-024465984332}" dt="2024-02-21T06:45:24.627" v="2152" actId="1036"/>
          <ac:spMkLst>
            <pc:docMk/>
            <pc:sldMk cId="2392440094" sldId="3301"/>
            <ac:spMk id="90" creationId="{1AE63B57-A348-C665-343E-E47CA0258B56}"/>
          </ac:spMkLst>
        </pc:spChg>
        <pc:spChg chg="add mod">
          <ac:chgData name="Aurelien Domont" userId="6da7715ce44349b3" providerId="LiveId" clId="{D6B2C6B8-087B-43B3-8633-024465984332}" dt="2024-02-21T06:45:24.627" v="2152" actId="1036"/>
          <ac:spMkLst>
            <pc:docMk/>
            <pc:sldMk cId="2392440094" sldId="3301"/>
            <ac:spMk id="91" creationId="{F276666B-CDE4-01A1-A163-F7A3A7D75520}"/>
          </ac:spMkLst>
        </pc:spChg>
        <pc:spChg chg="add mod">
          <ac:chgData name="Aurelien Domont" userId="6da7715ce44349b3" providerId="LiveId" clId="{D6B2C6B8-087B-43B3-8633-024465984332}" dt="2024-02-21T06:45:24.627" v="2152" actId="1036"/>
          <ac:spMkLst>
            <pc:docMk/>
            <pc:sldMk cId="2392440094" sldId="3301"/>
            <ac:spMk id="92" creationId="{0FC1C28D-BE5D-8F26-B37D-55C7D565C740}"/>
          </ac:spMkLst>
        </pc:spChg>
        <pc:spChg chg="add mod">
          <ac:chgData name="Aurelien Domont" userId="6da7715ce44349b3" providerId="LiveId" clId="{D6B2C6B8-087B-43B3-8633-024465984332}" dt="2024-02-21T06:50:05.794" v="2177" actId="1035"/>
          <ac:spMkLst>
            <pc:docMk/>
            <pc:sldMk cId="2392440094" sldId="3301"/>
            <ac:spMk id="93" creationId="{8F581031-3838-039F-7124-E37742039E94}"/>
          </ac:spMkLst>
        </pc:spChg>
        <pc:spChg chg="add mod">
          <ac:chgData name="Aurelien Domont" userId="6da7715ce44349b3" providerId="LiveId" clId="{D6B2C6B8-087B-43B3-8633-024465984332}" dt="2024-02-21T06:50:05.794" v="2177" actId="1035"/>
          <ac:spMkLst>
            <pc:docMk/>
            <pc:sldMk cId="2392440094" sldId="3301"/>
            <ac:spMk id="94" creationId="{8A2ED13E-4ADC-A0DD-0F99-DB825CE4DE09}"/>
          </ac:spMkLst>
        </pc:spChg>
        <pc:spChg chg="add mod">
          <ac:chgData name="Aurelien Domont" userId="6da7715ce44349b3" providerId="LiveId" clId="{D6B2C6B8-087B-43B3-8633-024465984332}" dt="2024-02-21T06:50:05.794" v="2177" actId="1035"/>
          <ac:spMkLst>
            <pc:docMk/>
            <pc:sldMk cId="2392440094" sldId="3301"/>
            <ac:spMk id="95" creationId="{849B49FC-D412-3B4B-2DC9-0227DC92525D}"/>
          </ac:spMkLst>
        </pc:spChg>
        <pc:spChg chg="add mod">
          <ac:chgData name="Aurelien Domont" userId="6da7715ce44349b3" providerId="LiveId" clId="{D6B2C6B8-087B-43B3-8633-024465984332}" dt="2024-02-21T06:50:05.794" v="2177" actId="1035"/>
          <ac:spMkLst>
            <pc:docMk/>
            <pc:sldMk cId="2392440094" sldId="3301"/>
            <ac:spMk id="96" creationId="{46920B10-678A-71CC-B999-72B50EAC019D}"/>
          </ac:spMkLst>
        </pc:spChg>
        <pc:spChg chg="add mod">
          <ac:chgData name="Aurelien Domont" userId="6da7715ce44349b3" providerId="LiveId" clId="{D6B2C6B8-087B-43B3-8633-024465984332}" dt="2024-02-21T06:50:05.794" v="2177" actId="1035"/>
          <ac:spMkLst>
            <pc:docMk/>
            <pc:sldMk cId="2392440094" sldId="3301"/>
            <ac:spMk id="97" creationId="{FEE0A99E-B5F6-3112-4045-7195728CBB32}"/>
          </ac:spMkLst>
        </pc:spChg>
        <pc:spChg chg="add mod">
          <ac:chgData name="Aurelien Domont" userId="6da7715ce44349b3" providerId="LiveId" clId="{D6B2C6B8-087B-43B3-8633-024465984332}" dt="2024-02-21T06:50:05.794" v="2177" actId="1035"/>
          <ac:spMkLst>
            <pc:docMk/>
            <pc:sldMk cId="2392440094" sldId="3301"/>
            <ac:spMk id="98" creationId="{84AE952C-8B99-9A79-ADDB-6573541BFB92}"/>
          </ac:spMkLst>
        </pc:spChg>
        <pc:spChg chg="add mod">
          <ac:chgData name="Aurelien Domont" userId="6da7715ce44349b3" providerId="LiveId" clId="{D6B2C6B8-087B-43B3-8633-024465984332}" dt="2024-02-21T06:44:56.828" v="2140" actId="1035"/>
          <ac:spMkLst>
            <pc:docMk/>
            <pc:sldMk cId="2392440094" sldId="3301"/>
            <ac:spMk id="102" creationId="{79F5E398-C605-077C-E466-FCBB7E25C410}"/>
          </ac:spMkLst>
        </pc:spChg>
        <pc:graphicFrameChg chg="mod">
          <ac:chgData name="Aurelien Domont" userId="6da7715ce44349b3" providerId="LiveId" clId="{D6B2C6B8-087B-43B3-8633-024465984332}" dt="2024-02-21T06:39:21.311" v="2002"/>
          <ac:graphicFrameMkLst>
            <pc:docMk/>
            <pc:sldMk cId="2392440094" sldId="3301"/>
            <ac:graphicFrameMk id="6" creationId="{F5887244-1866-E102-5FD5-79FA1304146D}"/>
          </ac:graphicFrameMkLst>
        </pc:graphicFrameChg>
        <pc:picChg chg="del">
          <ac:chgData name="Aurelien Domont" userId="6da7715ce44349b3" providerId="LiveId" clId="{D6B2C6B8-087B-43B3-8633-024465984332}" dt="2024-02-21T06:35:04.604" v="1829" actId="478"/>
          <ac:picMkLst>
            <pc:docMk/>
            <pc:sldMk cId="2392440094" sldId="3301"/>
            <ac:picMk id="19" creationId="{C8886E1B-B14D-243A-7D11-F0877C3A3078}"/>
          </ac:picMkLst>
        </pc:picChg>
        <pc:picChg chg="del">
          <ac:chgData name="Aurelien Domont" userId="6da7715ce44349b3" providerId="LiveId" clId="{D6B2C6B8-087B-43B3-8633-024465984332}" dt="2024-02-21T06:35:04.604" v="1829" actId="478"/>
          <ac:picMkLst>
            <pc:docMk/>
            <pc:sldMk cId="2392440094" sldId="3301"/>
            <ac:picMk id="23" creationId="{F4BE74C8-642A-9D42-4C6C-711AF7FF1C1C}"/>
          </ac:picMkLst>
        </pc:picChg>
        <pc:picChg chg="add mod">
          <ac:chgData name="Aurelien Domont" userId="6da7715ce44349b3" providerId="LiveId" clId="{D6B2C6B8-087B-43B3-8633-024465984332}" dt="2024-02-21T06:38:06.591" v="1833"/>
          <ac:picMkLst>
            <pc:docMk/>
            <pc:sldMk cId="2392440094" sldId="3301"/>
            <ac:picMk id="41" creationId="{B09938E5-F36B-B780-79B9-19A8AF52912A}"/>
          </ac:picMkLst>
        </pc:picChg>
        <pc:picChg chg="add mod">
          <ac:chgData name="Aurelien Domont" userId="6da7715ce44349b3" providerId="LiveId" clId="{D6B2C6B8-087B-43B3-8633-024465984332}" dt="2024-02-21T06:38:06.591" v="1833"/>
          <ac:picMkLst>
            <pc:docMk/>
            <pc:sldMk cId="2392440094" sldId="3301"/>
            <ac:picMk id="42" creationId="{60D76EC4-2916-A935-C425-46D2189198EA}"/>
          </ac:picMkLst>
        </pc:picChg>
        <pc:picChg chg="add mod">
          <ac:chgData name="Aurelien Domont" userId="6da7715ce44349b3" providerId="LiveId" clId="{D6B2C6B8-087B-43B3-8633-024465984332}" dt="2024-02-21T06:38:06.591" v="1833"/>
          <ac:picMkLst>
            <pc:docMk/>
            <pc:sldMk cId="2392440094" sldId="3301"/>
            <ac:picMk id="43" creationId="{7A5A0132-FB89-5EE1-C079-55FACE4A33B4}"/>
          </ac:picMkLst>
        </pc:picChg>
        <pc:picChg chg="del">
          <ac:chgData name="Aurelien Domont" userId="6da7715ce44349b3" providerId="LiveId" clId="{D6B2C6B8-087B-43B3-8633-024465984332}" dt="2024-02-21T06:35:04.604" v="1829" actId="478"/>
          <ac:picMkLst>
            <pc:docMk/>
            <pc:sldMk cId="2392440094" sldId="3301"/>
            <ac:picMk id="61" creationId="{BF03350A-9CE3-0200-256C-4D32F5DBC7D5}"/>
          </ac:picMkLst>
        </pc:picChg>
        <pc:picChg chg="del">
          <ac:chgData name="Aurelien Domont" userId="6da7715ce44349b3" providerId="LiveId" clId="{D6B2C6B8-087B-43B3-8633-024465984332}" dt="2024-02-21T06:35:06.820" v="1830" actId="478"/>
          <ac:picMkLst>
            <pc:docMk/>
            <pc:sldMk cId="2392440094" sldId="3301"/>
            <ac:picMk id="62" creationId="{33B3FA32-E02D-E69B-C5A7-17CA4AFD190F}"/>
          </ac:picMkLst>
        </pc:picChg>
        <pc:picChg chg="add mod">
          <ac:chgData name="Aurelien Domont" userId="6da7715ce44349b3" providerId="LiveId" clId="{D6B2C6B8-087B-43B3-8633-024465984332}" dt="2024-02-21T06:38:06.591" v="1833"/>
          <ac:picMkLst>
            <pc:docMk/>
            <pc:sldMk cId="2392440094" sldId="3301"/>
            <ac:picMk id="63" creationId="{6064AD0B-B9B4-F17C-64B1-AE2EF8AD6520}"/>
          </ac:picMkLst>
        </pc:picChg>
        <pc:picChg chg="add mod">
          <ac:chgData name="Aurelien Domont" userId="6da7715ce44349b3" providerId="LiveId" clId="{D6B2C6B8-087B-43B3-8633-024465984332}" dt="2024-02-21T06:38:06.591" v="1833"/>
          <ac:picMkLst>
            <pc:docMk/>
            <pc:sldMk cId="2392440094" sldId="3301"/>
            <ac:picMk id="64" creationId="{7A1C2982-0253-03E8-AC0C-4FB7625E96C4}"/>
          </ac:picMkLst>
        </pc:picChg>
        <pc:picChg chg="add mod">
          <ac:chgData name="Aurelien Domont" userId="6da7715ce44349b3" providerId="LiveId" clId="{D6B2C6B8-087B-43B3-8633-024465984332}" dt="2024-02-21T06:38:06.591" v="1833"/>
          <ac:picMkLst>
            <pc:docMk/>
            <pc:sldMk cId="2392440094" sldId="3301"/>
            <ac:picMk id="65" creationId="{F4CF2AEA-1ED2-B858-2358-823CA4444BB0}"/>
          </ac:picMkLst>
        </pc:picChg>
        <pc:picChg chg="add mod">
          <ac:chgData name="Aurelien Domont" userId="6da7715ce44349b3" providerId="LiveId" clId="{D6B2C6B8-087B-43B3-8633-024465984332}" dt="2024-02-21T06:45:24.627" v="2152" actId="1036"/>
          <ac:picMkLst>
            <pc:docMk/>
            <pc:sldMk cId="2392440094" sldId="3301"/>
            <ac:picMk id="87" creationId="{8CDC246F-87AD-45AA-D4F1-A795ED88FDCB}"/>
          </ac:picMkLst>
        </pc:picChg>
        <pc:picChg chg="add mod">
          <ac:chgData name="Aurelien Domont" userId="6da7715ce44349b3" providerId="LiveId" clId="{D6B2C6B8-087B-43B3-8633-024465984332}" dt="2024-02-21T06:45:24.627" v="2152" actId="1036"/>
          <ac:picMkLst>
            <pc:docMk/>
            <pc:sldMk cId="2392440094" sldId="3301"/>
            <ac:picMk id="88" creationId="{709A38EE-9C87-8752-C2D8-E38EF0FE371D}"/>
          </ac:picMkLst>
        </pc:picChg>
        <pc:picChg chg="add mod">
          <ac:chgData name="Aurelien Domont" userId="6da7715ce44349b3" providerId="LiveId" clId="{D6B2C6B8-087B-43B3-8633-024465984332}" dt="2024-02-21T06:45:24.627" v="2152" actId="1036"/>
          <ac:picMkLst>
            <pc:docMk/>
            <pc:sldMk cId="2392440094" sldId="3301"/>
            <ac:picMk id="89" creationId="{B5BA2A0E-3D4C-9E4A-DB1D-998E9AFE038C}"/>
          </ac:picMkLst>
        </pc:picChg>
        <pc:picChg chg="add mod">
          <ac:chgData name="Aurelien Domont" userId="6da7715ce44349b3" providerId="LiveId" clId="{D6B2C6B8-087B-43B3-8633-024465984332}" dt="2024-02-21T06:50:05.794" v="2177" actId="1035"/>
          <ac:picMkLst>
            <pc:docMk/>
            <pc:sldMk cId="2392440094" sldId="3301"/>
            <ac:picMk id="99" creationId="{453C4F9A-22C1-C7AF-321A-DE29C22828FB}"/>
          </ac:picMkLst>
        </pc:picChg>
        <pc:picChg chg="add mod">
          <ac:chgData name="Aurelien Domont" userId="6da7715ce44349b3" providerId="LiveId" clId="{D6B2C6B8-087B-43B3-8633-024465984332}" dt="2024-02-21T06:50:05.794" v="2177" actId="1035"/>
          <ac:picMkLst>
            <pc:docMk/>
            <pc:sldMk cId="2392440094" sldId="3301"/>
            <ac:picMk id="100" creationId="{76F866B5-9F3E-0137-4EEE-40AE6A415653}"/>
          </ac:picMkLst>
        </pc:picChg>
        <pc:picChg chg="add mod">
          <ac:chgData name="Aurelien Domont" userId="6da7715ce44349b3" providerId="LiveId" clId="{D6B2C6B8-087B-43B3-8633-024465984332}" dt="2024-02-21T06:50:05.794" v="2177" actId="1035"/>
          <ac:picMkLst>
            <pc:docMk/>
            <pc:sldMk cId="2392440094" sldId="3301"/>
            <ac:picMk id="101" creationId="{9A19DF8D-5B60-1C50-4303-215A2F8E0EE2}"/>
          </ac:picMkLst>
        </pc:picChg>
        <pc:cxnChg chg="del">
          <ac:chgData name="Aurelien Domont" userId="6da7715ce44349b3" providerId="LiveId" clId="{D6B2C6B8-087B-43B3-8633-024465984332}" dt="2024-02-21T06:35:04.604" v="1829" actId="478"/>
          <ac:cxnSpMkLst>
            <pc:docMk/>
            <pc:sldMk cId="2392440094" sldId="3301"/>
            <ac:cxnSpMk id="27" creationId="{2108756B-174F-8EFD-07B5-50872BD21D41}"/>
          </ac:cxnSpMkLst>
        </pc:cxnChg>
        <pc:cxnChg chg="del">
          <ac:chgData name="Aurelien Domont" userId="6da7715ce44349b3" providerId="LiveId" clId="{D6B2C6B8-087B-43B3-8633-024465984332}" dt="2024-02-21T06:35:04.604" v="1829" actId="478"/>
          <ac:cxnSpMkLst>
            <pc:docMk/>
            <pc:sldMk cId="2392440094" sldId="3301"/>
            <ac:cxnSpMk id="28" creationId="{39185B50-34FE-59C7-03F5-51D3254B2C05}"/>
          </ac:cxnSpMkLst>
        </pc:cxnChg>
        <pc:cxnChg chg="del">
          <ac:chgData name="Aurelien Domont" userId="6da7715ce44349b3" providerId="LiveId" clId="{D6B2C6B8-087B-43B3-8633-024465984332}" dt="2024-02-21T06:35:04.604" v="1829" actId="478"/>
          <ac:cxnSpMkLst>
            <pc:docMk/>
            <pc:sldMk cId="2392440094" sldId="3301"/>
            <ac:cxnSpMk id="51" creationId="{7F02FA42-B1F8-3D81-77BD-EF05DBAEB874}"/>
          </ac:cxnSpMkLst>
        </pc:cxnChg>
      </pc:sldChg>
      <pc:sldChg chg="addSp delSp modSp mod ord">
        <pc:chgData name="Aurelien Domont" userId="6da7715ce44349b3" providerId="LiveId" clId="{D6B2C6B8-087B-43B3-8633-024465984332}" dt="2024-02-21T06:10:31.614" v="442"/>
        <pc:sldMkLst>
          <pc:docMk/>
          <pc:sldMk cId="1393908417" sldId="3302"/>
        </pc:sldMkLst>
        <pc:spChg chg="mod">
          <ac:chgData name="Aurelien Domont" userId="6da7715ce44349b3" providerId="LiveId" clId="{D6B2C6B8-087B-43B3-8633-024465984332}" dt="2024-02-21T06:10:31.583" v="416" actId="948"/>
          <ac:spMkLst>
            <pc:docMk/>
            <pc:sldMk cId="1393908417" sldId="3302"/>
            <ac:spMk id="2" creationId="{0C8D96AE-3B87-BB1A-13CC-08803680CEE2}"/>
          </ac:spMkLst>
        </pc:spChg>
        <pc:spChg chg="del">
          <ac:chgData name="Aurelien Domont" userId="6da7715ce44349b3" providerId="LiveId" clId="{D6B2C6B8-087B-43B3-8633-024465984332}" dt="2024-02-21T05:59:40.921" v="234" actId="478"/>
          <ac:spMkLst>
            <pc:docMk/>
            <pc:sldMk cId="1393908417" sldId="3302"/>
            <ac:spMk id="3" creationId="{A138372C-B22A-86F9-2488-6C52595756F9}"/>
          </ac:spMkLst>
        </pc:spChg>
        <pc:spChg chg="add del mod modVis">
          <ac:chgData name="Aurelien Domont" userId="6da7715ce44349b3" providerId="LiveId" clId="{D6B2C6B8-087B-43B3-8633-024465984332}" dt="2024-02-21T05:59:09.312" v="77"/>
          <ac:spMkLst>
            <pc:docMk/>
            <pc:sldMk cId="1393908417" sldId="3302"/>
            <ac:spMk id="4" creationId="{289E0857-053B-7BFD-7196-907E2CD04C6E}"/>
          </ac:spMkLst>
        </pc:spChg>
        <pc:spChg chg="mod">
          <ac:chgData name="Aurelien Domont" userId="6da7715ce44349b3" providerId="LiveId" clId="{D6B2C6B8-087B-43B3-8633-024465984332}" dt="2024-02-21T05:59:26.900" v="206" actId="20577"/>
          <ac:spMkLst>
            <pc:docMk/>
            <pc:sldMk cId="1393908417" sldId="3302"/>
            <ac:spMk id="7" creationId="{C02B9222-5CB1-3B84-6E21-D911BAAE741F}"/>
          </ac:spMkLst>
        </pc:spChg>
        <pc:spChg chg="mod">
          <ac:chgData name="Aurelien Domont" userId="6da7715ce44349b3" providerId="LiveId" clId="{D6B2C6B8-087B-43B3-8633-024465984332}" dt="2024-02-21T05:59:32.174" v="213" actId="20577"/>
          <ac:spMkLst>
            <pc:docMk/>
            <pc:sldMk cId="1393908417" sldId="3302"/>
            <ac:spMk id="10" creationId="{ACB9C308-1B6C-C036-ABD5-4933853DB3D6}"/>
          </ac:spMkLst>
        </pc:spChg>
        <pc:spChg chg="add del mod modVis">
          <ac:chgData name="Aurelien Domont" userId="6da7715ce44349b3" providerId="LiveId" clId="{D6B2C6B8-087B-43B3-8633-024465984332}" dt="2024-02-21T05:59:12.847" v="111"/>
          <ac:spMkLst>
            <pc:docMk/>
            <pc:sldMk cId="1393908417" sldId="3302"/>
            <ac:spMk id="11" creationId="{2C281295-B530-6091-5F3A-A9071A48C485}"/>
          </ac:spMkLst>
        </pc:spChg>
        <pc:spChg chg="del">
          <ac:chgData name="Aurelien Domont" userId="6da7715ce44349b3" providerId="LiveId" clId="{D6B2C6B8-087B-43B3-8633-024465984332}" dt="2024-02-21T05:59:35.962" v="215"/>
          <ac:spMkLst>
            <pc:docMk/>
            <pc:sldMk cId="1393908417" sldId="3302"/>
            <ac:spMk id="12" creationId="{685B27CA-FD1D-573B-76DD-CF807315C6BE}"/>
          </ac:spMkLst>
        </pc:spChg>
        <pc:spChg chg="del">
          <ac:chgData name="Aurelien Domont" userId="6da7715ce44349b3" providerId="LiveId" clId="{D6B2C6B8-087B-43B3-8633-024465984332}" dt="2024-02-21T05:59:35.962" v="214"/>
          <ac:spMkLst>
            <pc:docMk/>
            <pc:sldMk cId="1393908417" sldId="3302"/>
            <ac:spMk id="13" creationId="{5417CBAA-CB2E-C307-17E4-3D03BB742EF8}"/>
          </ac:spMkLst>
        </pc:spChg>
        <pc:spChg chg="add del mod modVis">
          <ac:chgData name="Aurelien Domont" userId="6da7715ce44349b3" providerId="LiveId" clId="{D6B2C6B8-087B-43B3-8633-024465984332}" dt="2024-02-21T05:59:19.660" v="140"/>
          <ac:spMkLst>
            <pc:docMk/>
            <pc:sldMk cId="1393908417" sldId="3302"/>
            <ac:spMk id="14" creationId="{258B5ED4-104E-D9E8-F0AA-B334E5E1629C}"/>
          </ac:spMkLst>
        </pc:spChg>
        <pc:spChg chg="add del mod modVis">
          <ac:chgData name="Aurelien Domont" userId="6da7715ce44349b3" providerId="LiveId" clId="{D6B2C6B8-087B-43B3-8633-024465984332}" dt="2024-02-21T05:59:20.493" v="168"/>
          <ac:spMkLst>
            <pc:docMk/>
            <pc:sldMk cId="1393908417" sldId="3302"/>
            <ac:spMk id="15" creationId="{1EE61F11-4080-E812-04FF-BB7157E4B4D9}"/>
          </ac:spMkLst>
        </pc:spChg>
        <pc:spChg chg="add del mod modVis">
          <ac:chgData name="Aurelien Domont" userId="6da7715ce44349b3" providerId="LiveId" clId="{D6B2C6B8-087B-43B3-8633-024465984332}" dt="2024-02-21T05:59:21.844" v="197"/>
          <ac:spMkLst>
            <pc:docMk/>
            <pc:sldMk cId="1393908417" sldId="3302"/>
            <ac:spMk id="17" creationId="{B9177169-868C-DDA3-3A40-35FD35ED1D25}"/>
          </ac:spMkLst>
        </pc:spChg>
        <pc:spChg chg="mod">
          <ac:chgData name="Aurelien Domont" userId="6da7715ce44349b3" providerId="LiveId" clId="{D6B2C6B8-087B-43B3-8633-024465984332}" dt="2024-02-21T06:01:03.185" v="243" actId="20577"/>
          <ac:spMkLst>
            <pc:docMk/>
            <pc:sldMk cId="1393908417" sldId="3302"/>
            <ac:spMk id="20" creationId="{8700F8CA-4689-A274-3367-80E787954497}"/>
          </ac:spMkLst>
        </pc:spChg>
        <pc:spChg chg="del">
          <ac:chgData name="Aurelien Domont" userId="6da7715ce44349b3" providerId="LiveId" clId="{D6B2C6B8-087B-43B3-8633-024465984332}" dt="2024-02-21T05:59:39.179" v="226"/>
          <ac:spMkLst>
            <pc:docMk/>
            <pc:sldMk cId="1393908417" sldId="3302"/>
            <ac:spMk id="23" creationId="{B569F797-3226-BA33-BF8C-22327040D1D6}"/>
          </ac:spMkLst>
        </pc:spChg>
        <pc:spChg chg="del">
          <ac:chgData name="Aurelien Domont" userId="6da7715ce44349b3" providerId="LiveId" clId="{D6B2C6B8-087B-43B3-8633-024465984332}" dt="2024-02-21T05:59:39.179" v="225"/>
          <ac:spMkLst>
            <pc:docMk/>
            <pc:sldMk cId="1393908417" sldId="3302"/>
            <ac:spMk id="24" creationId="{7231813A-6307-0A95-E972-6C124DD26365}"/>
          </ac:spMkLst>
        </pc:spChg>
        <pc:spChg chg="mod">
          <ac:chgData name="Aurelien Domont" userId="6da7715ce44349b3" providerId="LiveId" clId="{D6B2C6B8-087B-43B3-8633-024465984332}" dt="2024-02-21T06:01:07.453" v="252" actId="20577"/>
          <ac:spMkLst>
            <pc:docMk/>
            <pc:sldMk cId="1393908417" sldId="3302"/>
            <ac:spMk id="25" creationId="{4508D8C8-554D-7905-2C2A-C1FF71DF1A57}"/>
          </ac:spMkLst>
        </pc:spChg>
        <pc:spChg chg="add del mod">
          <ac:chgData name="Aurelien Domont" userId="6da7715ce44349b3" providerId="LiveId" clId="{D6B2C6B8-087B-43B3-8633-024465984332}" dt="2024-02-21T06:05:09.218" v="356" actId="478"/>
          <ac:spMkLst>
            <pc:docMk/>
            <pc:sldMk cId="1393908417" sldId="3302"/>
            <ac:spMk id="26" creationId="{6AEA2198-FF8C-37BE-2A68-EA0A910CED4C}"/>
          </ac:spMkLst>
        </pc:spChg>
        <pc:spChg chg="add del mod">
          <ac:chgData name="Aurelien Domont" userId="6da7715ce44349b3" providerId="LiveId" clId="{D6B2C6B8-087B-43B3-8633-024465984332}" dt="2024-02-21T06:05:09.218" v="356" actId="478"/>
          <ac:spMkLst>
            <pc:docMk/>
            <pc:sldMk cId="1393908417" sldId="3302"/>
            <ac:spMk id="27" creationId="{DCEEBC3E-82B5-2C77-2884-B12ADD70E82D}"/>
          </ac:spMkLst>
        </pc:spChg>
        <pc:spChg chg="add del mod modVis">
          <ac:chgData name="Aurelien Domont" userId="6da7715ce44349b3" providerId="LiveId" clId="{D6B2C6B8-087B-43B3-8633-024465984332}" dt="2024-02-21T06:04:52.114" v="296"/>
          <ac:spMkLst>
            <pc:docMk/>
            <pc:sldMk cId="1393908417" sldId="3302"/>
            <ac:spMk id="28" creationId="{0C2E67DE-883B-48F7-629D-64AD8B170710}"/>
          </ac:spMkLst>
        </pc:spChg>
        <pc:spChg chg="add del mod modVis">
          <ac:chgData name="Aurelien Domont" userId="6da7715ce44349b3" providerId="LiveId" clId="{D6B2C6B8-087B-43B3-8633-024465984332}" dt="2024-02-21T06:05:01.634" v="324"/>
          <ac:spMkLst>
            <pc:docMk/>
            <pc:sldMk cId="1393908417" sldId="3302"/>
            <ac:spMk id="29" creationId="{805FBD66-CB6E-9D7E-8436-9AFFBD8483CD}"/>
          </ac:spMkLst>
        </pc:spChg>
        <pc:spChg chg="add del mod modVis">
          <ac:chgData name="Aurelien Domont" userId="6da7715ce44349b3" providerId="LiveId" clId="{D6B2C6B8-087B-43B3-8633-024465984332}" dt="2024-02-21T06:05:04.005" v="353"/>
          <ac:spMkLst>
            <pc:docMk/>
            <pc:sldMk cId="1393908417" sldId="3302"/>
            <ac:spMk id="30" creationId="{6EEEA89E-0268-D1B5-02C0-09DE3660B043}"/>
          </ac:spMkLst>
        </pc:spChg>
        <pc:spChg chg="del">
          <ac:chgData name="Aurelien Domont" userId="6da7715ce44349b3" providerId="LiveId" clId="{D6B2C6B8-087B-43B3-8633-024465984332}" dt="2024-02-21T05:59:39.179" v="224"/>
          <ac:spMkLst>
            <pc:docMk/>
            <pc:sldMk cId="1393908417" sldId="3302"/>
            <ac:spMk id="32" creationId="{F1EAC2A1-60CC-5D88-F44F-9E24C4E66F56}"/>
          </ac:spMkLst>
        </pc:spChg>
        <pc:spChg chg="mod">
          <ac:chgData name="Aurelien Domont" userId="6da7715ce44349b3" providerId="LiveId" clId="{D6B2C6B8-087B-43B3-8633-024465984332}" dt="2024-02-21T06:06:40.542" v="367" actId="404"/>
          <ac:spMkLst>
            <pc:docMk/>
            <pc:sldMk cId="1393908417" sldId="3302"/>
            <ac:spMk id="34" creationId="{1C9A886E-6C9E-7A14-E047-126EACCABE7B}"/>
          </ac:spMkLst>
        </pc:spChg>
        <pc:spChg chg="del">
          <ac:chgData name="Aurelien Domont" userId="6da7715ce44349b3" providerId="LiveId" clId="{D6B2C6B8-087B-43B3-8633-024465984332}" dt="2024-02-21T05:59:39.179" v="223"/>
          <ac:spMkLst>
            <pc:docMk/>
            <pc:sldMk cId="1393908417" sldId="3302"/>
            <ac:spMk id="35" creationId="{178216EB-BA0A-672E-82E5-C727BD51ABC4}"/>
          </ac:spMkLst>
        </pc:spChg>
        <pc:spChg chg="mod">
          <ac:chgData name="Aurelien Domont" userId="6da7715ce44349b3" providerId="LiveId" clId="{D6B2C6B8-087B-43B3-8633-024465984332}" dt="2024-02-21T06:06:51.883" v="385" actId="1035"/>
          <ac:spMkLst>
            <pc:docMk/>
            <pc:sldMk cId="1393908417" sldId="3302"/>
            <ac:spMk id="38" creationId="{8BDA69D3-94C7-20FC-B7A7-BC5248BE2B53}"/>
          </ac:spMkLst>
        </pc:spChg>
        <pc:spChg chg="mod">
          <ac:chgData name="Aurelien Domont" userId="6da7715ce44349b3" providerId="LiveId" clId="{D6B2C6B8-087B-43B3-8633-024465984332}" dt="2024-02-21T06:06:40.542" v="367" actId="404"/>
          <ac:spMkLst>
            <pc:docMk/>
            <pc:sldMk cId="1393908417" sldId="3302"/>
            <ac:spMk id="41" creationId="{10365400-A686-7EB8-8B2F-90D6EC683400}"/>
          </ac:spMkLst>
        </pc:spChg>
        <pc:spChg chg="add del mod">
          <ac:chgData name="Aurelien Domont" userId="6da7715ce44349b3" providerId="LiveId" clId="{D6B2C6B8-087B-43B3-8633-024465984332}" dt="2024-02-21T06:08:45.629" v="405" actId="478"/>
          <ac:spMkLst>
            <pc:docMk/>
            <pc:sldMk cId="1393908417" sldId="3302"/>
            <ac:spMk id="42" creationId="{CBB6C624-E5E0-F9B7-AD4B-57D4BCEE180C}"/>
          </ac:spMkLst>
        </pc:spChg>
        <pc:spChg chg="add del mod">
          <ac:chgData name="Aurelien Domont" userId="6da7715ce44349b3" providerId="LiveId" clId="{D6B2C6B8-087B-43B3-8633-024465984332}" dt="2024-02-21T06:08:45.629" v="405" actId="478"/>
          <ac:spMkLst>
            <pc:docMk/>
            <pc:sldMk cId="1393908417" sldId="3302"/>
            <ac:spMk id="43" creationId="{BE79516F-A269-2733-BD5E-FEB4051BE8A2}"/>
          </ac:spMkLst>
        </pc:spChg>
        <pc:spChg chg="add del mod">
          <ac:chgData name="Aurelien Domont" userId="6da7715ce44349b3" providerId="LiveId" clId="{D6B2C6B8-087B-43B3-8633-024465984332}" dt="2024-02-21T06:08:45.629" v="405" actId="478"/>
          <ac:spMkLst>
            <pc:docMk/>
            <pc:sldMk cId="1393908417" sldId="3302"/>
            <ac:spMk id="44" creationId="{3ABE3043-3DD4-0410-1730-25F54EA47C7A}"/>
          </ac:spMkLst>
        </pc:spChg>
        <pc:spChg chg="add del mod">
          <ac:chgData name="Aurelien Domont" userId="6da7715ce44349b3" providerId="LiveId" clId="{D6B2C6B8-087B-43B3-8633-024465984332}" dt="2024-02-21T06:10:05.855" v="413" actId="478"/>
          <ac:spMkLst>
            <pc:docMk/>
            <pc:sldMk cId="1393908417" sldId="3302"/>
            <ac:spMk id="45" creationId="{28E116AE-258A-AA81-7664-C3E867349B22}"/>
          </ac:spMkLst>
        </pc:spChg>
        <pc:spChg chg="add del mod">
          <ac:chgData name="Aurelien Domont" userId="6da7715ce44349b3" providerId="LiveId" clId="{D6B2C6B8-087B-43B3-8633-024465984332}" dt="2024-02-21T06:10:05.855" v="413" actId="478"/>
          <ac:spMkLst>
            <pc:docMk/>
            <pc:sldMk cId="1393908417" sldId="3302"/>
            <ac:spMk id="46" creationId="{2AFB8421-391C-5446-ACA7-8853D6D56BFB}"/>
          </ac:spMkLst>
        </pc:spChg>
        <pc:spChg chg="add del mod">
          <ac:chgData name="Aurelien Domont" userId="6da7715ce44349b3" providerId="LiveId" clId="{D6B2C6B8-087B-43B3-8633-024465984332}" dt="2024-02-21T06:10:05.855" v="413" actId="478"/>
          <ac:spMkLst>
            <pc:docMk/>
            <pc:sldMk cId="1393908417" sldId="3302"/>
            <ac:spMk id="47" creationId="{07809EE1-5307-E48D-AC52-41BF516238F7}"/>
          </ac:spMkLst>
        </pc:spChg>
        <pc:spChg chg="add del mod">
          <ac:chgData name="Aurelien Domont" userId="6da7715ce44349b3" providerId="LiveId" clId="{D6B2C6B8-087B-43B3-8633-024465984332}" dt="2024-02-21T06:10:05.855" v="413" actId="478"/>
          <ac:spMkLst>
            <pc:docMk/>
            <pc:sldMk cId="1393908417" sldId="3302"/>
            <ac:spMk id="48" creationId="{CD5FE408-2876-8910-CB21-C44D4A5BD623}"/>
          </ac:spMkLst>
        </pc:spChg>
        <pc:spChg chg="add del mod">
          <ac:chgData name="Aurelien Domont" userId="6da7715ce44349b3" providerId="LiveId" clId="{D6B2C6B8-087B-43B3-8633-024465984332}" dt="2024-02-21T06:10:05.855" v="413" actId="478"/>
          <ac:spMkLst>
            <pc:docMk/>
            <pc:sldMk cId="1393908417" sldId="3302"/>
            <ac:spMk id="49" creationId="{F8A72297-F966-17AC-79EE-292DDFFFD3E2}"/>
          </ac:spMkLst>
        </pc:spChg>
        <pc:spChg chg="add del mod">
          <ac:chgData name="Aurelien Domont" userId="6da7715ce44349b3" providerId="LiveId" clId="{D6B2C6B8-087B-43B3-8633-024465984332}" dt="2024-02-21T06:10:05.855" v="413" actId="478"/>
          <ac:spMkLst>
            <pc:docMk/>
            <pc:sldMk cId="1393908417" sldId="3302"/>
            <ac:spMk id="50" creationId="{1E32E2B0-D204-6A05-0D68-64156E24B73F}"/>
          </ac:spMkLst>
        </pc:spChg>
        <pc:spChg chg="add del mod">
          <ac:chgData name="Aurelien Domont" userId="6da7715ce44349b3" providerId="LiveId" clId="{D6B2C6B8-087B-43B3-8633-024465984332}" dt="2024-02-21T06:08:49.006" v="407" actId="478"/>
          <ac:spMkLst>
            <pc:docMk/>
            <pc:sldMk cId="1393908417" sldId="3302"/>
            <ac:spMk id="51" creationId="{37805724-D9FE-2EA8-FBE6-775D5AA1BC8A}"/>
          </ac:spMkLst>
        </pc:spChg>
        <pc:spChg chg="add del mod">
          <ac:chgData name="Aurelien Domont" userId="6da7715ce44349b3" providerId="LiveId" clId="{D6B2C6B8-087B-43B3-8633-024465984332}" dt="2024-02-21T06:08:49.006" v="407" actId="478"/>
          <ac:spMkLst>
            <pc:docMk/>
            <pc:sldMk cId="1393908417" sldId="3302"/>
            <ac:spMk id="52" creationId="{139F2589-EC1E-F0E4-5D54-688A08790655}"/>
          </ac:spMkLst>
        </pc:spChg>
        <pc:spChg chg="add del mod">
          <ac:chgData name="Aurelien Domont" userId="6da7715ce44349b3" providerId="LiveId" clId="{D6B2C6B8-087B-43B3-8633-024465984332}" dt="2024-02-21T06:08:49.006" v="407" actId="478"/>
          <ac:spMkLst>
            <pc:docMk/>
            <pc:sldMk cId="1393908417" sldId="3302"/>
            <ac:spMk id="53" creationId="{980A4089-4EE9-685A-4064-859C20FAEF9D}"/>
          </ac:spMkLst>
        </pc:spChg>
        <pc:spChg chg="add mod">
          <ac:chgData name="Aurelien Domont" userId="6da7715ce44349b3" providerId="LiveId" clId="{D6B2C6B8-087B-43B3-8633-024465984332}" dt="2024-02-21T06:10:10.597" v="414"/>
          <ac:spMkLst>
            <pc:docMk/>
            <pc:sldMk cId="1393908417" sldId="3302"/>
            <ac:spMk id="54" creationId="{B06C86F0-A44E-FE3A-1253-41BC7273947D}"/>
          </ac:spMkLst>
        </pc:spChg>
        <pc:spChg chg="add del mod modVis">
          <ac:chgData name="Aurelien Domont" userId="6da7715ce44349b3" providerId="LiveId" clId="{D6B2C6B8-087B-43B3-8633-024465984332}" dt="2024-02-21T06:10:31.614" v="440"/>
          <ac:spMkLst>
            <pc:docMk/>
            <pc:sldMk cId="1393908417" sldId="3302"/>
            <ac:spMk id="57" creationId="{506F8C15-001A-900E-3897-583210C5B797}"/>
          </ac:spMkLst>
        </pc:spChg>
        <pc:grpChg chg="del">
          <ac:chgData name="Aurelien Domont" userId="6da7715ce44349b3" providerId="LiveId" clId="{D6B2C6B8-087B-43B3-8633-024465984332}" dt="2024-02-21T06:00:59.446" v="235" actId="478"/>
          <ac:grpSpMkLst>
            <pc:docMk/>
            <pc:sldMk cId="1393908417" sldId="3302"/>
            <ac:grpSpMk id="5" creationId="{FFD140FC-D4EB-098F-094C-EB282360BAF1}"/>
          </ac:grpSpMkLst>
        </pc:grpChg>
        <pc:grpChg chg="del">
          <ac:chgData name="Aurelien Domont" userId="6da7715ce44349b3" providerId="LiveId" clId="{D6B2C6B8-087B-43B3-8633-024465984332}" dt="2024-02-21T06:00:59.446" v="235" actId="478"/>
          <ac:grpSpMkLst>
            <pc:docMk/>
            <pc:sldMk cId="1393908417" sldId="3302"/>
            <ac:grpSpMk id="8" creationId="{9BB6EC18-FF6A-B910-8161-459A436075B6}"/>
          </ac:grpSpMkLst>
        </pc:grpChg>
        <pc:grpChg chg="add del mod">
          <ac:chgData name="Aurelien Domont" userId="6da7715ce44349b3" providerId="LiveId" clId="{D6B2C6B8-087B-43B3-8633-024465984332}" dt="2024-02-21T06:05:09.218" v="356" actId="478"/>
          <ac:grpSpMkLst>
            <pc:docMk/>
            <pc:sldMk cId="1393908417" sldId="3302"/>
            <ac:grpSpMk id="18" creationId="{6F9CC597-F459-369F-D5FD-6CB89F22DD9F}"/>
          </ac:grpSpMkLst>
        </pc:grpChg>
        <pc:grpChg chg="add del mod">
          <ac:chgData name="Aurelien Domont" userId="6da7715ce44349b3" providerId="LiveId" clId="{D6B2C6B8-087B-43B3-8633-024465984332}" dt="2024-02-21T06:05:09.218" v="356" actId="478"/>
          <ac:grpSpMkLst>
            <pc:docMk/>
            <pc:sldMk cId="1393908417" sldId="3302"/>
            <ac:grpSpMk id="21" creationId="{458CAA8D-2D8D-5111-A701-4338415ED163}"/>
          </ac:grpSpMkLst>
        </pc:grpChg>
        <pc:grpChg chg="add del mod">
          <ac:chgData name="Aurelien Domont" userId="6da7715ce44349b3" providerId="LiveId" clId="{D6B2C6B8-087B-43B3-8633-024465984332}" dt="2024-02-21T06:08:42.990" v="404" actId="478"/>
          <ac:grpSpMkLst>
            <pc:docMk/>
            <pc:sldMk cId="1393908417" sldId="3302"/>
            <ac:grpSpMk id="31" creationId="{D5C3C7EA-97CE-D440-E42D-3303B8AD8D63}"/>
          </ac:grpSpMkLst>
        </pc:grpChg>
        <pc:grpChg chg="add del mod">
          <ac:chgData name="Aurelien Domont" userId="6da7715ce44349b3" providerId="LiveId" clId="{D6B2C6B8-087B-43B3-8633-024465984332}" dt="2024-02-21T06:08:42.990" v="404" actId="478"/>
          <ac:grpSpMkLst>
            <pc:docMk/>
            <pc:sldMk cId="1393908417" sldId="3302"/>
            <ac:grpSpMk id="36" creationId="{7FD21075-E729-4164-B37C-C1738C5A553C}"/>
          </ac:grpSpMkLst>
        </pc:grpChg>
        <pc:grpChg chg="add del mod">
          <ac:chgData name="Aurelien Domont" userId="6da7715ce44349b3" providerId="LiveId" clId="{D6B2C6B8-087B-43B3-8633-024465984332}" dt="2024-02-21T06:08:42.990" v="404" actId="478"/>
          <ac:grpSpMkLst>
            <pc:docMk/>
            <pc:sldMk cId="1393908417" sldId="3302"/>
            <ac:grpSpMk id="39" creationId="{7744AD75-AC8C-1804-62A7-F9A655146895}"/>
          </ac:grpSpMkLst>
        </pc:grpChg>
        <pc:graphicFrameChg chg="mod">
          <ac:chgData name="Aurelien Domont" userId="6da7715ce44349b3" providerId="LiveId" clId="{D6B2C6B8-087B-43B3-8633-024465984332}" dt="2024-02-21T06:10:31.614" v="442"/>
          <ac:graphicFrameMkLst>
            <pc:docMk/>
            <pc:sldMk cId="1393908417" sldId="3302"/>
            <ac:graphicFrameMk id="16" creationId="{6A0928A2-5679-39E5-8050-3FF70F110818}"/>
          </ac:graphicFrameMkLst>
        </pc:graphicFrameChg>
        <pc:graphicFrameChg chg="del">
          <ac:chgData name="Aurelien Domont" userId="6da7715ce44349b3" providerId="LiveId" clId="{D6B2C6B8-087B-43B3-8633-024465984332}" dt="2024-02-21T05:59:35.962" v="217"/>
          <ac:graphicFrameMkLst>
            <pc:docMk/>
            <pc:sldMk cId="1393908417" sldId="3302"/>
            <ac:graphicFrameMk id="55" creationId="{B11C9326-8430-5C70-D042-B93A8A9A17C2}"/>
          </ac:graphicFrameMkLst>
        </pc:graphicFrameChg>
        <pc:graphicFrameChg chg="del">
          <ac:chgData name="Aurelien Domont" userId="6da7715ce44349b3" providerId="LiveId" clId="{D6B2C6B8-087B-43B3-8633-024465984332}" dt="2024-02-21T05:59:39.179" v="228"/>
          <ac:graphicFrameMkLst>
            <pc:docMk/>
            <pc:sldMk cId="1393908417" sldId="3302"/>
            <ac:graphicFrameMk id="56" creationId="{E002BDF1-EC7B-0E5A-53AA-9CE7499D4974}"/>
          </ac:graphicFrameMkLst>
        </pc:graphicFrameChg>
        <pc:cxnChg chg="mod">
          <ac:chgData name="Aurelien Domont" userId="6da7715ce44349b3" providerId="LiveId" clId="{D6B2C6B8-087B-43B3-8633-024465984332}" dt="2024-02-21T06:00:59.932" v="236"/>
          <ac:cxnSpMkLst>
            <pc:docMk/>
            <pc:sldMk cId="1393908417" sldId="3302"/>
            <ac:cxnSpMk id="19" creationId="{FC680F57-02FA-3DBF-23AD-3176E1EDBE46}"/>
          </ac:cxnSpMkLst>
        </pc:cxnChg>
        <pc:cxnChg chg="mod">
          <ac:chgData name="Aurelien Domont" userId="6da7715ce44349b3" providerId="LiveId" clId="{D6B2C6B8-087B-43B3-8633-024465984332}" dt="2024-02-21T06:00:59.932" v="236"/>
          <ac:cxnSpMkLst>
            <pc:docMk/>
            <pc:sldMk cId="1393908417" sldId="3302"/>
            <ac:cxnSpMk id="22" creationId="{44ECE2C7-2438-697F-E697-F87C6A50B72E}"/>
          </ac:cxnSpMkLst>
        </pc:cxnChg>
        <pc:cxnChg chg="mod">
          <ac:chgData name="Aurelien Domont" userId="6da7715ce44349b3" providerId="LiveId" clId="{D6B2C6B8-087B-43B3-8633-024465984332}" dt="2024-02-21T06:05:24.692" v="357"/>
          <ac:cxnSpMkLst>
            <pc:docMk/>
            <pc:sldMk cId="1393908417" sldId="3302"/>
            <ac:cxnSpMk id="33" creationId="{2FBCEA6B-D375-3439-9B45-637931A81C66}"/>
          </ac:cxnSpMkLst>
        </pc:cxnChg>
        <pc:cxnChg chg="mod">
          <ac:chgData name="Aurelien Domont" userId="6da7715ce44349b3" providerId="LiveId" clId="{D6B2C6B8-087B-43B3-8633-024465984332}" dt="2024-02-21T06:05:24.692" v="357"/>
          <ac:cxnSpMkLst>
            <pc:docMk/>
            <pc:sldMk cId="1393908417" sldId="3302"/>
            <ac:cxnSpMk id="37" creationId="{894F1684-DA00-AED8-BD63-49D91675A876}"/>
          </ac:cxnSpMkLst>
        </pc:cxnChg>
        <pc:cxnChg chg="mod">
          <ac:chgData name="Aurelien Domont" userId="6da7715ce44349b3" providerId="LiveId" clId="{D6B2C6B8-087B-43B3-8633-024465984332}" dt="2024-02-21T06:05:24.692" v="357"/>
          <ac:cxnSpMkLst>
            <pc:docMk/>
            <pc:sldMk cId="1393908417" sldId="3302"/>
            <ac:cxnSpMk id="40" creationId="{5D38CE73-B875-81FC-B2EB-2BA283A3DFFE}"/>
          </ac:cxnSpMkLst>
        </pc:cxnChg>
      </pc:sldChg>
      <pc:sldChg chg="addSp delSp modSp mod ord">
        <pc:chgData name="Aurelien Domont" userId="6da7715ce44349b3" providerId="LiveId" clId="{D6B2C6B8-087B-43B3-8633-024465984332}" dt="2024-02-22T00:01:43.153" v="4965" actId="1035"/>
        <pc:sldMkLst>
          <pc:docMk/>
          <pc:sldMk cId="348420775" sldId="3303"/>
        </pc:sldMkLst>
        <pc:spChg chg="mod ord">
          <ac:chgData name="Aurelien Domont" userId="6da7715ce44349b3" providerId="LiveId" clId="{D6B2C6B8-087B-43B3-8633-024465984332}" dt="2024-02-21T23:40:16.641" v="4230" actId="948"/>
          <ac:spMkLst>
            <pc:docMk/>
            <pc:sldMk cId="348420775" sldId="3303"/>
            <ac:spMk id="2" creationId="{12009DA8-0966-101B-E219-F283F194BD59}"/>
          </ac:spMkLst>
        </pc:spChg>
        <pc:spChg chg="add mod">
          <ac:chgData name="Aurelien Domont" userId="6da7715ce44349b3" providerId="LiveId" clId="{D6B2C6B8-087B-43B3-8633-024465984332}" dt="2024-02-21T06:53:12.558" v="2193" actId="14100"/>
          <ac:spMkLst>
            <pc:docMk/>
            <pc:sldMk cId="348420775" sldId="3303"/>
            <ac:spMk id="3" creationId="{F73695B7-CC26-F69D-D152-2C9EC0F91C38}"/>
          </ac:spMkLst>
        </pc:spChg>
        <pc:spChg chg="add mod ord">
          <ac:chgData name="Aurelien Domont" userId="6da7715ce44349b3" providerId="LiveId" clId="{D6B2C6B8-087B-43B3-8633-024465984332}" dt="2024-02-22T00:01:43.153" v="4965" actId="1035"/>
          <ac:spMkLst>
            <pc:docMk/>
            <pc:sldMk cId="348420775" sldId="3303"/>
            <ac:spMk id="3" creationId="{FD7EE931-6AD5-D45D-476B-2726384F99CA}"/>
          </ac:spMkLst>
        </pc:spChg>
        <pc:spChg chg="add del mod">
          <ac:chgData name="Aurelien Domont" userId="6da7715ce44349b3" providerId="LiveId" clId="{D6B2C6B8-087B-43B3-8633-024465984332}" dt="2024-02-21T23:20:11.611" v="2928" actId="478"/>
          <ac:spMkLst>
            <pc:docMk/>
            <pc:sldMk cId="348420775" sldId="3303"/>
            <ac:spMk id="4" creationId="{28231E01-E105-59FF-A651-FFAB9CA94EA2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4" creationId="{99603223-1600-4878-C974-BE354BB939BC}"/>
          </ac:spMkLst>
        </pc:spChg>
        <pc:spChg chg="add mod">
          <ac:chgData name="Aurelien Domont" userId="6da7715ce44349b3" providerId="LiveId" clId="{D6B2C6B8-087B-43B3-8633-024465984332}" dt="2024-02-21T06:53:12.558" v="2193" actId="14100"/>
          <ac:spMkLst>
            <pc:docMk/>
            <pc:sldMk cId="348420775" sldId="3303"/>
            <ac:spMk id="5" creationId="{7F267AFB-1407-2D34-7902-EF0EECFAA260}"/>
          </ac:spMkLst>
        </pc:spChg>
        <pc:spChg chg="add del mod">
          <ac:chgData name="Aurelien Domont" userId="6da7715ce44349b3" providerId="LiveId" clId="{D6B2C6B8-087B-43B3-8633-024465984332}" dt="2024-02-21T23:20:11.611" v="2928" actId="478"/>
          <ac:spMkLst>
            <pc:docMk/>
            <pc:sldMk cId="348420775" sldId="3303"/>
            <ac:spMk id="5" creationId="{DCC05738-6D27-0A0F-CA4C-7D80E1741226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7" creationId="{862E9442-E533-82E4-DCB5-A77EFB47F88B}"/>
          </ac:spMkLst>
        </pc:spChg>
        <pc:spChg chg="add del mod modVis">
          <ac:chgData name="Aurelien Domont" userId="6da7715ce44349b3" providerId="LiveId" clId="{D6B2C6B8-087B-43B3-8633-024465984332}" dt="2024-02-21T23:20:18.609" v="2979"/>
          <ac:spMkLst>
            <pc:docMk/>
            <pc:sldMk cId="348420775" sldId="3303"/>
            <ac:spMk id="7" creationId="{CB52AAE0-E139-CFD2-FE8A-3D824785EED9}"/>
          </ac:spMkLst>
        </pc:spChg>
        <pc:spChg chg="add del mod modVis">
          <ac:chgData name="Aurelien Domont" userId="6da7715ce44349b3" providerId="LiveId" clId="{D6B2C6B8-087B-43B3-8633-024465984332}" dt="2024-02-21T23:20:21.064" v="3032"/>
          <ac:spMkLst>
            <pc:docMk/>
            <pc:sldMk cId="348420775" sldId="3303"/>
            <ac:spMk id="8" creationId="{50EEB41F-6B76-36AE-FBAC-F87C2AC4C9EB}"/>
          </ac:spMkLst>
        </pc:spChg>
        <pc:spChg chg="add mod">
          <ac:chgData name="Aurelien Domont" userId="6da7715ce44349b3" providerId="LiveId" clId="{D6B2C6B8-087B-43B3-8633-024465984332}" dt="2024-02-21T06:53:12.558" v="2193" actId="14100"/>
          <ac:spMkLst>
            <pc:docMk/>
            <pc:sldMk cId="348420775" sldId="3303"/>
            <ac:spMk id="8" creationId="{FAA49BAA-D8D3-3A04-B974-7DAD7FCDB487}"/>
          </ac:spMkLst>
        </pc:spChg>
        <pc:spChg chg="add del mod modVis">
          <ac:chgData name="Aurelien Domont" userId="6da7715ce44349b3" providerId="LiveId" clId="{D6B2C6B8-087B-43B3-8633-024465984332}" dt="2024-02-21T23:20:21.554" v="3076"/>
          <ac:spMkLst>
            <pc:docMk/>
            <pc:sldMk cId="348420775" sldId="3303"/>
            <ac:spMk id="9" creationId="{1E2FF257-FBB3-83D9-C625-381C8AE92DEC}"/>
          </ac:spMkLst>
        </pc:spChg>
        <pc:spChg chg="add mod">
          <ac:chgData name="Aurelien Domont" userId="6da7715ce44349b3" providerId="LiveId" clId="{D6B2C6B8-087B-43B3-8633-024465984332}" dt="2024-02-21T06:53:12.558" v="2193" actId="14100"/>
          <ac:spMkLst>
            <pc:docMk/>
            <pc:sldMk cId="348420775" sldId="3303"/>
            <ac:spMk id="9" creationId="{A1557DE1-3D3F-9D89-CD2E-1C5240466CF2}"/>
          </ac:spMkLst>
        </pc:spChg>
        <pc:spChg chg="add mod">
          <ac:chgData name="Aurelien Domont" userId="6da7715ce44349b3" providerId="LiveId" clId="{D6B2C6B8-087B-43B3-8633-024465984332}" dt="2024-02-21T06:53:12.558" v="2193" actId="14100"/>
          <ac:spMkLst>
            <pc:docMk/>
            <pc:sldMk cId="348420775" sldId="3303"/>
            <ac:spMk id="10" creationId="{82ABC442-9A53-F4C9-1789-421005BF0CF1}"/>
          </ac:spMkLst>
        </pc:spChg>
        <pc:spChg chg="add del mod modVis">
          <ac:chgData name="Aurelien Domont" userId="6da7715ce44349b3" providerId="LiveId" clId="{D6B2C6B8-087B-43B3-8633-024465984332}" dt="2024-02-21T23:20:22.669" v="3122"/>
          <ac:spMkLst>
            <pc:docMk/>
            <pc:sldMk cId="348420775" sldId="3303"/>
            <ac:spMk id="10" creationId="{C809F2D9-55EF-8CB2-B9DC-7131656F280C}"/>
          </ac:spMkLst>
        </pc:spChg>
        <pc:spChg chg="add del mod modVis">
          <ac:chgData name="Aurelien Domont" userId="6da7715ce44349b3" providerId="LiveId" clId="{D6B2C6B8-087B-43B3-8633-024465984332}" dt="2024-02-21T23:20:23.801" v="3169"/>
          <ac:spMkLst>
            <pc:docMk/>
            <pc:sldMk cId="348420775" sldId="3303"/>
            <ac:spMk id="11" creationId="{765BE133-7065-A50B-3214-AC3EB6320B16}"/>
          </ac:spMkLst>
        </pc:spChg>
        <pc:spChg chg="add mod">
          <ac:chgData name="Aurelien Domont" userId="6da7715ce44349b3" providerId="LiveId" clId="{D6B2C6B8-087B-43B3-8633-024465984332}" dt="2024-02-21T06:53:12.558" v="2193" actId="14100"/>
          <ac:spMkLst>
            <pc:docMk/>
            <pc:sldMk cId="348420775" sldId="3303"/>
            <ac:spMk id="11" creationId="{98E96772-BB69-75B7-0DD7-A1E85588D3C9}"/>
          </ac:spMkLst>
        </pc:spChg>
        <pc:spChg chg="add del mod modVis">
          <ac:chgData name="Aurelien Domont" userId="6da7715ce44349b3" providerId="LiveId" clId="{D6B2C6B8-087B-43B3-8633-024465984332}" dt="2024-02-21T23:20:29.758" v="3206"/>
          <ac:spMkLst>
            <pc:docMk/>
            <pc:sldMk cId="348420775" sldId="3303"/>
            <ac:spMk id="12" creationId="{5C4553DB-BC7A-DD3A-F46E-F42354AEFDFB}"/>
          </ac:spMkLst>
        </pc:spChg>
        <pc:spChg chg="add mod">
          <ac:chgData name="Aurelien Domont" userId="6da7715ce44349b3" providerId="LiveId" clId="{D6B2C6B8-087B-43B3-8633-024465984332}" dt="2024-02-21T06:53:12.558" v="2193" actId="14100"/>
          <ac:spMkLst>
            <pc:docMk/>
            <pc:sldMk cId="348420775" sldId="3303"/>
            <ac:spMk id="12" creationId="{62815628-674E-3398-5EE0-73A5F6A4D607}"/>
          </ac:spMkLst>
        </pc:spChg>
        <pc:spChg chg="add mod topLvl">
          <ac:chgData name="Aurelien Domont" userId="6da7715ce44349b3" providerId="LiveId" clId="{D6B2C6B8-087B-43B3-8633-024465984332}" dt="2024-02-21T23:50:50.744" v="4448" actId="165"/>
          <ac:spMkLst>
            <pc:docMk/>
            <pc:sldMk cId="348420775" sldId="3303"/>
            <ac:spMk id="13" creationId="{3A1DE33E-EB84-CFA3-DADE-60337BDE9DFB}"/>
          </ac:spMkLst>
        </pc:spChg>
        <pc:spChg chg="add mod topLvl">
          <ac:chgData name="Aurelien Domont" userId="6da7715ce44349b3" providerId="LiveId" clId="{D6B2C6B8-087B-43B3-8633-024465984332}" dt="2024-02-21T23:50:50.744" v="4448" actId="165"/>
          <ac:spMkLst>
            <pc:docMk/>
            <pc:sldMk cId="348420775" sldId="3303"/>
            <ac:spMk id="14" creationId="{67DEF38A-FD79-4818-B46C-14F237E0F9FB}"/>
          </ac:spMkLst>
        </pc:spChg>
        <pc:spChg chg="add mod topLvl">
          <ac:chgData name="Aurelien Domont" userId="6da7715ce44349b3" providerId="LiveId" clId="{D6B2C6B8-087B-43B3-8633-024465984332}" dt="2024-02-21T23:50:50.744" v="4448" actId="165"/>
          <ac:spMkLst>
            <pc:docMk/>
            <pc:sldMk cId="348420775" sldId="3303"/>
            <ac:spMk id="15" creationId="{F1B5EC43-BF81-6D0E-BCB7-180E8E7435E1}"/>
          </ac:spMkLst>
        </pc:spChg>
        <pc:spChg chg="add mod topLvl">
          <ac:chgData name="Aurelien Domont" userId="6da7715ce44349b3" providerId="LiveId" clId="{D6B2C6B8-087B-43B3-8633-024465984332}" dt="2024-02-21T23:50:50.744" v="4448" actId="165"/>
          <ac:spMkLst>
            <pc:docMk/>
            <pc:sldMk cId="348420775" sldId="3303"/>
            <ac:spMk id="16" creationId="{C368E3D6-2116-2E18-8725-4C5E32279F0E}"/>
          </ac:spMkLst>
        </pc:spChg>
        <pc:spChg chg="add mod topLvl">
          <ac:chgData name="Aurelien Domont" userId="6da7715ce44349b3" providerId="LiveId" clId="{D6B2C6B8-087B-43B3-8633-024465984332}" dt="2024-02-21T23:50:50.744" v="4448" actId="165"/>
          <ac:spMkLst>
            <pc:docMk/>
            <pc:sldMk cId="348420775" sldId="3303"/>
            <ac:spMk id="17" creationId="{C59A6CEF-E5FE-D9D3-5D53-8E987F9A3484}"/>
          </ac:spMkLst>
        </pc:spChg>
        <pc:spChg chg="add mod topLvl">
          <ac:chgData name="Aurelien Domont" userId="6da7715ce44349b3" providerId="LiveId" clId="{D6B2C6B8-087B-43B3-8633-024465984332}" dt="2024-02-21T23:50:50.744" v="4448" actId="165"/>
          <ac:spMkLst>
            <pc:docMk/>
            <pc:sldMk cId="348420775" sldId="3303"/>
            <ac:spMk id="18" creationId="{C2F24FBD-6B7F-3D3D-6095-6AA08B8EBC39}"/>
          </ac:spMkLst>
        </pc:spChg>
        <pc:spChg chg="add del mod topLvl">
          <ac:chgData name="Aurelien Domont" userId="6da7715ce44349b3" providerId="LiveId" clId="{D6B2C6B8-087B-43B3-8633-024465984332}" dt="2024-02-21T06:56:50.438" v="2223" actId="478"/>
          <ac:spMkLst>
            <pc:docMk/>
            <pc:sldMk cId="348420775" sldId="3303"/>
            <ac:spMk id="19" creationId="{9AB8F99E-EA68-BF7E-F62F-BC32CE6DFE9B}"/>
          </ac:spMkLst>
        </pc:spChg>
        <pc:spChg chg="add del mod modVis">
          <ac:chgData name="Aurelien Domont" userId="6da7715ce44349b3" providerId="LiveId" clId="{D6B2C6B8-087B-43B3-8633-024465984332}" dt="2024-02-21T23:21:12.926" v="3251"/>
          <ac:spMkLst>
            <pc:docMk/>
            <pc:sldMk cId="348420775" sldId="3303"/>
            <ac:spMk id="19" creationId="{F52C97FF-07E0-AB7E-0437-983DCB916038}"/>
          </ac:spMkLst>
        </pc:spChg>
        <pc:spChg chg="add del mod topLvl">
          <ac:chgData name="Aurelien Domont" userId="6da7715ce44349b3" providerId="LiveId" clId="{D6B2C6B8-087B-43B3-8633-024465984332}" dt="2024-02-21T06:56:50.438" v="2223" actId="478"/>
          <ac:spMkLst>
            <pc:docMk/>
            <pc:sldMk cId="348420775" sldId="3303"/>
            <ac:spMk id="20" creationId="{8694E9F5-9D72-C8DA-7342-6D7D825DFB88}"/>
          </ac:spMkLst>
        </pc:spChg>
        <pc:spChg chg="add del mod modVis">
          <ac:chgData name="Aurelien Domont" userId="6da7715ce44349b3" providerId="LiveId" clId="{D6B2C6B8-087B-43B3-8633-024465984332}" dt="2024-02-21T23:21:15.861" v="3289"/>
          <ac:spMkLst>
            <pc:docMk/>
            <pc:sldMk cId="348420775" sldId="3303"/>
            <ac:spMk id="20" creationId="{AE5B04BD-557E-27D3-9CAC-EE19841DA587}"/>
          </ac:spMkLst>
        </pc:spChg>
        <pc:spChg chg="add del mod modVis">
          <ac:chgData name="Aurelien Domont" userId="6da7715ce44349b3" providerId="LiveId" clId="{D6B2C6B8-087B-43B3-8633-024465984332}" dt="2024-02-21T23:21:18.633" v="3326"/>
          <ac:spMkLst>
            <pc:docMk/>
            <pc:sldMk cId="348420775" sldId="3303"/>
            <ac:spMk id="21" creationId="{1EF781FF-1C79-28C4-15A4-87C0A5A8948E}"/>
          </ac:spMkLst>
        </pc:spChg>
        <pc:spChg chg="add del mod topLvl">
          <ac:chgData name="Aurelien Domont" userId="6da7715ce44349b3" providerId="LiveId" clId="{D6B2C6B8-087B-43B3-8633-024465984332}" dt="2024-02-21T06:56:50.438" v="2223" actId="478"/>
          <ac:spMkLst>
            <pc:docMk/>
            <pc:sldMk cId="348420775" sldId="3303"/>
            <ac:spMk id="21" creationId="{BAC554CB-199B-5F94-FFA4-6F278DDD4B07}"/>
          </ac:spMkLst>
        </pc:spChg>
        <pc:spChg chg="add del mod topLvl">
          <ac:chgData name="Aurelien Domont" userId="6da7715ce44349b3" providerId="LiveId" clId="{D6B2C6B8-087B-43B3-8633-024465984332}" dt="2024-02-21T06:56:50.438" v="2223" actId="478"/>
          <ac:spMkLst>
            <pc:docMk/>
            <pc:sldMk cId="348420775" sldId="3303"/>
            <ac:spMk id="22" creationId="{D57794A3-E986-50B0-8567-4B93D1FA13CA}"/>
          </ac:spMkLst>
        </pc:spChg>
        <pc:spChg chg="add del mod topLvl">
          <ac:chgData name="Aurelien Domont" userId="6da7715ce44349b3" providerId="LiveId" clId="{D6B2C6B8-087B-43B3-8633-024465984332}" dt="2024-02-21T06:56:50.438" v="2223" actId="478"/>
          <ac:spMkLst>
            <pc:docMk/>
            <pc:sldMk cId="348420775" sldId="3303"/>
            <ac:spMk id="23" creationId="{76C444D6-0C7B-C271-DFDB-B3A69DBA88C2}"/>
          </ac:spMkLst>
        </pc:spChg>
        <pc:spChg chg="add mod ord">
          <ac:chgData name="Aurelien Domont" userId="6da7715ce44349b3" providerId="LiveId" clId="{D6B2C6B8-087B-43B3-8633-024465984332}" dt="2024-02-21T23:26:10.198" v="3383"/>
          <ac:spMkLst>
            <pc:docMk/>
            <pc:sldMk cId="348420775" sldId="3303"/>
            <ac:spMk id="24" creationId="{00ACA2BE-B75C-0C1C-DC2E-5287A2B056DF}"/>
          </ac:spMkLst>
        </pc:spChg>
        <pc:spChg chg="add del mod topLvl">
          <ac:chgData name="Aurelien Domont" userId="6da7715ce44349b3" providerId="LiveId" clId="{D6B2C6B8-087B-43B3-8633-024465984332}" dt="2024-02-21T06:56:50.438" v="2223" actId="478"/>
          <ac:spMkLst>
            <pc:docMk/>
            <pc:sldMk cId="348420775" sldId="3303"/>
            <ac:spMk id="24" creationId="{8C1817DB-5909-53A9-2958-A1DB411F6CB7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25" creationId="{B6D6720F-030A-1F46-4D17-753ACBF75408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26" creationId="{F6B8514A-BF88-ED43-C17C-5A12FF045C4B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27" creationId="{4842930F-9DF5-33EE-D54F-607C8A387A73}"/>
          </ac:spMkLst>
        </pc:spChg>
        <pc:spChg chg="add mod topLvl">
          <ac:chgData name="Aurelien Domont" userId="6da7715ce44349b3" providerId="LiveId" clId="{D6B2C6B8-087B-43B3-8633-024465984332}" dt="2024-02-21T23:50:50.744" v="4448" actId="165"/>
          <ac:spMkLst>
            <pc:docMk/>
            <pc:sldMk cId="348420775" sldId="3303"/>
            <ac:spMk id="28" creationId="{02D01958-DB30-D0C6-971A-336E3204385F}"/>
          </ac:spMkLst>
        </pc:spChg>
        <pc:spChg chg="add del mod modVis">
          <ac:chgData name="Aurelien Domont" userId="6da7715ce44349b3" providerId="LiveId" clId="{D6B2C6B8-087B-43B3-8633-024465984332}" dt="2024-02-21T23:40:16.688" v="4262"/>
          <ac:spMkLst>
            <pc:docMk/>
            <pc:sldMk cId="348420775" sldId="3303"/>
            <ac:spMk id="30" creationId="{28854C79-4E8E-FD94-060C-F2FA6C984184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37" creationId="{FEAB0721-E263-2251-2BD5-BC356A0DA702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39" creationId="{1DE63163-F39C-446C-0532-22E9E2681DDE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40" creationId="{70CAD695-C742-F8F8-B4B3-CFFEBF5DC866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43" creationId="{65B22EE6-5F4E-8BB1-D9CB-0B4001EE062F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44" creationId="{77EDB655-A6D9-E267-73F6-BEFB5D1C97DF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47" creationId="{47325780-CCCA-9444-34F9-CB9622723945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48" creationId="{F23E0C0F-578D-E988-445E-BA5542861168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49" creationId="{3C905963-C70F-E1A5-8AA8-A396684C93E7}"/>
          </ac:spMkLst>
        </pc:spChg>
        <pc:spChg chg="del">
          <ac:chgData name="Aurelien Domont" userId="6da7715ce44349b3" providerId="LiveId" clId="{D6B2C6B8-087B-43B3-8633-024465984332}" dt="2024-02-21T06:51:55.474" v="2190" actId="478"/>
          <ac:spMkLst>
            <pc:docMk/>
            <pc:sldMk cId="348420775" sldId="3303"/>
            <ac:spMk id="50" creationId="{5ADE43CB-F9B9-D4E7-2E0E-AFCF25E14661}"/>
          </ac:spMkLst>
        </pc:spChg>
        <pc:spChg chg="mod ord">
          <ac:chgData name="Aurelien Domont" userId="6da7715ce44349b3" providerId="LiveId" clId="{D6B2C6B8-087B-43B3-8633-024465984332}" dt="2024-02-21T23:26:10.198" v="3387"/>
          <ac:spMkLst>
            <pc:docMk/>
            <pc:sldMk cId="348420775" sldId="3303"/>
            <ac:spMk id="54" creationId="{8F8E7917-8A82-1FE2-AB04-78EC2E09733B}"/>
          </ac:spMkLst>
        </pc:spChg>
        <pc:spChg chg="mod ord">
          <ac:chgData name="Aurelien Domont" userId="6da7715ce44349b3" providerId="LiveId" clId="{D6B2C6B8-087B-43B3-8633-024465984332}" dt="2024-02-21T23:26:10.198" v="3389"/>
          <ac:spMkLst>
            <pc:docMk/>
            <pc:sldMk cId="348420775" sldId="3303"/>
            <ac:spMk id="55" creationId="{1613E1FC-9173-92FF-8931-4F9A3AC48C9A}"/>
          </ac:spMkLst>
        </pc:spChg>
        <pc:spChg chg="add del mod modVis">
          <ac:chgData name="Aurelien Domont" userId="6da7715ce44349b3" providerId="LiveId" clId="{D6B2C6B8-087B-43B3-8633-024465984332}" dt="2024-02-21T07:01:27.814" v="2273"/>
          <ac:spMkLst>
            <pc:docMk/>
            <pc:sldMk cId="348420775" sldId="3303"/>
            <ac:spMk id="58" creationId="{BA268D23-2AC3-A8EC-D5C4-EB05A7D9323A}"/>
          </ac:spMkLst>
        </pc:spChg>
        <pc:spChg chg="add del mod modVis">
          <ac:chgData name="Aurelien Domont" userId="6da7715ce44349b3" providerId="LiveId" clId="{D6B2C6B8-087B-43B3-8633-024465984332}" dt="2024-02-21T07:01:28.553" v="2307"/>
          <ac:spMkLst>
            <pc:docMk/>
            <pc:sldMk cId="348420775" sldId="3303"/>
            <ac:spMk id="59" creationId="{39BE9F9A-B795-EEF7-DAC9-8C4A5FFEF4B9}"/>
          </ac:spMkLst>
        </pc:spChg>
        <pc:spChg chg="add del mod modVis">
          <ac:chgData name="Aurelien Domont" userId="6da7715ce44349b3" providerId="LiveId" clId="{D6B2C6B8-087B-43B3-8633-024465984332}" dt="2024-02-21T07:01:30.187" v="2336"/>
          <ac:spMkLst>
            <pc:docMk/>
            <pc:sldMk cId="348420775" sldId="3303"/>
            <ac:spMk id="60" creationId="{0B79E807-6765-117F-7352-8B33157DFD1E}"/>
          </ac:spMkLst>
        </pc:spChg>
        <pc:spChg chg="add del mod modVis">
          <ac:chgData name="Aurelien Domont" userId="6da7715ce44349b3" providerId="LiveId" clId="{D6B2C6B8-087B-43B3-8633-024465984332}" dt="2024-02-21T07:01:33.735" v="2367"/>
          <ac:spMkLst>
            <pc:docMk/>
            <pc:sldMk cId="348420775" sldId="3303"/>
            <ac:spMk id="61" creationId="{50E98020-8CF2-1AB4-E938-01F3F039F364}"/>
          </ac:spMkLst>
        </pc:spChg>
        <pc:spChg chg="add del mod modVis">
          <ac:chgData name="Aurelien Domont" userId="6da7715ce44349b3" providerId="LiveId" clId="{D6B2C6B8-087B-43B3-8633-024465984332}" dt="2024-02-21T07:01:35.477" v="2396"/>
          <ac:spMkLst>
            <pc:docMk/>
            <pc:sldMk cId="348420775" sldId="3303"/>
            <ac:spMk id="62" creationId="{F39E0FAE-084C-6765-1123-E99B110D8D4A}"/>
          </ac:spMkLst>
        </pc:spChg>
        <pc:spChg chg="add del mod modVis">
          <ac:chgData name="Aurelien Domont" userId="6da7715ce44349b3" providerId="LiveId" clId="{D6B2C6B8-087B-43B3-8633-024465984332}" dt="2024-02-21T07:01:36.893" v="2427"/>
          <ac:spMkLst>
            <pc:docMk/>
            <pc:sldMk cId="348420775" sldId="3303"/>
            <ac:spMk id="63" creationId="{49AE279F-EC11-7783-2739-83BF46737B3B}"/>
          </ac:spMkLst>
        </pc:spChg>
        <pc:spChg chg="add del mod modVis">
          <ac:chgData name="Aurelien Domont" userId="6da7715ce44349b3" providerId="LiveId" clId="{D6B2C6B8-087B-43B3-8633-024465984332}" dt="2024-02-21T07:01:37.836" v="2456"/>
          <ac:spMkLst>
            <pc:docMk/>
            <pc:sldMk cId="348420775" sldId="3303"/>
            <ac:spMk id="64" creationId="{D6143E89-DE04-9F4E-87BC-6F45F2B3DCA3}"/>
          </ac:spMkLst>
        </pc:spChg>
        <pc:spChg chg="add del mod modVis">
          <ac:chgData name="Aurelien Domont" userId="6da7715ce44349b3" providerId="LiveId" clId="{D6B2C6B8-087B-43B3-8633-024465984332}" dt="2024-02-21T07:01:38.748" v="2485"/>
          <ac:spMkLst>
            <pc:docMk/>
            <pc:sldMk cId="348420775" sldId="3303"/>
            <ac:spMk id="65" creationId="{0A1D7942-3EE1-1E0F-E218-4753A63B4A45}"/>
          </ac:spMkLst>
        </pc:spChg>
        <pc:spChg chg="add del mod modVis">
          <ac:chgData name="Aurelien Domont" userId="6da7715ce44349b3" providerId="LiveId" clId="{D6B2C6B8-087B-43B3-8633-024465984332}" dt="2024-02-21T07:01:45.895" v="2513"/>
          <ac:spMkLst>
            <pc:docMk/>
            <pc:sldMk cId="348420775" sldId="3303"/>
            <ac:spMk id="66" creationId="{34820A1D-2994-098F-89C1-EF3BEE815E74}"/>
          </ac:spMkLst>
        </pc:spChg>
        <pc:spChg chg="add del mod modVis">
          <ac:chgData name="Aurelien Domont" userId="6da7715ce44349b3" providerId="LiveId" clId="{D6B2C6B8-087B-43B3-8633-024465984332}" dt="2024-02-21T07:01:47.452" v="2549"/>
          <ac:spMkLst>
            <pc:docMk/>
            <pc:sldMk cId="348420775" sldId="3303"/>
            <ac:spMk id="67" creationId="{001E2A9C-7080-A391-93C3-4CDCAF4ADCE8}"/>
          </ac:spMkLst>
        </pc:spChg>
        <pc:spChg chg="add del mod modVis">
          <ac:chgData name="Aurelien Domont" userId="6da7715ce44349b3" providerId="LiveId" clId="{D6B2C6B8-087B-43B3-8633-024465984332}" dt="2024-02-21T07:01:48.644" v="2585"/>
          <ac:spMkLst>
            <pc:docMk/>
            <pc:sldMk cId="348420775" sldId="3303"/>
            <ac:spMk id="68" creationId="{6AFC524F-DD2E-4FB6-31A4-2C550B1B004D}"/>
          </ac:spMkLst>
        </pc:spChg>
        <pc:spChg chg="add del mod modVis">
          <ac:chgData name="Aurelien Domont" userId="6da7715ce44349b3" providerId="LiveId" clId="{D6B2C6B8-087B-43B3-8633-024465984332}" dt="2024-02-21T07:01:50.875" v="2623"/>
          <ac:spMkLst>
            <pc:docMk/>
            <pc:sldMk cId="348420775" sldId="3303"/>
            <ac:spMk id="69" creationId="{2AF3EC73-D25E-CA73-DD82-960217163A84}"/>
          </ac:spMkLst>
        </pc:spChg>
        <pc:spChg chg="add del mod modVis">
          <ac:chgData name="Aurelien Domont" userId="6da7715ce44349b3" providerId="LiveId" clId="{D6B2C6B8-087B-43B3-8633-024465984332}" dt="2024-02-21T07:02:07.989" v="2659"/>
          <ac:spMkLst>
            <pc:docMk/>
            <pc:sldMk cId="348420775" sldId="3303"/>
            <ac:spMk id="70" creationId="{ED4D7157-5CB2-7BF1-F708-F85A0E9F7976}"/>
          </ac:spMkLst>
        </pc:spChg>
        <pc:spChg chg="add del mod modVis">
          <ac:chgData name="Aurelien Domont" userId="6da7715ce44349b3" providerId="LiveId" clId="{D6B2C6B8-087B-43B3-8633-024465984332}" dt="2024-02-21T07:02:11.332" v="2701"/>
          <ac:spMkLst>
            <pc:docMk/>
            <pc:sldMk cId="348420775" sldId="3303"/>
            <ac:spMk id="71" creationId="{8B63CCE8-B821-9738-E5A6-1200F0E8D25A}"/>
          </ac:spMkLst>
        </pc:spChg>
        <pc:spChg chg="add del mod modVis">
          <ac:chgData name="Aurelien Domont" userId="6da7715ce44349b3" providerId="LiveId" clId="{D6B2C6B8-087B-43B3-8633-024465984332}" dt="2024-02-21T07:02:13.391" v="2743"/>
          <ac:spMkLst>
            <pc:docMk/>
            <pc:sldMk cId="348420775" sldId="3303"/>
            <ac:spMk id="72" creationId="{F4FD1540-DA34-CE29-938E-FC7FE5C9C81B}"/>
          </ac:spMkLst>
        </pc:spChg>
        <pc:spChg chg="add del mod modVis">
          <ac:chgData name="Aurelien Domont" userId="6da7715ce44349b3" providerId="LiveId" clId="{D6B2C6B8-087B-43B3-8633-024465984332}" dt="2024-02-21T07:02:16.125" v="2786"/>
          <ac:spMkLst>
            <pc:docMk/>
            <pc:sldMk cId="348420775" sldId="3303"/>
            <ac:spMk id="73" creationId="{72B3265C-A708-C01C-862F-FD9C77EFD512}"/>
          </ac:spMkLst>
        </pc:spChg>
        <pc:spChg chg="add del mod modVis">
          <ac:chgData name="Aurelien Domont" userId="6da7715ce44349b3" providerId="LiveId" clId="{D6B2C6B8-087B-43B3-8633-024465984332}" dt="2024-02-21T07:02:19.112" v="2829"/>
          <ac:spMkLst>
            <pc:docMk/>
            <pc:sldMk cId="348420775" sldId="3303"/>
            <ac:spMk id="74" creationId="{86A5DCD8-5DAD-069C-5A89-9A31E94E2859}"/>
          </ac:spMkLst>
        </pc:spChg>
        <pc:spChg chg="add mod ord">
          <ac:chgData name="Aurelien Domont" userId="6da7715ce44349b3" providerId="LiveId" clId="{D6B2C6B8-087B-43B3-8633-024465984332}" dt="2024-02-22T00:01:43.153" v="4965" actId="1035"/>
          <ac:spMkLst>
            <pc:docMk/>
            <pc:sldMk cId="348420775" sldId="3303"/>
            <ac:spMk id="76" creationId="{CFBE3C49-B4E1-51BB-C14B-91B7BE9BE64B}"/>
          </ac:spMkLst>
        </pc:spChg>
        <pc:spChg chg="add del mod">
          <ac:chgData name="Aurelien Domont" userId="6da7715ce44349b3" providerId="LiveId" clId="{D6B2C6B8-087B-43B3-8633-024465984332}" dt="2024-02-21T07:05:28.946" v="2910" actId="478"/>
          <ac:spMkLst>
            <pc:docMk/>
            <pc:sldMk cId="348420775" sldId="3303"/>
            <ac:spMk id="77" creationId="{F46BF679-7C74-20AF-24AC-09CBBF8E9E5D}"/>
          </ac:spMkLst>
        </pc:spChg>
        <pc:spChg chg="add mod ord">
          <ac:chgData name="Aurelien Domont" userId="6da7715ce44349b3" providerId="LiveId" clId="{D6B2C6B8-087B-43B3-8633-024465984332}" dt="2024-02-22T00:01:43.153" v="4965" actId="1035"/>
          <ac:spMkLst>
            <pc:docMk/>
            <pc:sldMk cId="348420775" sldId="3303"/>
            <ac:spMk id="78" creationId="{211AD12E-F78F-1B26-E53B-B6B9602DB3E3}"/>
          </ac:spMkLst>
        </pc:spChg>
        <pc:spChg chg="add del mod">
          <ac:chgData name="Aurelien Domont" userId="6da7715ce44349b3" providerId="LiveId" clId="{D6B2C6B8-087B-43B3-8633-024465984332}" dt="2024-02-21T07:05:28.946" v="2910" actId="478"/>
          <ac:spMkLst>
            <pc:docMk/>
            <pc:sldMk cId="348420775" sldId="3303"/>
            <ac:spMk id="79" creationId="{961503DF-995D-AF61-C330-625384E80562}"/>
          </ac:spMkLst>
        </pc:spChg>
        <pc:spChg chg="add mod ord">
          <ac:chgData name="Aurelien Domont" userId="6da7715ce44349b3" providerId="LiveId" clId="{D6B2C6B8-087B-43B3-8633-024465984332}" dt="2024-02-22T00:01:43.153" v="4965" actId="1035"/>
          <ac:spMkLst>
            <pc:docMk/>
            <pc:sldMk cId="348420775" sldId="3303"/>
            <ac:spMk id="80" creationId="{8ABD95C9-0128-EFBA-C192-81BA19AA9758}"/>
          </ac:spMkLst>
        </pc:spChg>
        <pc:spChg chg="add del mod">
          <ac:chgData name="Aurelien Domont" userId="6da7715ce44349b3" providerId="LiveId" clId="{D6B2C6B8-087B-43B3-8633-024465984332}" dt="2024-02-21T07:05:28.946" v="2910" actId="478"/>
          <ac:spMkLst>
            <pc:docMk/>
            <pc:sldMk cId="348420775" sldId="3303"/>
            <ac:spMk id="81" creationId="{32878613-9537-862D-B75F-865296478DC6}"/>
          </ac:spMkLst>
        </pc:spChg>
        <pc:spChg chg="add mod ord">
          <ac:chgData name="Aurelien Domont" userId="6da7715ce44349b3" providerId="LiveId" clId="{D6B2C6B8-087B-43B3-8633-024465984332}" dt="2024-02-22T00:01:43.153" v="4965" actId="1035"/>
          <ac:spMkLst>
            <pc:docMk/>
            <pc:sldMk cId="348420775" sldId="3303"/>
            <ac:spMk id="82" creationId="{75DD022F-3BD3-9106-39C7-A6D7E8EDAD4B}"/>
          </ac:spMkLst>
        </pc:spChg>
        <pc:spChg chg="add mod ord">
          <ac:chgData name="Aurelien Domont" userId="6da7715ce44349b3" providerId="LiveId" clId="{D6B2C6B8-087B-43B3-8633-024465984332}" dt="2024-02-22T00:01:43.153" v="4965" actId="1035"/>
          <ac:spMkLst>
            <pc:docMk/>
            <pc:sldMk cId="348420775" sldId="3303"/>
            <ac:spMk id="83" creationId="{53CCCDBE-27EB-06DE-2B77-CD64161C07D4}"/>
          </ac:spMkLst>
        </pc:spChg>
        <pc:spChg chg="add mod ord">
          <ac:chgData name="Aurelien Domont" userId="6da7715ce44349b3" providerId="LiveId" clId="{D6B2C6B8-087B-43B3-8633-024465984332}" dt="2024-02-22T00:01:43.153" v="4965" actId="1035"/>
          <ac:spMkLst>
            <pc:docMk/>
            <pc:sldMk cId="348420775" sldId="3303"/>
            <ac:spMk id="84" creationId="{2F117F95-3BB5-6315-0741-6C81DBD41A17}"/>
          </ac:spMkLst>
        </pc:spChg>
        <pc:grpChg chg="add mod">
          <ac:chgData name="Aurelien Domont" userId="6da7715ce44349b3" providerId="LiveId" clId="{D6B2C6B8-087B-43B3-8633-024465984332}" dt="2024-02-21T06:53:52.514" v="2196" actId="164"/>
          <ac:grpSpMkLst>
            <pc:docMk/>
            <pc:sldMk cId="348420775" sldId="3303"/>
            <ac:grpSpMk id="30" creationId="{53F3B50C-3F3A-6B40-063E-FDE49190C700}"/>
          </ac:grpSpMkLst>
        </pc:grpChg>
        <pc:grpChg chg="add mod">
          <ac:chgData name="Aurelien Domont" userId="6da7715ce44349b3" providerId="LiveId" clId="{D6B2C6B8-087B-43B3-8633-024465984332}" dt="2024-02-21T06:55:13.910" v="2202" actId="164"/>
          <ac:grpSpMkLst>
            <pc:docMk/>
            <pc:sldMk cId="348420775" sldId="3303"/>
            <ac:grpSpMk id="45" creationId="{67E9305F-743F-67D5-22A0-E4C6A091FC72}"/>
          </ac:grpSpMkLst>
        </pc:grpChg>
        <pc:grpChg chg="add del mod">
          <ac:chgData name="Aurelien Domont" userId="6da7715ce44349b3" providerId="LiveId" clId="{D6B2C6B8-087B-43B3-8633-024465984332}" dt="2024-02-21T06:56:15.710" v="2210" actId="165"/>
          <ac:grpSpMkLst>
            <pc:docMk/>
            <pc:sldMk cId="348420775" sldId="3303"/>
            <ac:grpSpMk id="46" creationId="{302DDA55-6B51-A4C0-5481-6532DB1E2DB5}"/>
          </ac:grpSpMkLst>
        </pc:grpChg>
        <pc:grpChg chg="add del mod">
          <ac:chgData name="Aurelien Domont" userId="6da7715ce44349b3" providerId="LiveId" clId="{D6B2C6B8-087B-43B3-8633-024465984332}" dt="2024-02-21T06:57:56.347" v="2232" actId="165"/>
          <ac:grpSpMkLst>
            <pc:docMk/>
            <pc:sldMk cId="348420775" sldId="3303"/>
            <ac:grpSpMk id="56" creationId="{92A3C218-38B4-D814-DA61-24B7BCF3E345}"/>
          </ac:grpSpMkLst>
        </pc:grpChg>
        <pc:grpChg chg="add del mod ord">
          <ac:chgData name="Aurelien Domont" userId="6da7715ce44349b3" providerId="LiveId" clId="{D6B2C6B8-087B-43B3-8633-024465984332}" dt="2024-02-22T00:01:43.153" v="4965" actId="1035"/>
          <ac:grpSpMkLst>
            <pc:docMk/>
            <pc:sldMk cId="348420775" sldId="3303"/>
            <ac:grpSpMk id="75" creationId="{9A94EBA5-D819-DF81-BC93-C11B7D4E50B1}"/>
          </ac:grpSpMkLst>
        </pc:grpChg>
        <pc:graphicFrameChg chg="mod">
          <ac:chgData name="Aurelien Domont" userId="6da7715ce44349b3" providerId="LiveId" clId="{D6B2C6B8-087B-43B3-8633-024465984332}" dt="2024-02-21T23:40:16.688" v="4264"/>
          <ac:graphicFrameMkLst>
            <pc:docMk/>
            <pc:sldMk cId="348420775" sldId="3303"/>
            <ac:graphicFrameMk id="6" creationId="{F5887244-1866-E102-5FD5-79FA1304146D}"/>
          </ac:graphicFrameMkLst>
        </pc:graphicFrameChg>
        <pc:picChg chg="add del mod ord">
          <ac:chgData name="Aurelien Domont" userId="6da7715ce44349b3" providerId="LiveId" clId="{D6B2C6B8-087B-43B3-8633-024465984332}" dt="2024-02-21T23:30:04.565" v="3481" actId="478"/>
          <ac:picMkLst>
            <pc:docMk/>
            <pc:sldMk cId="348420775" sldId="3303"/>
            <ac:picMk id="22" creationId="{A8119A80-F267-7378-1975-991D132B4B51}"/>
          </ac:picMkLst>
        </pc:picChg>
        <pc:picChg chg="add del mod ord">
          <ac:chgData name="Aurelien Domont" userId="6da7715ce44349b3" providerId="LiveId" clId="{D6B2C6B8-087B-43B3-8633-024465984332}" dt="2024-02-21T23:29:30.796" v="3459" actId="478"/>
          <ac:picMkLst>
            <pc:docMk/>
            <pc:sldMk cId="348420775" sldId="3303"/>
            <ac:picMk id="23" creationId="{B2B21619-25C3-23CC-C54C-F6C23E51424D}"/>
          </ac:picMkLst>
        </pc:picChg>
        <pc:picChg chg="add mod">
          <ac:chgData name="Aurelien Domont" userId="6da7715ce44349b3" providerId="LiveId" clId="{D6B2C6B8-087B-43B3-8633-024465984332}" dt="2024-02-21T23:31:10.200" v="3488" actId="1035"/>
          <ac:picMkLst>
            <pc:docMk/>
            <pc:sldMk cId="348420775" sldId="3303"/>
            <ac:picMk id="25" creationId="{91F118AE-221B-0B88-9807-B395C2764C60}"/>
          </ac:picMkLst>
        </pc:picChg>
        <pc:picChg chg="add mod">
          <ac:chgData name="Aurelien Domont" userId="6da7715ce44349b3" providerId="LiveId" clId="{D6B2C6B8-087B-43B3-8633-024465984332}" dt="2024-02-21T23:31:10.200" v="3488" actId="1035"/>
          <ac:picMkLst>
            <pc:docMk/>
            <pc:sldMk cId="348420775" sldId="3303"/>
            <ac:picMk id="27" creationId="{BA574962-DAC7-F10D-46EC-B0214047A81F}"/>
          </ac:picMkLst>
        </pc:picChg>
        <pc:picChg chg="add mod">
          <ac:chgData name="Aurelien Domont" userId="6da7715ce44349b3" providerId="LiveId" clId="{D6B2C6B8-087B-43B3-8633-024465984332}" dt="2024-02-21T23:31:10.200" v="3488" actId="1035"/>
          <ac:picMkLst>
            <pc:docMk/>
            <pc:sldMk cId="348420775" sldId="3303"/>
            <ac:picMk id="29" creationId="{9C47414C-5194-F895-ADE5-3E56F59072A6}"/>
          </ac:picMkLst>
        </pc:picChg>
        <pc:picChg chg="del">
          <ac:chgData name="Aurelien Domont" userId="6da7715ce44349b3" providerId="LiveId" clId="{D6B2C6B8-087B-43B3-8633-024465984332}" dt="2024-02-21T06:51:55.474" v="2190" actId="478"/>
          <ac:picMkLst>
            <pc:docMk/>
            <pc:sldMk cId="348420775" sldId="3303"/>
            <ac:picMk id="29" creationId="{DDC5EFC3-30CF-D190-0F31-8CF28EE90785}"/>
          </ac:picMkLst>
        </pc:picChg>
        <pc:picChg chg="add del mod topLvl">
          <ac:chgData name="Aurelien Domont" userId="6da7715ce44349b3" providerId="LiveId" clId="{D6B2C6B8-087B-43B3-8633-024465984332}" dt="2024-02-21T06:56:50.438" v="2223" actId="478"/>
          <ac:picMkLst>
            <pc:docMk/>
            <pc:sldMk cId="348420775" sldId="3303"/>
            <ac:picMk id="31" creationId="{33F08C3E-ED62-3AD2-FE5D-F0E7D03581DD}"/>
          </ac:picMkLst>
        </pc:picChg>
        <pc:picChg chg="add del mod topLvl">
          <ac:chgData name="Aurelien Domont" userId="6da7715ce44349b3" providerId="LiveId" clId="{D6B2C6B8-087B-43B3-8633-024465984332}" dt="2024-02-21T06:56:50.438" v="2223" actId="478"/>
          <ac:picMkLst>
            <pc:docMk/>
            <pc:sldMk cId="348420775" sldId="3303"/>
            <ac:picMk id="32" creationId="{616107E4-AA38-1FD8-5F38-5FCD10CF4D91}"/>
          </ac:picMkLst>
        </pc:picChg>
        <pc:picChg chg="add del mod topLvl">
          <ac:chgData name="Aurelien Domont" userId="6da7715ce44349b3" providerId="LiveId" clId="{D6B2C6B8-087B-43B3-8633-024465984332}" dt="2024-02-21T06:56:50.438" v="2223" actId="478"/>
          <ac:picMkLst>
            <pc:docMk/>
            <pc:sldMk cId="348420775" sldId="3303"/>
            <ac:picMk id="33" creationId="{78D721E8-C8D2-534E-F5AB-CCD8E8EFAD0E}"/>
          </ac:picMkLst>
        </pc:picChg>
        <pc:picChg chg="add del mod topLvl">
          <ac:chgData name="Aurelien Domont" userId="6da7715ce44349b3" providerId="LiveId" clId="{D6B2C6B8-087B-43B3-8633-024465984332}" dt="2024-02-21T06:56:50.438" v="2223" actId="478"/>
          <ac:picMkLst>
            <pc:docMk/>
            <pc:sldMk cId="348420775" sldId="3303"/>
            <ac:picMk id="34" creationId="{77F2B01B-A6A7-949E-9F76-13388B4BA7A9}"/>
          </ac:picMkLst>
        </pc:picChg>
        <pc:picChg chg="add del mod topLvl">
          <ac:chgData name="Aurelien Domont" userId="6da7715ce44349b3" providerId="LiveId" clId="{D6B2C6B8-087B-43B3-8633-024465984332}" dt="2024-02-21T06:56:50.438" v="2223" actId="478"/>
          <ac:picMkLst>
            <pc:docMk/>
            <pc:sldMk cId="348420775" sldId="3303"/>
            <ac:picMk id="35" creationId="{C1398ED8-E9FB-92FF-44DD-1413AA51EED0}"/>
          </ac:picMkLst>
        </pc:picChg>
        <pc:picChg chg="del">
          <ac:chgData name="Aurelien Domont" userId="6da7715ce44349b3" providerId="LiveId" clId="{D6B2C6B8-087B-43B3-8633-024465984332}" dt="2024-02-21T06:51:55.474" v="2190" actId="478"/>
          <ac:picMkLst>
            <pc:docMk/>
            <pc:sldMk cId="348420775" sldId="3303"/>
            <ac:picMk id="36" creationId="{97C3198F-7D51-2162-8158-E2A0C58DF4BB}"/>
          </ac:picMkLst>
        </pc:picChg>
        <pc:picChg chg="add del mod topLvl">
          <ac:chgData name="Aurelien Domont" userId="6da7715ce44349b3" providerId="LiveId" clId="{D6B2C6B8-087B-43B3-8633-024465984332}" dt="2024-02-21T06:56:50.438" v="2223" actId="478"/>
          <ac:picMkLst>
            <pc:docMk/>
            <pc:sldMk cId="348420775" sldId="3303"/>
            <ac:picMk id="38" creationId="{8D7BBB74-763D-57B0-3015-26E5900FDA72}"/>
          </ac:picMkLst>
        </pc:picChg>
        <pc:picChg chg="del">
          <ac:chgData name="Aurelien Domont" userId="6da7715ce44349b3" providerId="LiveId" clId="{D6B2C6B8-087B-43B3-8633-024465984332}" dt="2024-02-21T06:51:55.474" v="2190" actId="478"/>
          <ac:picMkLst>
            <pc:docMk/>
            <pc:sldMk cId="348420775" sldId="3303"/>
            <ac:picMk id="41" creationId="{7C15731A-822F-F8BD-2689-22999A8F3131}"/>
          </ac:picMkLst>
        </pc:picChg>
        <pc:picChg chg="del">
          <ac:chgData name="Aurelien Domont" userId="6da7715ce44349b3" providerId="LiveId" clId="{D6B2C6B8-087B-43B3-8633-024465984332}" dt="2024-02-21T06:51:55.474" v="2190" actId="478"/>
          <ac:picMkLst>
            <pc:docMk/>
            <pc:sldMk cId="348420775" sldId="3303"/>
            <ac:picMk id="42" creationId="{051673A3-C6AB-14C0-AEB1-1EAF7298EB45}"/>
          </ac:picMkLst>
        </pc:picChg>
        <pc:picChg chg="del">
          <ac:chgData name="Aurelien Domont" userId="6da7715ce44349b3" providerId="LiveId" clId="{D6B2C6B8-087B-43B3-8633-024465984332}" dt="2024-02-21T06:51:55.474" v="2190" actId="478"/>
          <ac:picMkLst>
            <pc:docMk/>
            <pc:sldMk cId="348420775" sldId="3303"/>
            <ac:picMk id="51" creationId="{4873C094-C287-8194-A4AA-0B88CC6006E6}"/>
          </ac:picMkLst>
        </pc:picChg>
        <pc:picChg chg="del">
          <ac:chgData name="Aurelien Domont" userId="6da7715ce44349b3" providerId="LiveId" clId="{D6B2C6B8-087B-43B3-8633-024465984332}" dt="2024-02-21T06:51:55.474" v="2190" actId="478"/>
          <ac:picMkLst>
            <pc:docMk/>
            <pc:sldMk cId="348420775" sldId="3303"/>
            <ac:picMk id="52" creationId="{221F28CA-A28B-DDB7-71FE-F1204D85DC64}"/>
          </ac:picMkLst>
        </pc:picChg>
        <pc:picChg chg="del">
          <ac:chgData name="Aurelien Domont" userId="6da7715ce44349b3" providerId="LiveId" clId="{D6B2C6B8-087B-43B3-8633-024465984332}" dt="2024-02-21T06:51:55.474" v="2190" actId="478"/>
          <ac:picMkLst>
            <pc:docMk/>
            <pc:sldMk cId="348420775" sldId="3303"/>
            <ac:picMk id="53" creationId="{6F04A4A9-85F7-ED34-42F4-B51BC397BB6D}"/>
          </ac:picMkLst>
        </pc:picChg>
        <pc:picChg chg="add del mod">
          <ac:chgData name="Aurelien Domont" userId="6da7715ce44349b3" providerId="LiveId" clId="{D6B2C6B8-087B-43B3-8633-024465984332}" dt="2024-02-21T07:00:40.955" v="2245" actId="478"/>
          <ac:picMkLst>
            <pc:docMk/>
            <pc:sldMk cId="348420775" sldId="3303"/>
            <ac:picMk id="57" creationId="{8D037CC2-9DA8-0695-018A-79B76FF16F02}"/>
          </ac:picMkLst>
        </pc:picChg>
      </pc:sldChg>
      <pc:sldChg chg="del">
        <pc:chgData name="Aurelien Domont" userId="6da7715ce44349b3" providerId="LiveId" clId="{D6B2C6B8-087B-43B3-8633-024465984332}" dt="2024-02-22T00:06:41.821" v="5216" actId="47"/>
        <pc:sldMkLst>
          <pc:docMk/>
          <pc:sldMk cId="2666055795" sldId="3304"/>
        </pc:sldMkLst>
      </pc:sldChg>
      <pc:sldChg chg="del">
        <pc:chgData name="Aurelien Domont" userId="6da7715ce44349b3" providerId="LiveId" clId="{D6B2C6B8-087B-43B3-8633-024465984332}" dt="2024-02-22T00:06:41.821" v="5216" actId="47"/>
        <pc:sldMkLst>
          <pc:docMk/>
          <pc:sldMk cId="957674206" sldId="3305"/>
        </pc:sldMkLst>
      </pc:sldChg>
      <pc:sldChg chg="del">
        <pc:chgData name="Aurelien Domont" userId="6da7715ce44349b3" providerId="LiveId" clId="{D6B2C6B8-087B-43B3-8633-024465984332}" dt="2024-02-22T00:06:41.821" v="5216" actId="47"/>
        <pc:sldMkLst>
          <pc:docMk/>
          <pc:sldMk cId="3006714839" sldId="3306"/>
        </pc:sldMkLst>
      </pc:sldChg>
      <pc:sldChg chg="del">
        <pc:chgData name="Aurelien Domont" userId="6da7715ce44349b3" providerId="LiveId" clId="{D6B2C6B8-087B-43B3-8633-024465984332}" dt="2024-02-22T00:06:41.821" v="5216" actId="47"/>
        <pc:sldMkLst>
          <pc:docMk/>
          <pc:sldMk cId="130198696" sldId="3307"/>
        </pc:sldMkLst>
      </pc:sldChg>
      <pc:sldChg chg="new del">
        <pc:chgData name="Aurelien Domont" userId="6da7715ce44349b3" providerId="LiveId" clId="{D6B2C6B8-087B-43B3-8633-024465984332}" dt="2024-02-22T00:07:17.417" v="5219" actId="47"/>
        <pc:sldMkLst>
          <pc:docMk/>
          <pc:sldMk cId="3327732191" sldId="3308"/>
        </pc:sldMkLst>
      </pc:sldChg>
      <pc:sldChg chg="addSp delSp modSp add mod">
        <pc:chgData name="Aurelien Domont" userId="6da7715ce44349b3" providerId="LiveId" clId="{D6B2C6B8-087B-43B3-8633-024465984332}" dt="2024-02-21T05:55:29.115" v="42" actId="404"/>
        <pc:sldMkLst>
          <pc:docMk/>
          <pc:sldMk cId="3071151777" sldId="3309"/>
        </pc:sldMkLst>
        <pc:spChg chg="mod">
          <ac:chgData name="Aurelien Domont" userId="6da7715ce44349b3" providerId="LiveId" clId="{D6B2C6B8-087B-43B3-8633-024465984332}" dt="2024-02-21T05:55:29.115" v="42" actId="404"/>
          <ac:spMkLst>
            <pc:docMk/>
            <pc:sldMk cId="3071151777" sldId="3309"/>
            <ac:spMk id="2" creationId="{F431BC18-A461-9459-FF13-870ACCC7D4F5}"/>
          </ac:spMkLst>
        </pc:spChg>
        <pc:spChg chg="del">
          <ac:chgData name="Aurelien Domont" userId="6da7715ce44349b3" providerId="LiveId" clId="{D6B2C6B8-087B-43B3-8633-024465984332}" dt="2024-02-21T05:54:45.814" v="32" actId="478"/>
          <ac:spMkLst>
            <pc:docMk/>
            <pc:sldMk cId="3071151777" sldId="3309"/>
            <ac:spMk id="10" creationId="{07E11358-1D6D-A63D-3905-327DC0F08E92}"/>
          </ac:spMkLst>
        </pc:spChg>
        <pc:picChg chg="add mod">
          <ac:chgData name="Aurelien Domont" userId="6da7715ce44349b3" providerId="LiveId" clId="{D6B2C6B8-087B-43B3-8633-024465984332}" dt="2024-02-21T05:55:19.316" v="40" actId="1076"/>
          <ac:picMkLst>
            <pc:docMk/>
            <pc:sldMk cId="3071151777" sldId="3309"/>
            <ac:picMk id="3" creationId="{B306F8A8-845A-B178-6CD0-D0574A8D0252}"/>
          </ac:picMkLst>
        </pc:picChg>
      </pc:sldChg>
      <pc:sldChg chg="add del">
        <pc:chgData name="Aurelien Domont" userId="6da7715ce44349b3" providerId="LiveId" clId="{D6B2C6B8-087B-43B3-8633-024465984332}" dt="2024-02-21T06:11:02.439" v="506" actId="47"/>
        <pc:sldMkLst>
          <pc:docMk/>
          <pc:sldMk cId="2937603694" sldId="3310"/>
        </pc:sldMkLst>
      </pc:sldChg>
      <pc:sldChg chg="addSp delSp modSp add del mod">
        <pc:chgData name="Aurelien Domont" userId="6da7715ce44349b3" providerId="LiveId" clId="{D6B2C6B8-087B-43B3-8633-024465984332}" dt="2024-02-21T06:13:50.927" v="536" actId="47"/>
        <pc:sldMkLst>
          <pc:docMk/>
          <pc:sldMk cId="88484951" sldId="3311"/>
        </pc:sldMkLst>
        <pc:spChg chg="mod">
          <ac:chgData name="Aurelien Domont" userId="6da7715ce44349b3" providerId="LiveId" clId="{D6B2C6B8-087B-43B3-8633-024465984332}" dt="2024-02-21T06:13:32.710" v="509" actId="948"/>
          <ac:spMkLst>
            <pc:docMk/>
            <pc:sldMk cId="88484951" sldId="3311"/>
            <ac:spMk id="2" creationId="{9108B1BB-E5D5-3653-6327-963B10699721}"/>
          </ac:spMkLst>
        </pc:spChg>
        <pc:spChg chg="add del mod modVis">
          <ac:chgData name="Aurelien Domont" userId="6da7715ce44349b3" providerId="LiveId" clId="{D6B2C6B8-087B-43B3-8633-024465984332}" dt="2024-02-21T06:10:53.201" v="471"/>
          <ac:spMkLst>
            <pc:docMk/>
            <pc:sldMk cId="88484951" sldId="3311"/>
            <ac:spMk id="3" creationId="{206DFA57-3A81-C365-2265-80989278807D}"/>
          </ac:spMkLst>
        </pc:spChg>
        <pc:spChg chg="add del mod modVis">
          <ac:chgData name="Aurelien Domont" userId="6da7715ce44349b3" providerId="LiveId" clId="{D6B2C6B8-087B-43B3-8633-024465984332}" dt="2024-02-21T06:10:54.418" v="501"/>
          <ac:spMkLst>
            <pc:docMk/>
            <pc:sldMk cId="88484951" sldId="3311"/>
            <ac:spMk id="4" creationId="{38B23E94-96E3-F7CE-56E4-70D7DC706A92}"/>
          </ac:spMkLst>
        </pc:spChg>
        <pc:spChg chg="add del mod modVis">
          <ac:chgData name="Aurelien Domont" userId="6da7715ce44349b3" providerId="LiveId" clId="{D6B2C6B8-087B-43B3-8633-024465984332}" dt="2024-02-21T06:13:32.741" v="533"/>
          <ac:spMkLst>
            <pc:docMk/>
            <pc:sldMk cId="88484951" sldId="3311"/>
            <ac:spMk id="5" creationId="{D76D664A-41DE-4D7A-E03F-1DE259068519}"/>
          </ac:spMkLst>
        </pc:spChg>
        <pc:spChg chg="del">
          <ac:chgData name="Aurelien Domont" userId="6da7715ce44349b3" providerId="LiveId" clId="{D6B2C6B8-087B-43B3-8633-024465984332}" dt="2024-02-21T06:10:59.160" v="505" actId="478"/>
          <ac:spMkLst>
            <pc:docMk/>
            <pc:sldMk cId="88484951" sldId="3311"/>
            <ac:spMk id="42" creationId="{AA5DDCDC-B03E-8383-A246-75C7A0F41389}"/>
          </ac:spMkLst>
        </pc:spChg>
        <pc:spChg chg="del">
          <ac:chgData name="Aurelien Domont" userId="6da7715ce44349b3" providerId="LiveId" clId="{D6B2C6B8-087B-43B3-8633-024465984332}" dt="2024-02-21T06:10:59.160" v="505" actId="478"/>
          <ac:spMkLst>
            <pc:docMk/>
            <pc:sldMk cId="88484951" sldId="3311"/>
            <ac:spMk id="43" creationId="{CE031BB7-F6DF-E361-3598-18B9824A19A1}"/>
          </ac:spMkLst>
        </pc:spChg>
        <pc:spChg chg="del">
          <ac:chgData name="Aurelien Domont" userId="6da7715ce44349b3" providerId="LiveId" clId="{D6B2C6B8-087B-43B3-8633-024465984332}" dt="2024-02-21T06:10:59.160" v="505" actId="478"/>
          <ac:spMkLst>
            <pc:docMk/>
            <pc:sldMk cId="88484951" sldId="3311"/>
            <ac:spMk id="44" creationId="{D99BF984-C99A-30F8-1E5A-1C9AB6C40FD6}"/>
          </ac:spMkLst>
        </pc:spChg>
        <pc:grpChg chg="del">
          <ac:chgData name="Aurelien Domont" userId="6da7715ce44349b3" providerId="LiveId" clId="{D6B2C6B8-087B-43B3-8633-024465984332}" dt="2024-02-21T06:10:56.692" v="504" actId="478"/>
          <ac:grpSpMkLst>
            <pc:docMk/>
            <pc:sldMk cId="88484951" sldId="3311"/>
            <ac:grpSpMk id="31" creationId="{16DAD34B-3514-BF27-AC81-D45C0450CB6A}"/>
          </ac:grpSpMkLst>
        </pc:grpChg>
        <pc:grpChg chg="del">
          <ac:chgData name="Aurelien Domont" userId="6da7715ce44349b3" providerId="LiveId" clId="{D6B2C6B8-087B-43B3-8633-024465984332}" dt="2024-02-21T06:10:56.692" v="504" actId="478"/>
          <ac:grpSpMkLst>
            <pc:docMk/>
            <pc:sldMk cId="88484951" sldId="3311"/>
            <ac:grpSpMk id="36" creationId="{4C1B8C50-71BD-1CCC-3F7A-EDFDCCBCEC1F}"/>
          </ac:grpSpMkLst>
        </pc:grpChg>
        <pc:grpChg chg="del">
          <ac:chgData name="Aurelien Domont" userId="6da7715ce44349b3" providerId="LiveId" clId="{D6B2C6B8-087B-43B3-8633-024465984332}" dt="2024-02-21T06:10:56.692" v="504" actId="478"/>
          <ac:grpSpMkLst>
            <pc:docMk/>
            <pc:sldMk cId="88484951" sldId="3311"/>
            <ac:grpSpMk id="39" creationId="{6B586DC6-9F91-5A33-C2B7-DCF019A2D482}"/>
          </ac:grpSpMkLst>
        </pc:grpChg>
        <pc:graphicFrameChg chg="mod">
          <ac:chgData name="Aurelien Domont" userId="6da7715ce44349b3" providerId="LiveId" clId="{D6B2C6B8-087B-43B3-8633-024465984332}" dt="2024-02-21T06:13:32.741" v="535"/>
          <ac:graphicFrameMkLst>
            <pc:docMk/>
            <pc:sldMk cId="88484951" sldId="3311"/>
            <ac:graphicFrameMk id="16" creationId="{BE076C12-A53F-C81B-18D0-80F02246483F}"/>
          </ac:graphicFrameMkLst>
        </pc:graphicFrameChg>
      </pc:sldChg>
      <pc:sldChg chg="addSp delSp modSp add mod">
        <pc:chgData name="Aurelien Domont" userId="6da7715ce44349b3" providerId="LiveId" clId="{D6B2C6B8-087B-43B3-8633-024465984332}" dt="2024-02-21T06:28:41.263" v="1566" actId="20577"/>
        <pc:sldMkLst>
          <pc:docMk/>
          <pc:sldMk cId="2098415580" sldId="3312"/>
        </pc:sldMkLst>
        <pc:spChg chg="mod ord">
          <ac:chgData name="Aurelien Domont" userId="6da7715ce44349b3" providerId="LiveId" clId="{D6B2C6B8-087B-43B3-8633-024465984332}" dt="2024-02-21T06:23:01.289" v="1017"/>
          <ac:spMkLst>
            <pc:docMk/>
            <pc:sldMk cId="2098415580" sldId="3312"/>
            <ac:spMk id="2" creationId="{0C8D96AE-3B87-BB1A-13CC-08803680CEE2}"/>
          </ac:spMkLst>
        </pc:spChg>
        <pc:spChg chg="mod ord">
          <ac:chgData name="Aurelien Domont" userId="6da7715ce44349b3" providerId="LiveId" clId="{D6B2C6B8-087B-43B3-8633-024465984332}" dt="2024-02-21T06:23:01.304" v="1023"/>
          <ac:spMkLst>
            <pc:docMk/>
            <pc:sldMk cId="2098415580" sldId="3312"/>
            <ac:spMk id="3" creationId="{A138372C-B22A-86F9-2488-6C52595756F9}"/>
          </ac:spMkLst>
        </pc:spChg>
        <pc:spChg chg="add del mod modVis">
          <ac:chgData name="Aurelien Domont" userId="6da7715ce44349b3" providerId="LiveId" clId="{D6B2C6B8-087B-43B3-8633-024465984332}" dt="2024-02-21T06:14:17.628" v="562"/>
          <ac:spMkLst>
            <pc:docMk/>
            <pc:sldMk cId="2098415580" sldId="3312"/>
            <ac:spMk id="4" creationId="{9793D15D-E74E-C49D-EFD4-05FD11C1827F}"/>
          </ac:spMkLst>
        </pc:spChg>
        <pc:spChg chg="mod">
          <ac:chgData name="Aurelien Domont" userId="6da7715ce44349b3" providerId="LiveId" clId="{D6B2C6B8-087B-43B3-8633-024465984332}" dt="2024-02-21T06:16:37.018" v="678" actId="313"/>
          <ac:spMkLst>
            <pc:docMk/>
            <pc:sldMk cId="2098415580" sldId="3312"/>
            <ac:spMk id="7" creationId="{C02B9222-5CB1-3B84-6E21-D911BAAE741F}"/>
          </ac:spMkLst>
        </pc:spChg>
        <pc:spChg chg="mod">
          <ac:chgData name="Aurelien Domont" userId="6da7715ce44349b3" providerId="LiveId" clId="{D6B2C6B8-087B-43B3-8633-024465984332}" dt="2024-02-21T06:19:12.753" v="685" actId="20577"/>
          <ac:spMkLst>
            <pc:docMk/>
            <pc:sldMk cId="2098415580" sldId="3312"/>
            <ac:spMk id="10" creationId="{ACB9C308-1B6C-C036-ABD5-4933853DB3D6}"/>
          </ac:spMkLst>
        </pc:spChg>
        <pc:spChg chg="add del mod modVis">
          <ac:chgData name="Aurelien Domont" userId="6da7715ce44349b3" providerId="LiveId" clId="{D6B2C6B8-087B-43B3-8633-024465984332}" dt="2024-02-21T06:14:19.213" v="590"/>
          <ac:spMkLst>
            <pc:docMk/>
            <pc:sldMk cId="2098415580" sldId="3312"/>
            <ac:spMk id="11" creationId="{C374AE01-2D66-7966-7676-C5E780305D88}"/>
          </ac:spMkLst>
        </pc:spChg>
        <pc:spChg chg="del">
          <ac:chgData name="Aurelien Domont" userId="6da7715ce44349b3" providerId="LiveId" clId="{D6B2C6B8-087B-43B3-8633-024465984332}" dt="2024-02-21T06:19:27.698" v="688"/>
          <ac:spMkLst>
            <pc:docMk/>
            <pc:sldMk cId="2098415580" sldId="3312"/>
            <ac:spMk id="12" creationId="{685B27CA-FD1D-573B-76DD-CF807315C6BE}"/>
          </ac:spMkLst>
        </pc:spChg>
        <pc:spChg chg="del">
          <ac:chgData name="Aurelien Domont" userId="6da7715ce44349b3" providerId="LiveId" clId="{D6B2C6B8-087B-43B3-8633-024465984332}" dt="2024-02-21T06:19:27.698" v="687"/>
          <ac:spMkLst>
            <pc:docMk/>
            <pc:sldMk cId="2098415580" sldId="3312"/>
            <ac:spMk id="13" creationId="{5417CBAA-CB2E-C307-17E4-3D03BB742EF8}"/>
          </ac:spMkLst>
        </pc:spChg>
        <pc:spChg chg="add del mod modVis">
          <ac:chgData name="Aurelien Domont" userId="6da7715ce44349b3" providerId="LiveId" clId="{D6B2C6B8-087B-43B3-8633-024465984332}" dt="2024-02-21T06:14:19.763" v="618"/>
          <ac:spMkLst>
            <pc:docMk/>
            <pc:sldMk cId="2098415580" sldId="3312"/>
            <ac:spMk id="14" creationId="{F94DC35E-21DE-56A2-DBF4-6F7157598AF4}"/>
          </ac:spMkLst>
        </pc:spChg>
        <pc:spChg chg="add del mod modVis">
          <ac:chgData name="Aurelien Domont" userId="6da7715ce44349b3" providerId="LiveId" clId="{D6B2C6B8-087B-43B3-8633-024465984332}" dt="2024-02-21T06:14:33.037" v="648"/>
          <ac:spMkLst>
            <pc:docMk/>
            <pc:sldMk cId="2098415580" sldId="3312"/>
            <ac:spMk id="15" creationId="{7B50E38D-D7A8-42F5-4687-40CE5ACDF920}"/>
          </ac:spMkLst>
        </pc:spChg>
        <pc:spChg chg="mod">
          <ac:chgData name="Aurelien Domont" userId="6da7715ce44349b3" providerId="LiveId" clId="{D6B2C6B8-087B-43B3-8633-024465984332}" dt="2024-02-21T06:21:55.480" v="720" actId="20577"/>
          <ac:spMkLst>
            <pc:docMk/>
            <pc:sldMk cId="2098415580" sldId="3312"/>
            <ac:spMk id="19" creationId="{6A774151-5EBE-2B3D-1EB6-49902A92A678}"/>
          </ac:spMkLst>
        </pc:spChg>
        <pc:spChg chg="mod">
          <ac:chgData name="Aurelien Domont" userId="6da7715ce44349b3" providerId="LiveId" clId="{D6B2C6B8-087B-43B3-8633-024465984332}" dt="2024-02-21T06:21:36.834" v="708"/>
          <ac:spMkLst>
            <pc:docMk/>
            <pc:sldMk cId="2098415580" sldId="3312"/>
            <ac:spMk id="22" creationId="{C07C861C-1918-CD32-8EA8-0DE22EBE70C1}"/>
          </ac:spMkLst>
        </pc:spChg>
        <pc:spChg chg="del">
          <ac:chgData name="Aurelien Domont" userId="6da7715ce44349b3" providerId="LiveId" clId="{D6B2C6B8-087B-43B3-8633-024465984332}" dt="2024-02-21T06:19:27.698" v="694"/>
          <ac:spMkLst>
            <pc:docMk/>
            <pc:sldMk cId="2098415580" sldId="3312"/>
            <ac:spMk id="23" creationId="{B569F797-3226-BA33-BF8C-22327040D1D6}"/>
          </ac:spMkLst>
        </pc:spChg>
        <pc:spChg chg="del">
          <ac:chgData name="Aurelien Domont" userId="6da7715ce44349b3" providerId="LiveId" clId="{D6B2C6B8-087B-43B3-8633-024465984332}" dt="2024-02-21T06:19:27.698" v="693"/>
          <ac:spMkLst>
            <pc:docMk/>
            <pc:sldMk cId="2098415580" sldId="3312"/>
            <ac:spMk id="24" creationId="{7231813A-6307-0A95-E972-6C124DD26365}"/>
          </ac:spMkLst>
        </pc:spChg>
        <pc:spChg chg="add mod ord">
          <ac:chgData name="Aurelien Domont" userId="6da7715ce44349b3" providerId="LiveId" clId="{D6B2C6B8-087B-43B3-8633-024465984332}" dt="2024-02-21T06:28:41.263" v="1566" actId="20577"/>
          <ac:spMkLst>
            <pc:docMk/>
            <pc:sldMk cId="2098415580" sldId="3312"/>
            <ac:spMk id="26" creationId="{A377A972-79D6-A144-0DBC-1677BF0D61C8}"/>
          </ac:spMkLst>
        </pc:spChg>
        <pc:spChg chg="add del mod">
          <ac:chgData name="Aurelien Domont" userId="6da7715ce44349b3" providerId="LiveId" clId="{D6B2C6B8-087B-43B3-8633-024465984332}" dt="2024-02-21T06:22:08.997" v="721" actId="478"/>
          <ac:spMkLst>
            <pc:docMk/>
            <pc:sldMk cId="2098415580" sldId="3312"/>
            <ac:spMk id="27" creationId="{091B6D04-7323-DAD9-4FE1-61D1C8AB5A42}"/>
          </ac:spMkLst>
        </pc:spChg>
        <pc:spChg chg="add mod replST">
          <ac:chgData name="Aurelien Domont" userId="6da7715ce44349b3" providerId="LiveId" clId="{D6B2C6B8-087B-43B3-8633-024465984332}" dt="2024-02-21T06:23:01.304" v="1034"/>
          <ac:spMkLst>
            <pc:docMk/>
            <pc:sldMk cId="2098415580" sldId="3312"/>
            <ac:spMk id="29" creationId="{5A7485EF-1AD1-88FC-9CC6-FFFD5732CE2E}"/>
          </ac:spMkLst>
        </pc:spChg>
        <pc:spChg chg="add mod replST">
          <ac:chgData name="Aurelien Domont" userId="6da7715ce44349b3" providerId="LiveId" clId="{D6B2C6B8-087B-43B3-8633-024465984332}" dt="2024-02-21T06:23:01.304" v="1035"/>
          <ac:spMkLst>
            <pc:docMk/>
            <pc:sldMk cId="2098415580" sldId="3312"/>
            <ac:spMk id="30" creationId="{6E1C7DD8-AAC4-6A0E-D7C3-DD8A0CE4B247}"/>
          </ac:spMkLst>
        </pc:spChg>
        <pc:spChg chg="add del mod modVis">
          <ac:chgData name="Aurelien Domont" userId="6da7715ce44349b3" providerId="LiveId" clId="{D6B2C6B8-087B-43B3-8633-024465984332}" dt="2024-02-21T06:22:14.356" v="828"/>
          <ac:spMkLst>
            <pc:docMk/>
            <pc:sldMk cId="2098415580" sldId="3312"/>
            <ac:spMk id="31" creationId="{4A45E8A4-AE66-EA3F-42F8-FF9B8B27C7A1}"/>
          </ac:spMkLst>
        </pc:spChg>
        <pc:spChg chg="del">
          <ac:chgData name="Aurelien Domont" userId="6da7715ce44349b3" providerId="LiveId" clId="{D6B2C6B8-087B-43B3-8633-024465984332}" dt="2024-02-21T06:19:27.698" v="692"/>
          <ac:spMkLst>
            <pc:docMk/>
            <pc:sldMk cId="2098415580" sldId="3312"/>
            <ac:spMk id="32" creationId="{F1EAC2A1-60CC-5D88-F44F-9E24C4E66F56}"/>
          </ac:spMkLst>
        </pc:spChg>
        <pc:spChg chg="del">
          <ac:chgData name="Aurelien Domont" userId="6da7715ce44349b3" providerId="LiveId" clId="{D6B2C6B8-087B-43B3-8633-024465984332}" dt="2024-02-21T06:19:27.698" v="691"/>
          <ac:spMkLst>
            <pc:docMk/>
            <pc:sldMk cId="2098415580" sldId="3312"/>
            <ac:spMk id="35" creationId="{178216EB-BA0A-672E-82E5-C727BD51ABC4}"/>
          </ac:spMkLst>
        </pc:spChg>
        <pc:spChg chg="add del mod modVis">
          <ac:chgData name="Aurelien Domont" userId="6da7715ce44349b3" providerId="LiveId" clId="{D6B2C6B8-087B-43B3-8633-024465984332}" dt="2024-02-21T06:22:31.629" v="925"/>
          <ac:spMkLst>
            <pc:docMk/>
            <pc:sldMk cId="2098415580" sldId="3312"/>
            <ac:spMk id="36" creationId="{69D5F14C-F44C-64BE-73DF-60A45E974A42}"/>
          </ac:spMkLst>
        </pc:spChg>
        <pc:spChg chg="add del mod modVis">
          <ac:chgData name="Aurelien Domont" userId="6da7715ce44349b3" providerId="LiveId" clId="{D6B2C6B8-087B-43B3-8633-024465984332}" dt="2024-02-21T06:22:37.890" v="982"/>
          <ac:spMkLst>
            <pc:docMk/>
            <pc:sldMk cId="2098415580" sldId="3312"/>
            <ac:spMk id="38" creationId="{4388740B-5CE2-8476-8D39-707B88BA1EE6}"/>
          </ac:spMkLst>
        </pc:spChg>
        <pc:spChg chg="add del mod modVis">
          <ac:chgData name="Aurelien Domont" userId="6da7715ce44349b3" providerId="LiveId" clId="{D6B2C6B8-087B-43B3-8633-024465984332}" dt="2024-02-21T06:23:01.304" v="1039"/>
          <ac:spMkLst>
            <pc:docMk/>
            <pc:sldMk cId="2098415580" sldId="3312"/>
            <ac:spMk id="40" creationId="{97F3272B-F205-5B46-5B6A-28DD21C7371E}"/>
          </ac:spMkLst>
        </pc:spChg>
        <pc:spChg chg="mod ord">
          <ac:chgData name="Aurelien Domont" userId="6da7715ce44349b3" providerId="LiveId" clId="{D6B2C6B8-087B-43B3-8633-024465984332}" dt="2024-02-21T06:23:01.289" v="1019"/>
          <ac:spMkLst>
            <pc:docMk/>
            <pc:sldMk cId="2098415580" sldId="3312"/>
            <ac:spMk id="108" creationId="{837A0A3E-F251-0B73-3ECB-60E5ECC8B74D}"/>
          </ac:spMkLst>
        </pc:spChg>
        <pc:spChg chg="mod ord">
          <ac:chgData name="Aurelien Domont" userId="6da7715ce44349b3" providerId="LiveId" clId="{D6B2C6B8-087B-43B3-8633-024465984332}" dt="2024-02-21T06:23:01.304" v="1021"/>
          <ac:spMkLst>
            <pc:docMk/>
            <pc:sldMk cId="2098415580" sldId="3312"/>
            <ac:spMk id="109" creationId="{68C4106C-AF12-7F3F-BB93-145E55280CC5}"/>
          </ac:spMkLst>
        </pc:spChg>
        <pc:grpChg chg="del">
          <ac:chgData name="Aurelien Domont" userId="6da7715ce44349b3" providerId="LiveId" clId="{D6B2C6B8-087B-43B3-8633-024465984332}" dt="2024-02-21T06:19:27.709" v="700"/>
          <ac:grpSpMkLst>
            <pc:docMk/>
            <pc:sldMk cId="2098415580" sldId="3312"/>
            <ac:grpSpMk id="5" creationId="{FFD140FC-D4EB-098F-094C-EB282360BAF1}"/>
          </ac:grpSpMkLst>
        </pc:grpChg>
        <pc:grpChg chg="del">
          <ac:chgData name="Aurelien Domont" userId="6da7715ce44349b3" providerId="LiveId" clId="{D6B2C6B8-087B-43B3-8633-024465984332}" dt="2024-02-21T06:19:27.709" v="698"/>
          <ac:grpSpMkLst>
            <pc:docMk/>
            <pc:sldMk cId="2098415580" sldId="3312"/>
            <ac:grpSpMk id="8" creationId="{9BB6EC18-FF6A-B910-8161-459A436075B6}"/>
          </ac:grpSpMkLst>
        </pc:grpChg>
        <pc:grpChg chg="add mod ord">
          <ac:chgData name="Aurelien Domont" userId="6da7715ce44349b3" providerId="LiveId" clId="{D6B2C6B8-087B-43B3-8633-024465984332}" dt="2024-02-21T06:23:01.304" v="1025"/>
          <ac:grpSpMkLst>
            <pc:docMk/>
            <pc:sldMk cId="2098415580" sldId="3312"/>
            <ac:grpSpMk id="17" creationId="{207F28EF-4362-30C3-8D17-E17CC23C8ADD}"/>
          </ac:grpSpMkLst>
        </pc:grpChg>
        <pc:grpChg chg="add mod ord">
          <ac:chgData name="Aurelien Domont" userId="6da7715ce44349b3" providerId="LiveId" clId="{D6B2C6B8-087B-43B3-8633-024465984332}" dt="2024-02-21T06:23:01.304" v="1027"/>
          <ac:grpSpMkLst>
            <pc:docMk/>
            <pc:sldMk cId="2098415580" sldId="3312"/>
            <ac:grpSpMk id="20" creationId="{64CC501C-7049-A44E-48B4-ADCE495F9653}"/>
          </ac:grpSpMkLst>
        </pc:grpChg>
        <pc:graphicFrameChg chg="mod">
          <ac:chgData name="Aurelien Domont" userId="6da7715ce44349b3" providerId="LiveId" clId="{D6B2C6B8-087B-43B3-8633-024465984332}" dt="2024-02-21T06:23:01.320" v="1041"/>
          <ac:graphicFrameMkLst>
            <pc:docMk/>
            <pc:sldMk cId="2098415580" sldId="3312"/>
            <ac:graphicFrameMk id="16" creationId="{6A0928A2-5679-39E5-8050-3FF70F110818}"/>
          </ac:graphicFrameMkLst>
        </pc:graphicFrameChg>
        <pc:graphicFrameChg chg="add del mod replST">
          <ac:chgData name="Aurelien Domont" userId="6da7715ce44349b3" providerId="LiveId" clId="{D6B2C6B8-087B-43B3-8633-024465984332}" dt="2024-02-21T06:22:14.324" v="798"/>
          <ac:graphicFrameMkLst>
            <pc:docMk/>
            <pc:sldMk cId="2098415580" sldId="3312"/>
            <ac:graphicFrameMk id="28" creationId="{EB343107-BAAD-742B-882A-ABEBB102C3B5}"/>
          </ac:graphicFrameMkLst>
        </pc:graphicFrameChg>
        <pc:graphicFrameChg chg="add del mod ord replST">
          <ac:chgData name="Aurelien Domont" userId="6da7715ce44349b3" providerId="LiveId" clId="{D6B2C6B8-087B-43B3-8633-024465984332}" dt="2024-02-21T06:22:16.305" v="840"/>
          <ac:graphicFrameMkLst>
            <pc:docMk/>
            <pc:sldMk cId="2098415580" sldId="3312"/>
            <ac:graphicFrameMk id="33" creationId="{85077030-258E-D41D-C60B-B97061113099}"/>
          </ac:graphicFrameMkLst>
        </pc:graphicFrameChg>
        <pc:graphicFrameChg chg="add del mod ord replST">
          <ac:chgData name="Aurelien Domont" userId="6da7715ce44349b3" providerId="LiveId" clId="{D6B2C6B8-087B-43B3-8633-024465984332}" dt="2024-02-21T06:22:31.575" v="895"/>
          <ac:graphicFrameMkLst>
            <pc:docMk/>
            <pc:sldMk cId="2098415580" sldId="3312"/>
            <ac:graphicFrameMk id="34" creationId="{CCF02767-C5F7-F99E-B11F-F1617829C8AA}"/>
          </ac:graphicFrameMkLst>
        </pc:graphicFrameChg>
        <pc:graphicFrameChg chg="add del mod ord replST">
          <ac:chgData name="Aurelien Domont" userId="6da7715ce44349b3" providerId="LiveId" clId="{D6B2C6B8-087B-43B3-8633-024465984332}" dt="2024-02-21T06:22:37.827" v="952"/>
          <ac:graphicFrameMkLst>
            <pc:docMk/>
            <pc:sldMk cId="2098415580" sldId="3312"/>
            <ac:graphicFrameMk id="37" creationId="{74499F25-923F-A3DE-78E7-C3BD420E1120}"/>
          </ac:graphicFrameMkLst>
        </pc:graphicFrameChg>
        <pc:graphicFrameChg chg="add del mod ord replST">
          <ac:chgData name="Aurelien Domont" userId="6da7715ce44349b3" providerId="LiveId" clId="{D6B2C6B8-087B-43B3-8633-024465984332}" dt="2024-02-21T06:23:01.256" v="1009"/>
          <ac:graphicFrameMkLst>
            <pc:docMk/>
            <pc:sldMk cId="2098415580" sldId="3312"/>
            <ac:graphicFrameMk id="39" creationId="{92331461-80BA-1198-C974-D20591E84909}"/>
          </ac:graphicFrameMkLst>
        </pc:graphicFrameChg>
        <pc:graphicFrameChg chg="add mod ord replST">
          <ac:chgData name="Aurelien Domont" userId="6da7715ce44349b3" providerId="LiveId" clId="{D6B2C6B8-087B-43B3-8633-024465984332}" dt="2024-02-21T06:23:01.304" v="1033"/>
          <ac:graphicFrameMkLst>
            <pc:docMk/>
            <pc:sldMk cId="2098415580" sldId="3312"/>
            <ac:graphicFrameMk id="41" creationId="{6D8FAA40-6874-F58E-AC79-DEBB9CC96534}"/>
          </ac:graphicFrameMkLst>
        </pc:graphicFrameChg>
        <pc:graphicFrameChg chg="del">
          <ac:chgData name="Aurelien Domont" userId="6da7715ce44349b3" providerId="LiveId" clId="{D6B2C6B8-087B-43B3-8633-024465984332}" dt="2024-02-21T06:19:27.698" v="690"/>
          <ac:graphicFrameMkLst>
            <pc:docMk/>
            <pc:sldMk cId="2098415580" sldId="3312"/>
            <ac:graphicFrameMk id="55" creationId="{B11C9326-8430-5C70-D042-B93A8A9A17C2}"/>
          </ac:graphicFrameMkLst>
        </pc:graphicFrameChg>
        <pc:graphicFrameChg chg="del">
          <ac:chgData name="Aurelien Domont" userId="6da7715ce44349b3" providerId="LiveId" clId="{D6B2C6B8-087B-43B3-8633-024465984332}" dt="2024-02-21T06:19:27.698" v="696"/>
          <ac:graphicFrameMkLst>
            <pc:docMk/>
            <pc:sldMk cId="2098415580" sldId="3312"/>
            <ac:graphicFrameMk id="56" creationId="{E002BDF1-EC7B-0E5A-53AA-9CE7499D4974}"/>
          </ac:graphicFrameMkLst>
        </pc:graphicFrameChg>
        <pc:cxnChg chg="mod">
          <ac:chgData name="Aurelien Domont" userId="6da7715ce44349b3" providerId="LiveId" clId="{D6B2C6B8-087B-43B3-8633-024465984332}" dt="2024-02-21T06:19:54.323" v="706"/>
          <ac:cxnSpMkLst>
            <pc:docMk/>
            <pc:sldMk cId="2098415580" sldId="3312"/>
            <ac:cxnSpMk id="18" creationId="{905D847C-1D95-A3B7-7747-A9D630A2B2EE}"/>
          </ac:cxnSpMkLst>
        </pc:cxnChg>
        <pc:cxnChg chg="mod">
          <ac:chgData name="Aurelien Domont" userId="6da7715ce44349b3" providerId="LiveId" clId="{D6B2C6B8-087B-43B3-8633-024465984332}" dt="2024-02-21T06:19:54.323" v="706"/>
          <ac:cxnSpMkLst>
            <pc:docMk/>
            <pc:sldMk cId="2098415580" sldId="3312"/>
            <ac:cxnSpMk id="21" creationId="{53FD03EA-B70E-8B1A-F5F1-B91DF7CACB7F}"/>
          </ac:cxnSpMkLst>
        </pc:cxnChg>
        <pc:cxnChg chg="add mod ord">
          <ac:chgData name="Aurelien Domont" userId="6da7715ce44349b3" providerId="LiveId" clId="{D6B2C6B8-087B-43B3-8633-024465984332}" dt="2024-02-21T06:23:01.304" v="1029"/>
          <ac:cxnSpMkLst>
            <pc:docMk/>
            <pc:sldMk cId="2098415580" sldId="3312"/>
            <ac:cxnSpMk id="25" creationId="{7F4ED82C-94A2-4F07-41B4-97C65CE6EA9D}"/>
          </ac:cxnSpMkLst>
        </pc:cxnChg>
      </pc:sldChg>
      <pc:sldChg chg="add del">
        <pc:chgData name="Aurelien Domont" userId="6da7715ce44349b3" providerId="LiveId" clId="{D6B2C6B8-087B-43B3-8633-024465984332}" dt="2024-02-21T06:24:31.376" v="1045" actId="47"/>
        <pc:sldMkLst>
          <pc:docMk/>
          <pc:sldMk cId="464964794" sldId="3313"/>
        </pc:sldMkLst>
      </pc:sldChg>
      <pc:sldChg chg="addSp delSp modSp add del mod">
        <pc:chgData name="Aurelien Domont" userId="6da7715ce44349b3" providerId="LiveId" clId="{D6B2C6B8-087B-43B3-8633-024465984332}" dt="2024-02-21T23:21:25.064" v="3329" actId="47"/>
        <pc:sldMkLst>
          <pc:docMk/>
          <pc:sldMk cId="575192933" sldId="3313"/>
        </pc:sldMkLst>
        <pc:spChg chg="mod">
          <ac:chgData name="Aurelien Domont" userId="6da7715ce44349b3" providerId="LiveId" clId="{D6B2C6B8-087B-43B3-8633-024465984332}" dt="2024-02-21T07:03:30.419" v="2842" actId="948"/>
          <ac:spMkLst>
            <pc:docMk/>
            <pc:sldMk cId="575192933" sldId="3313"/>
            <ac:spMk id="2" creationId="{FFC2D10B-20C0-253C-140E-F79776611942}"/>
          </ac:spMkLst>
        </pc:spChg>
        <pc:spChg chg="add del mod">
          <ac:chgData name="Aurelien Domont" userId="6da7715ce44349b3" providerId="LiveId" clId="{D6B2C6B8-087B-43B3-8633-024465984332}" dt="2024-02-21T07:04:16.523" v="2890" actId="478"/>
          <ac:spMkLst>
            <pc:docMk/>
            <pc:sldMk cId="575192933" sldId="3313"/>
            <ac:spMk id="3" creationId="{FBB92D96-B7FC-02E0-9FC5-9E66E42A2B8E}"/>
          </ac:spMkLst>
        </pc:spChg>
        <pc:spChg chg="add del mod">
          <ac:chgData name="Aurelien Domont" userId="6da7715ce44349b3" providerId="LiveId" clId="{D6B2C6B8-087B-43B3-8633-024465984332}" dt="2024-02-21T07:04:16.523" v="2890" actId="478"/>
          <ac:spMkLst>
            <pc:docMk/>
            <pc:sldMk cId="575192933" sldId="3313"/>
            <ac:spMk id="4" creationId="{81E95440-23D0-44C6-FD63-5D54212AB186}"/>
          </ac:spMkLst>
        </pc:spChg>
        <pc:spChg chg="add del mod">
          <ac:chgData name="Aurelien Domont" userId="6da7715ce44349b3" providerId="LiveId" clId="{D6B2C6B8-087B-43B3-8633-024465984332}" dt="2024-02-21T07:04:16.523" v="2890" actId="478"/>
          <ac:spMkLst>
            <pc:docMk/>
            <pc:sldMk cId="575192933" sldId="3313"/>
            <ac:spMk id="5" creationId="{6EE71C1A-F334-675A-466A-52BA1E45324B}"/>
          </ac:spMkLst>
        </pc:spChg>
        <pc:spChg chg="add del mod">
          <ac:chgData name="Aurelien Domont" userId="6da7715ce44349b3" providerId="LiveId" clId="{D6B2C6B8-087B-43B3-8633-024465984332}" dt="2024-02-21T07:04:16.523" v="2890" actId="478"/>
          <ac:spMkLst>
            <pc:docMk/>
            <pc:sldMk cId="575192933" sldId="3313"/>
            <ac:spMk id="7" creationId="{0D62CD8F-B5AC-A100-A980-D7B30FBB9CB2}"/>
          </ac:spMkLst>
        </pc:spChg>
        <pc:spChg chg="add del mod">
          <ac:chgData name="Aurelien Domont" userId="6da7715ce44349b3" providerId="LiveId" clId="{D6B2C6B8-087B-43B3-8633-024465984332}" dt="2024-02-21T07:04:16.523" v="2890" actId="478"/>
          <ac:spMkLst>
            <pc:docMk/>
            <pc:sldMk cId="575192933" sldId="3313"/>
            <ac:spMk id="8" creationId="{D5ABACBE-8187-1634-E4AA-8085A66DDBA3}"/>
          </ac:spMkLst>
        </pc:spChg>
        <pc:spChg chg="add del mod">
          <ac:chgData name="Aurelien Domont" userId="6da7715ce44349b3" providerId="LiveId" clId="{D6B2C6B8-087B-43B3-8633-024465984332}" dt="2024-02-21T07:04:16.523" v="2890" actId="478"/>
          <ac:spMkLst>
            <pc:docMk/>
            <pc:sldMk cId="575192933" sldId="3313"/>
            <ac:spMk id="9" creationId="{39988C13-CA25-15A0-1A57-F03C48E47A74}"/>
          </ac:spMkLst>
        </pc:spChg>
        <pc:spChg chg="add del mod">
          <ac:chgData name="Aurelien Domont" userId="6da7715ce44349b3" providerId="LiveId" clId="{D6B2C6B8-087B-43B3-8633-024465984332}" dt="2024-02-21T07:04:16.523" v="2890" actId="478"/>
          <ac:spMkLst>
            <pc:docMk/>
            <pc:sldMk cId="575192933" sldId="3313"/>
            <ac:spMk id="10" creationId="{C19DF14B-3D48-9109-696E-ADEAC27F10E5}"/>
          </ac:spMkLst>
        </pc:spChg>
        <pc:spChg chg="add del mod modVis">
          <ac:chgData name="Aurelien Domont" userId="6da7715ce44349b3" providerId="LiveId" clId="{D6B2C6B8-087B-43B3-8633-024465984332}" dt="2024-02-21T07:03:30.482" v="2881"/>
          <ac:spMkLst>
            <pc:docMk/>
            <pc:sldMk cId="575192933" sldId="3313"/>
            <ac:spMk id="11" creationId="{CDF34A8E-AF74-EC60-0B1C-009395AE4050}"/>
          </ac:spMkLst>
        </pc:spChg>
        <pc:spChg chg="del mod">
          <ac:chgData name="Aurelien Domont" userId="6da7715ce44349b3" providerId="LiveId" clId="{D6B2C6B8-087B-43B3-8633-024465984332}" dt="2024-02-21T07:03:25.834" v="2838" actId="478"/>
          <ac:spMkLst>
            <pc:docMk/>
            <pc:sldMk cId="575192933" sldId="3313"/>
            <ac:spMk id="13" creationId="{344ACDD6-A7D6-D63D-7EFC-A36E880E06FD}"/>
          </ac:spMkLst>
        </pc:spChg>
        <pc:spChg chg="del mod">
          <ac:chgData name="Aurelien Domont" userId="6da7715ce44349b3" providerId="LiveId" clId="{D6B2C6B8-087B-43B3-8633-024465984332}" dt="2024-02-21T07:03:25.834" v="2838" actId="478"/>
          <ac:spMkLst>
            <pc:docMk/>
            <pc:sldMk cId="575192933" sldId="3313"/>
            <ac:spMk id="14" creationId="{416FA81D-9755-421D-BAD2-63B1CBE3C4A6}"/>
          </ac:spMkLst>
        </pc:spChg>
        <pc:spChg chg="del">
          <ac:chgData name="Aurelien Domont" userId="6da7715ce44349b3" providerId="LiveId" clId="{D6B2C6B8-087B-43B3-8633-024465984332}" dt="2024-02-21T07:03:25.834" v="2838" actId="478"/>
          <ac:spMkLst>
            <pc:docMk/>
            <pc:sldMk cId="575192933" sldId="3313"/>
            <ac:spMk id="15" creationId="{D1286BE7-3F44-5402-1D89-243C8B88B47F}"/>
          </ac:spMkLst>
        </pc:spChg>
        <pc:spChg chg="del">
          <ac:chgData name="Aurelien Domont" userId="6da7715ce44349b3" providerId="LiveId" clId="{D6B2C6B8-087B-43B3-8633-024465984332}" dt="2024-02-21T07:03:25.834" v="2838" actId="478"/>
          <ac:spMkLst>
            <pc:docMk/>
            <pc:sldMk cId="575192933" sldId="3313"/>
            <ac:spMk id="16" creationId="{AA858B6D-89C0-9466-92ED-EADA3C40CB1E}"/>
          </ac:spMkLst>
        </pc:spChg>
        <pc:spChg chg="del">
          <ac:chgData name="Aurelien Domont" userId="6da7715ce44349b3" providerId="LiveId" clId="{D6B2C6B8-087B-43B3-8633-024465984332}" dt="2024-02-21T07:03:25.834" v="2838" actId="478"/>
          <ac:spMkLst>
            <pc:docMk/>
            <pc:sldMk cId="575192933" sldId="3313"/>
            <ac:spMk id="17" creationId="{69888AD6-F569-2520-06AB-82BFCBC0E49C}"/>
          </ac:spMkLst>
        </pc:spChg>
        <pc:spChg chg="del">
          <ac:chgData name="Aurelien Domont" userId="6da7715ce44349b3" providerId="LiveId" clId="{D6B2C6B8-087B-43B3-8633-024465984332}" dt="2024-02-21T07:03:25.834" v="2838" actId="478"/>
          <ac:spMkLst>
            <pc:docMk/>
            <pc:sldMk cId="575192933" sldId="3313"/>
            <ac:spMk id="18" creationId="{9D48A6F9-DF8E-EADC-2996-C7B33AE56997}"/>
          </ac:spMkLst>
        </pc:spChg>
        <pc:spChg chg="del">
          <ac:chgData name="Aurelien Domont" userId="6da7715ce44349b3" providerId="LiveId" clId="{D6B2C6B8-087B-43B3-8633-024465984332}" dt="2024-02-21T07:03:25.834" v="2838" actId="478"/>
          <ac:spMkLst>
            <pc:docMk/>
            <pc:sldMk cId="575192933" sldId="3313"/>
            <ac:spMk id="28" creationId="{77C5C88A-D9EA-747D-1DA8-FED8976FF27E}"/>
          </ac:spMkLst>
        </pc:spChg>
        <pc:graphicFrameChg chg="mod">
          <ac:chgData name="Aurelien Domont" userId="6da7715ce44349b3" providerId="LiveId" clId="{D6B2C6B8-087B-43B3-8633-024465984332}" dt="2024-02-21T07:03:30.482" v="2883"/>
          <ac:graphicFrameMkLst>
            <pc:docMk/>
            <pc:sldMk cId="575192933" sldId="3313"/>
            <ac:graphicFrameMk id="6" creationId="{685EFA32-7338-1003-EDC2-89D52280658D}"/>
          </ac:graphicFrameMkLst>
        </pc:graphicFrameChg>
      </pc:sldChg>
      <pc:sldChg chg="addSp delSp modSp add mod">
        <pc:chgData name="Aurelien Domont" userId="6da7715ce44349b3" providerId="LiveId" clId="{D6B2C6B8-087B-43B3-8633-024465984332}" dt="2024-02-21T23:22:31.897" v="3337"/>
        <pc:sldMkLst>
          <pc:docMk/>
          <pc:sldMk cId="696290259" sldId="3313"/>
        </pc:sldMkLst>
        <pc:spChg chg="add mod">
          <ac:chgData name="Aurelien Domont" userId="6da7715ce44349b3" providerId="LiveId" clId="{D6B2C6B8-087B-43B3-8633-024465984332}" dt="2024-02-21T23:22:31.897" v="3337"/>
          <ac:spMkLst>
            <pc:docMk/>
            <pc:sldMk cId="696290259" sldId="3313"/>
            <ac:spMk id="2" creationId="{BBF6F9CC-EAEE-B431-9A33-1AF02B22E181}"/>
          </ac:spMkLst>
        </pc:spChg>
        <pc:spChg chg="add mod">
          <ac:chgData name="Aurelien Domont" userId="6da7715ce44349b3" providerId="LiveId" clId="{D6B2C6B8-087B-43B3-8633-024465984332}" dt="2024-02-21T23:22:31.897" v="3337"/>
          <ac:spMkLst>
            <pc:docMk/>
            <pc:sldMk cId="696290259" sldId="3313"/>
            <ac:spMk id="5" creationId="{5B010C56-F58C-B336-957F-7872ACFEAE48}"/>
          </ac:spMkLst>
        </pc:spChg>
        <pc:spChg chg="del">
          <ac:chgData name="Aurelien Domont" userId="6da7715ce44349b3" providerId="LiveId" clId="{D6B2C6B8-087B-43B3-8633-024465984332}" dt="2024-02-21T23:22:26.977" v="3336" actId="478"/>
          <ac:spMkLst>
            <pc:docMk/>
            <pc:sldMk cId="696290259" sldId="3313"/>
            <ac:spMk id="6" creationId="{595E1C41-7A14-CAD5-20A8-759EEDA3C608}"/>
          </ac:spMkLst>
        </pc:spChg>
        <pc:spChg chg="add mod">
          <ac:chgData name="Aurelien Domont" userId="6da7715ce44349b3" providerId="LiveId" clId="{D6B2C6B8-087B-43B3-8633-024465984332}" dt="2024-02-21T23:22:31.897" v="3337"/>
          <ac:spMkLst>
            <pc:docMk/>
            <pc:sldMk cId="696290259" sldId="3313"/>
            <ac:spMk id="7" creationId="{14896A14-6232-CE11-7A2F-0EF51667DEAB}"/>
          </ac:spMkLst>
        </pc:spChg>
        <pc:spChg chg="add mod">
          <ac:chgData name="Aurelien Domont" userId="6da7715ce44349b3" providerId="LiveId" clId="{D6B2C6B8-087B-43B3-8633-024465984332}" dt="2024-02-21T23:22:31.897" v="3337"/>
          <ac:spMkLst>
            <pc:docMk/>
            <pc:sldMk cId="696290259" sldId="3313"/>
            <ac:spMk id="9" creationId="{A98C2D79-D8C3-AAC8-7E54-1CD727892176}"/>
          </ac:spMkLst>
        </pc:spChg>
        <pc:spChg chg="add mod">
          <ac:chgData name="Aurelien Domont" userId="6da7715ce44349b3" providerId="LiveId" clId="{D6B2C6B8-087B-43B3-8633-024465984332}" dt="2024-02-21T23:22:31.897" v="3337"/>
          <ac:spMkLst>
            <pc:docMk/>
            <pc:sldMk cId="696290259" sldId="3313"/>
            <ac:spMk id="12" creationId="{AE862E71-F20C-D2C3-28B1-E98769F0CC70}"/>
          </ac:spMkLst>
        </pc:spChg>
        <pc:spChg chg="add mod">
          <ac:chgData name="Aurelien Domont" userId="6da7715ce44349b3" providerId="LiveId" clId="{D6B2C6B8-087B-43B3-8633-024465984332}" dt="2024-02-21T23:22:31.897" v="3337"/>
          <ac:spMkLst>
            <pc:docMk/>
            <pc:sldMk cId="696290259" sldId="3313"/>
            <ac:spMk id="14" creationId="{BB646F9B-FDE0-589F-3497-157C24D64E79}"/>
          </ac:spMkLst>
        </pc:spChg>
        <pc:spChg chg="mod">
          <ac:chgData name="Aurelien Domont" userId="6da7715ce44349b3" providerId="LiveId" clId="{D6B2C6B8-087B-43B3-8633-024465984332}" dt="2024-02-21T23:22:21.022" v="3331"/>
          <ac:spMkLst>
            <pc:docMk/>
            <pc:sldMk cId="696290259" sldId="3313"/>
            <ac:spMk id="16" creationId="{A7E63F1C-0D16-81DD-5829-675E48179E9C}"/>
          </ac:spMkLst>
        </pc:spChg>
        <pc:spChg chg="add mod">
          <ac:chgData name="Aurelien Domont" userId="6da7715ce44349b3" providerId="LiveId" clId="{D6B2C6B8-087B-43B3-8633-024465984332}" dt="2024-02-21T23:22:31.897" v="3337"/>
          <ac:spMkLst>
            <pc:docMk/>
            <pc:sldMk cId="696290259" sldId="3313"/>
            <ac:spMk id="19" creationId="{DDDF3EC4-364E-9C83-EEF7-3B7E796A1989}"/>
          </ac:spMkLst>
        </pc:spChg>
        <pc:spChg chg="add mod">
          <ac:chgData name="Aurelien Domont" userId="6da7715ce44349b3" providerId="LiveId" clId="{D6B2C6B8-087B-43B3-8633-024465984332}" dt="2024-02-21T23:22:31.897" v="3337"/>
          <ac:spMkLst>
            <pc:docMk/>
            <pc:sldMk cId="696290259" sldId="3313"/>
            <ac:spMk id="20" creationId="{CBC2B914-7E4F-5761-E92C-887BAB286DCB}"/>
          </ac:spMkLst>
        </pc:spChg>
        <pc:spChg chg="add mod">
          <ac:chgData name="Aurelien Domont" userId="6da7715ce44349b3" providerId="LiveId" clId="{D6B2C6B8-087B-43B3-8633-024465984332}" dt="2024-02-21T23:22:31.897" v="3337"/>
          <ac:spMkLst>
            <pc:docMk/>
            <pc:sldMk cId="696290259" sldId="3313"/>
            <ac:spMk id="21" creationId="{80D2E543-5E00-56C9-5150-43263ECD8207}"/>
          </ac:spMkLst>
        </pc:spChg>
        <pc:graphicFrameChg chg="mod">
          <ac:chgData name="Aurelien Domont" userId="6da7715ce44349b3" providerId="LiveId" clId="{D6B2C6B8-087B-43B3-8633-024465984332}" dt="2024-02-21T23:22:21.524" v="3335"/>
          <ac:graphicFrameMkLst>
            <pc:docMk/>
            <pc:sldMk cId="696290259" sldId="3313"/>
            <ac:graphicFrameMk id="13" creationId="{336DF99A-A951-D115-D75E-300D3138DBA2}"/>
          </ac:graphicFrameMkLst>
        </pc:graphicFrameChg>
        <pc:picChg chg="add mod">
          <ac:chgData name="Aurelien Domont" userId="6da7715ce44349b3" providerId="LiveId" clId="{D6B2C6B8-087B-43B3-8633-024465984332}" dt="2024-02-21T23:22:31.897" v="3337"/>
          <ac:picMkLst>
            <pc:docMk/>
            <pc:sldMk cId="696290259" sldId="3313"/>
            <ac:picMk id="8" creationId="{46FADE97-CD68-6D48-7058-3AFFA7EA2052}"/>
          </ac:picMkLst>
        </pc:picChg>
        <pc:picChg chg="add mod">
          <ac:chgData name="Aurelien Domont" userId="6da7715ce44349b3" providerId="LiveId" clId="{D6B2C6B8-087B-43B3-8633-024465984332}" dt="2024-02-21T23:22:31.897" v="3337"/>
          <ac:picMkLst>
            <pc:docMk/>
            <pc:sldMk cId="696290259" sldId="3313"/>
            <ac:picMk id="15" creationId="{9BFA3F09-6EAF-B20F-8ED0-87449D59231C}"/>
          </ac:picMkLst>
        </pc:picChg>
        <pc:picChg chg="add mod">
          <ac:chgData name="Aurelien Domont" userId="6da7715ce44349b3" providerId="LiveId" clId="{D6B2C6B8-087B-43B3-8633-024465984332}" dt="2024-02-21T23:22:31.897" v="3337"/>
          <ac:picMkLst>
            <pc:docMk/>
            <pc:sldMk cId="696290259" sldId="3313"/>
            <ac:picMk id="17" creationId="{538C6686-B5C6-EE56-14F5-C3B3491C5CA5}"/>
          </ac:picMkLst>
        </pc:picChg>
        <pc:picChg chg="add mod">
          <ac:chgData name="Aurelien Domont" userId="6da7715ce44349b3" providerId="LiveId" clId="{D6B2C6B8-087B-43B3-8633-024465984332}" dt="2024-02-21T23:22:31.897" v="3337"/>
          <ac:picMkLst>
            <pc:docMk/>
            <pc:sldMk cId="696290259" sldId="3313"/>
            <ac:picMk id="18" creationId="{429573B1-9BA1-6215-180C-1F1577E8A707}"/>
          </ac:picMkLst>
        </pc:picChg>
        <pc:picChg chg="add mod">
          <ac:chgData name="Aurelien Domont" userId="6da7715ce44349b3" providerId="LiveId" clId="{D6B2C6B8-087B-43B3-8633-024465984332}" dt="2024-02-21T23:22:31.897" v="3337"/>
          <ac:picMkLst>
            <pc:docMk/>
            <pc:sldMk cId="696290259" sldId="3313"/>
            <ac:picMk id="22" creationId="{4B9B9B4C-1F55-FEF5-EDD9-EA4820C4178D}"/>
          </ac:picMkLst>
        </pc:picChg>
        <pc:picChg chg="add mod">
          <ac:chgData name="Aurelien Domont" userId="6da7715ce44349b3" providerId="LiveId" clId="{D6B2C6B8-087B-43B3-8633-024465984332}" dt="2024-02-21T23:22:31.897" v="3337"/>
          <ac:picMkLst>
            <pc:docMk/>
            <pc:sldMk cId="696290259" sldId="3313"/>
            <ac:picMk id="23" creationId="{07E04AA4-EA2F-D26B-334F-E7EDEF12EDCA}"/>
          </ac:picMkLst>
        </pc:picChg>
        <pc:picChg chg="add mod">
          <ac:chgData name="Aurelien Domont" userId="6da7715ce44349b3" providerId="LiveId" clId="{D6B2C6B8-087B-43B3-8633-024465984332}" dt="2024-02-21T23:22:31.897" v="3337"/>
          <ac:picMkLst>
            <pc:docMk/>
            <pc:sldMk cId="696290259" sldId="3313"/>
            <ac:picMk id="24" creationId="{23CCA375-4A9D-87E2-2B50-5F2B863885D0}"/>
          </ac:picMkLst>
        </pc:picChg>
        <pc:cxnChg chg="add mod">
          <ac:chgData name="Aurelien Domont" userId="6da7715ce44349b3" providerId="LiveId" clId="{D6B2C6B8-087B-43B3-8633-024465984332}" dt="2024-02-21T23:22:31.897" v="3337"/>
          <ac:cxnSpMkLst>
            <pc:docMk/>
            <pc:sldMk cId="696290259" sldId="3313"/>
            <ac:cxnSpMk id="3" creationId="{450CDB0B-3416-0AFF-982C-A5B62B3AC143}"/>
          </ac:cxnSpMkLst>
        </pc:cxnChg>
        <pc:cxnChg chg="add mod">
          <ac:chgData name="Aurelien Domont" userId="6da7715ce44349b3" providerId="LiveId" clId="{D6B2C6B8-087B-43B3-8633-024465984332}" dt="2024-02-21T23:22:31.897" v="3337"/>
          <ac:cxnSpMkLst>
            <pc:docMk/>
            <pc:sldMk cId="696290259" sldId="3313"/>
            <ac:cxnSpMk id="4" creationId="{F315FB84-5079-84A5-7BF4-C92A64B93EEE}"/>
          </ac:cxnSpMkLst>
        </pc:cxnChg>
      </pc:sldChg>
      <pc:sldChg chg="addSp delSp modSp add mod">
        <pc:chgData name="Aurelien Domont" userId="6da7715ce44349b3" providerId="LiveId" clId="{D6B2C6B8-087B-43B3-8633-024465984332}" dt="2024-02-22T00:01:38.849" v="4961" actId="1035"/>
        <pc:sldMkLst>
          <pc:docMk/>
          <pc:sldMk cId="804346767" sldId="3314"/>
        </pc:sldMkLst>
        <pc:spChg chg="mod">
          <ac:chgData name="Aurelien Domont" userId="6da7715ce44349b3" providerId="LiveId" clId="{D6B2C6B8-087B-43B3-8633-024465984332}" dt="2024-02-21T23:40:12.681" v="4193" actId="948"/>
          <ac:spMkLst>
            <pc:docMk/>
            <pc:sldMk cId="804346767" sldId="3314"/>
            <ac:spMk id="2" creationId="{4AFCF18E-30BD-95D4-31FC-7EC2CC9BF365}"/>
          </ac:spMkLst>
        </pc:spChg>
        <pc:spChg chg="mod">
          <ac:chgData name="Aurelien Domont" userId="6da7715ce44349b3" providerId="LiveId" clId="{D6B2C6B8-087B-43B3-8633-024465984332}" dt="2024-02-22T00:01:38.849" v="4961" actId="1035"/>
          <ac:spMkLst>
            <pc:docMk/>
            <pc:sldMk cId="804346767" sldId="3314"/>
            <ac:spMk id="3" creationId="{0CEE0EA1-627A-0C6F-D75D-84B9B59394C8}"/>
          </ac:spMkLst>
        </pc:spChg>
        <pc:spChg chg="add del mod modVis">
          <ac:chgData name="Aurelien Domont" userId="6da7715ce44349b3" providerId="LiveId" clId="{D6B2C6B8-087B-43B3-8633-024465984332}" dt="2024-02-21T23:31:43.705" v="3524"/>
          <ac:spMkLst>
            <pc:docMk/>
            <pc:sldMk cId="804346767" sldId="3314"/>
            <ac:spMk id="4" creationId="{B25EB548-4716-EABC-DA8C-0572D1DC7237}"/>
          </ac:spMkLst>
        </pc:spChg>
        <pc:spChg chg="add del mod modVis">
          <ac:chgData name="Aurelien Domont" userId="6da7715ce44349b3" providerId="LiveId" clId="{D6B2C6B8-087B-43B3-8633-024465984332}" dt="2024-02-21T23:32:30.354" v="3580"/>
          <ac:spMkLst>
            <pc:docMk/>
            <pc:sldMk cId="804346767" sldId="3314"/>
            <ac:spMk id="5" creationId="{E01CBA59-4131-8E32-56B8-167852949354}"/>
          </ac:spMkLst>
        </pc:spChg>
        <pc:spChg chg="add del mod modVis">
          <ac:chgData name="Aurelien Domont" userId="6da7715ce44349b3" providerId="LiveId" clId="{D6B2C6B8-087B-43B3-8633-024465984332}" dt="2024-02-21T23:32:34.393" v="3617"/>
          <ac:spMkLst>
            <pc:docMk/>
            <pc:sldMk cId="804346767" sldId="3314"/>
            <ac:spMk id="7" creationId="{D2EF4942-32AE-C7F3-C34F-CB00C42C1AC6}"/>
          </ac:spMkLst>
        </pc:spChg>
        <pc:spChg chg="add del mod modVis">
          <ac:chgData name="Aurelien Domont" userId="6da7715ce44349b3" providerId="LiveId" clId="{D6B2C6B8-087B-43B3-8633-024465984332}" dt="2024-02-21T23:32:37.392" v="3659"/>
          <ac:spMkLst>
            <pc:docMk/>
            <pc:sldMk cId="804346767" sldId="3314"/>
            <ac:spMk id="8" creationId="{1D5046AE-BB30-3736-113E-559E07BD1855}"/>
          </ac:spMkLst>
        </pc:spChg>
        <pc:spChg chg="add del mod modVis">
          <ac:chgData name="Aurelien Domont" userId="6da7715ce44349b3" providerId="LiveId" clId="{D6B2C6B8-087B-43B3-8633-024465984332}" dt="2024-02-21T23:32:45.759" v="3695"/>
          <ac:spMkLst>
            <pc:docMk/>
            <pc:sldMk cId="804346767" sldId="3314"/>
            <ac:spMk id="9" creationId="{F73B99A5-0B8A-2CF4-7AB0-2DFD3D1E5C78}"/>
          </ac:spMkLst>
        </pc:spChg>
        <pc:spChg chg="mod">
          <ac:chgData name="Aurelien Domont" userId="6da7715ce44349b3" providerId="LiveId" clId="{D6B2C6B8-087B-43B3-8633-024465984332}" dt="2024-02-21T23:31:53.097" v="3528" actId="108"/>
          <ac:spMkLst>
            <pc:docMk/>
            <pc:sldMk cId="804346767" sldId="3314"/>
            <ac:spMk id="13" creationId="{30D1D867-8D03-5482-ED5B-3E47DA18D764}"/>
          </ac:spMkLst>
        </pc:spChg>
        <pc:spChg chg="mod">
          <ac:chgData name="Aurelien Domont" userId="6da7715ce44349b3" providerId="LiveId" clId="{D6B2C6B8-087B-43B3-8633-024465984332}" dt="2024-02-21T23:31:48.535" v="3527" actId="207"/>
          <ac:spMkLst>
            <pc:docMk/>
            <pc:sldMk cId="804346767" sldId="3314"/>
            <ac:spMk id="14" creationId="{525E1997-B8D6-E768-5F9E-64D7F228269D}"/>
          </ac:spMkLst>
        </pc:spChg>
        <pc:spChg chg="add del mod modVis">
          <ac:chgData name="Aurelien Domont" userId="6da7715ce44349b3" providerId="LiveId" clId="{D6B2C6B8-087B-43B3-8633-024465984332}" dt="2024-02-21T23:40:12.728" v="4225"/>
          <ac:spMkLst>
            <pc:docMk/>
            <pc:sldMk cId="804346767" sldId="3314"/>
            <ac:spMk id="23" creationId="{288A33CD-3F19-8EB0-4417-8A4971A26FA0}"/>
          </ac:spMkLst>
        </pc:spChg>
        <pc:spChg chg="mod">
          <ac:chgData name="Aurelien Domont" userId="6da7715ce44349b3" providerId="LiveId" clId="{D6B2C6B8-087B-43B3-8633-024465984332}" dt="2024-02-22T00:01:38.849" v="4961" actId="1035"/>
          <ac:spMkLst>
            <pc:docMk/>
            <pc:sldMk cId="804346767" sldId="3314"/>
            <ac:spMk id="76" creationId="{ABB99012-DEFF-0D25-3A11-2E44C1DA5F9C}"/>
          </ac:spMkLst>
        </pc:spChg>
        <pc:spChg chg="mod">
          <ac:chgData name="Aurelien Domont" userId="6da7715ce44349b3" providerId="LiveId" clId="{D6B2C6B8-087B-43B3-8633-024465984332}" dt="2024-02-22T00:01:38.849" v="4961" actId="1035"/>
          <ac:spMkLst>
            <pc:docMk/>
            <pc:sldMk cId="804346767" sldId="3314"/>
            <ac:spMk id="78" creationId="{A069C60D-4384-72E9-DC24-55D6E62FC625}"/>
          </ac:spMkLst>
        </pc:spChg>
        <pc:spChg chg="mod">
          <ac:chgData name="Aurelien Domont" userId="6da7715ce44349b3" providerId="LiveId" clId="{D6B2C6B8-087B-43B3-8633-024465984332}" dt="2024-02-22T00:01:38.849" v="4961" actId="1035"/>
          <ac:spMkLst>
            <pc:docMk/>
            <pc:sldMk cId="804346767" sldId="3314"/>
            <ac:spMk id="80" creationId="{774CC9DC-56A0-5090-9D2C-DAA972D2704B}"/>
          </ac:spMkLst>
        </pc:spChg>
        <pc:spChg chg="mod">
          <ac:chgData name="Aurelien Domont" userId="6da7715ce44349b3" providerId="LiveId" clId="{D6B2C6B8-087B-43B3-8633-024465984332}" dt="2024-02-22T00:01:38.849" v="4961" actId="1035"/>
          <ac:spMkLst>
            <pc:docMk/>
            <pc:sldMk cId="804346767" sldId="3314"/>
            <ac:spMk id="82" creationId="{0F863181-A5A4-D1CC-1DBD-AE238DCCE0AD}"/>
          </ac:spMkLst>
        </pc:spChg>
        <pc:spChg chg="mod">
          <ac:chgData name="Aurelien Domont" userId="6da7715ce44349b3" providerId="LiveId" clId="{D6B2C6B8-087B-43B3-8633-024465984332}" dt="2024-02-22T00:01:38.849" v="4961" actId="1035"/>
          <ac:spMkLst>
            <pc:docMk/>
            <pc:sldMk cId="804346767" sldId="3314"/>
            <ac:spMk id="83" creationId="{737FD126-547A-E61A-DFF5-7D0CDB80C7BD}"/>
          </ac:spMkLst>
        </pc:spChg>
        <pc:spChg chg="mod">
          <ac:chgData name="Aurelien Domont" userId="6da7715ce44349b3" providerId="LiveId" clId="{D6B2C6B8-087B-43B3-8633-024465984332}" dt="2024-02-22T00:01:38.849" v="4961" actId="1035"/>
          <ac:spMkLst>
            <pc:docMk/>
            <pc:sldMk cId="804346767" sldId="3314"/>
            <ac:spMk id="84" creationId="{C2615BAE-23CA-B09D-7A8F-49696C195C2B}"/>
          </ac:spMkLst>
        </pc:spChg>
        <pc:grpChg chg="mod">
          <ac:chgData name="Aurelien Domont" userId="6da7715ce44349b3" providerId="LiveId" clId="{D6B2C6B8-087B-43B3-8633-024465984332}" dt="2024-02-22T00:01:38.849" v="4961" actId="1035"/>
          <ac:grpSpMkLst>
            <pc:docMk/>
            <pc:sldMk cId="804346767" sldId="3314"/>
            <ac:grpSpMk id="75" creationId="{F947F318-A453-4008-E0C9-66FE109D06F2}"/>
          </ac:grpSpMkLst>
        </pc:grpChg>
        <pc:graphicFrameChg chg="mod">
          <ac:chgData name="Aurelien Domont" userId="6da7715ce44349b3" providerId="LiveId" clId="{D6B2C6B8-087B-43B3-8633-024465984332}" dt="2024-02-21T23:40:12.728" v="4227"/>
          <ac:graphicFrameMkLst>
            <pc:docMk/>
            <pc:sldMk cId="804346767" sldId="3314"/>
            <ac:graphicFrameMk id="6" creationId="{2BB2CDAA-F6EC-54BC-468C-4CD1BA404FEA}"/>
          </ac:graphicFrameMkLst>
        </pc:graphicFrameChg>
        <pc:picChg chg="add mod">
          <ac:chgData name="Aurelien Domont" userId="6da7715ce44349b3" providerId="LiveId" clId="{D6B2C6B8-087B-43B3-8633-024465984332}" dt="2024-02-21T23:37:57.851" v="3762" actId="1038"/>
          <ac:picMkLst>
            <pc:docMk/>
            <pc:sldMk cId="804346767" sldId="3314"/>
            <ac:picMk id="10" creationId="{87BB0995-2B17-203E-7344-EB7088DE5FB9}"/>
          </ac:picMkLst>
        </pc:picChg>
        <pc:picChg chg="add mod">
          <ac:chgData name="Aurelien Domont" userId="6da7715ce44349b3" providerId="LiveId" clId="{D6B2C6B8-087B-43B3-8633-024465984332}" dt="2024-02-21T23:37:57.851" v="3762" actId="1038"/>
          <ac:picMkLst>
            <pc:docMk/>
            <pc:sldMk cId="804346767" sldId="3314"/>
            <ac:picMk id="11" creationId="{67AB62C2-A02E-0F4F-A9DA-21F9B1B6702A}"/>
          </ac:picMkLst>
        </pc:picChg>
        <pc:picChg chg="add del mod">
          <ac:chgData name="Aurelien Domont" userId="6da7715ce44349b3" providerId="LiveId" clId="{D6B2C6B8-087B-43B3-8633-024465984332}" dt="2024-02-21T23:37:39.121" v="3760" actId="478"/>
          <ac:picMkLst>
            <pc:docMk/>
            <pc:sldMk cId="804346767" sldId="3314"/>
            <ac:picMk id="12" creationId="{7838F463-F729-E708-A15A-2D66315CF1A2}"/>
          </ac:picMkLst>
        </pc:picChg>
        <pc:picChg chg="add mod">
          <ac:chgData name="Aurelien Domont" userId="6da7715ce44349b3" providerId="LiveId" clId="{D6B2C6B8-087B-43B3-8633-024465984332}" dt="2024-02-21T23:37:21.413" v="3757" actId="1076"/>
          <ac:picMkLst>
            <pc:docMk/>
            <pc:sldMk cId="804346767" sldId="3314"/>
            <ac:picMk id="19" creationId="{E08CFC86-D259-377D-A65C-83BA052A065E}"/>
          </ac:picMkLst>
        </pc:picChg>
        <pc:picChg chg="add mod">
          <ac:chgData name="Aurelien Domont" userId="6da7715ce44349b3" providerId="LiveId" clId="{D6B2C6B8-087B-43B3-8633-024465984332}" dt="2024-02-21T23:37:17.210" v="3756" actId="408"/>
          <ac:picMkLst>
            <pc:docMk/>
            <pc:sldMk cId="804346767" sldId="3314"/>
            <ac:picMk id="20" creationId="{3C388A80-89BC-6FCC-8E01-55386FCA014A}"/>
          </ac:picMkLst>
        </pc:picChg>
        <pc:picChg chg="add mod">
          <ac:chgData name="Aurelien Domont" userId="6da7715ce44349b3" providerId="LiveId" clId="{D6B2C6B8-087B-43B3-8633-024465984332}" dt="2024-02-21T23:38:00.544" v="3763" actId="1037"/>
          <ac:picMkLst>
            <pc:docMk/>
            <pc:sldMk cId="804346767" sldId="3314"/>
            <ac:picMk id="21" creationId="{F2902A50-C12D-7300-CC0C-DF99FE696D5B}"/>
          </ac:picMkLst>
        </pc:picChg>
        <pc:picChg chg="add mod">
          <ac:chgData name="Aurelien Domont" userId="6da7715ce44349b3" providerId="LiveId" clId="{D6B2C6B8-087B-43B3-8633-024465984332}" dt="2024-02-21T23:38:00.544" v="3763" actId="1037"/>
          <ac:picMkLst>
            <pc:docMk/>
            <pc:sldMk cId="804346767" sldId="3314"/>
            <ac:picMk id="22" creationId="{922DDB17-3882-9BC5-6E06-A56B1641BA70}"/>
          </ac:picMkLst>
        </pc:picChg>
        <pc:picChg chg="del">
          <ac:chgData name="Aurelien Domont" userId="6da7715ce44349b3" providerId="LiveId" clId="{D6B2C6B8-087B-43B3-8633-024465984332}" dt="2024-02-21T23:32:55.195" v="3698" actId="478"/>
          <ac:picMkLst>
            <pc:docMk/>
            <pc:sldMk cId="804346767" sldId="3314"/>
            <ac:picMk id="25" creationId="{D7B21297-537E-FE24-3F4F-CA8D42176E75}"/>
          </ac:picMkLst>
        </pc:picChg>
        <pc:picChg chg="del">
          <ac:chgData name="Aurelien Domont" userId="6da7715ce44349b3" providerId="LiveId" clId="{D6B2C6B8-087B-43B3-8633-024465984332}" dt="2024-02-21T23:32:55.195" v="3698" actId="478"/>
          <ac:picMkLst>
            <pc:docMk/>
            <pc:sldMk cId="804346767" sldId="3314"/>
            <ac:picMk id="27" creationId="{7E1B4080-098B-770C-DABF-DBB8E766F75A}"/>
          </ac:picMkLst>
        </pc:picChg>
        <pc:picChg chg="del">
          <ac:chgData name="Aurelien Domont" userId="6da7715ce44349b3" providerId="LiveId" clId="{D6B2C6B8-087B-43B3-8633-024465984332}" dt="2024-02-21T23:35:53.976" v="3719" actId="478"/>
          <ac:picMkLst>
            <pc:docMk/>
            <pc:sldMk cId="804346767" sldId="3314"/>
            <ac:picMk id="29" creationId="{2578AA23-A5A8-97C3-776C-42BCAC1CC57F}"/>
          </ac:picMkLst>
        </pc:picChg>
      </pc:sldChg>
      <pc:sldChg chg="addSp delSp modSp add mod">
        <pc:chgData name="Aurelien Domont" userId="6da7715ce44349b3" providerId="LiveId" clId="{D6B2C6B8-087B-43B3-8633-024465984332}" dt="2024-02-22T00:01:34.008" v="4957" actId="1035"/>
        <pc:sldMkLst>
          <pc:docMk/>
          <pc:sldMk cId="1371543036" sldId="3315"/>
        </pc:sldMkLst>
        <pc:spChg chg="mod">
          <ac:chgData name="Aurelien Domont" userId="6da7715ce44349b3" providerId="LiveId" clId="{D6B2C6B8-087B-43B3-8633-024465984332}" dt="2024-02-21T23:45:38.166" v="4385" actId="948"/>
          <ac:spMkLst>
            <pc:docMk/>
            <pc:sldMk cId="1371543036" sldId="3315"/>
            <ac:spMk id="2" creationId="{14AF5A00-DB34-EF8E-82CD-9B9574C1D3D0}"/>
          </ac:spMkLst>
        </pc:spChg>
        <pc:spChg chg="mod">
          <ac:chgData name="Aurelien Domont" userId="6da7715ce44349b3" providerId="LiveId" clId="{D6B2C6B8-087B-43B3-8633-024465984332}" dt="2024-02-22T00:01:34.008" v="4957" actId="1035"/>
          <ac:spMkLst>
            <pc:docMk/>
            <pc:sldMk cId="1371543036" sldId="3315"/>
            <ac:spMk id="3" creationId="{F3AC1E54-5347-629D-50D4-FFE35B425244}"/>
          </ac:spMkLst>
        </pc:spChg>
        <pc:spChg chg="add del mod modVis">
          <ac:chgData name="Aurelien Domont" userId="6da7715ce44349b3" providerId="LiveId" clId="{D6B2C6B8-087B-43B3-8633-024465984332}" dt="2024-02-21T23:39:47.440" v="3816"/>
          <ac:spMkLst>
            <pc:docMk/>
            <pc:sldMk cId="1371543036" sldId="3315"/>
            <ac:spMk id="4" creationId="{9EB0621C-6643-76D2-395D-D752075C1293}"/>
          </ac:spMkLst>
        </pc:spChg>
        <pc:spChg chg="add del mod modVis">
          <ac:chgData name="Aurelien Domont" userId="6da7715ce44349b3" providerId="LiveId" clId="{D6B2C6B8-087B-43B3-8633-024465984332}" dt="2024-02-21T23:39:51.093" v="3852"/>
          <ac:spMkLst>
            <pc:docMk/>
            <pc:sldMk cId="1371543036" sldId="3315"/>
            <ac:spMk id="5" creationId="{697D5D84-E253-21E1-9536-D2EB6F726711}"/>
          </ac:spMkLst>
        </pc:spChg>
        <pc:spChg chg="add del mod modVis">
          <ac:chgData name="Aurelien Domont" userId="6da7715ce44349b3" providerId="LiveId" clId="{D6B2C6B8-087B-43B3-8633-024465984332}" dt="2024-02-21T23:39:53.923" v="3892"/>
          <ac:spMkLst>
            <pc:docMk/>
            <pc:sldMk cId="1371543036" sldId="3315"/>
            <ac:spMk id="7" creationId="{A6FAB5B2-A724-BE75-4840-0926D323C816}"/>
          </ac:spMkLst>
        </pc:spChg>
        <pc:spChg chg="add del mod modVis">
          <ac:chgData name="Aurelien Domont" userId="6da7715ce44349b3" providerId="LiveId" clId="{D6B2C6B8-087B-43B3-8633-024465984332}" dt="2024-02-21T23:39:55.514" v="3928"/>
          <ac:spMkLst>
            <pc:docMk/>
            <pc:sldMk cId="1371543036" sldId="3315"/>
            <ac:spMk id="8" creationId="{D4FD78FB-645B-EE3B-C7CC-532FEEE60EB7}"/>
          </ac:spMkLst>
        </pc:spChg>
        <pc:spChg chg="add del mod modVis">
          <ac:chgData name="Aurelien Domont" userId="6da7715ce44349b3" providerId="LiveId" clId="{D6B2C6B8-087B-43B3-8633-024465984332}" dt="2024-02-21T23:39:57.296" v="3964"/>
          <ac:spMkLst>
            <pc:docMk/>
            <pc:sldMk cId="1371543036" sldId="3315"/>
            <ac:spMk id="9" creationId="{942213F6-C76E-10C7-EB1D-84C8DBE195AC}"/>
          </ac:spMkLst>
        </pc:spChg>
        <pc:spChg chg="add del mod modVis">
          <ac:chgData name="Aurelien Domont" userId="6da7715ce44349b3" providerId="LiveId" clId="{D6B2C6B8-087B-43B3-8633-024465984332}" dt="2024-02-21T23:39:59.982" v="4001"/>
          <ac:spMkLst>
            <pc:docMk/>
            <pc:sldMk cId="1371543036" sldId="3315"/>
            <ac:spMk id="12" creationId="{3EABD532-FB3D-6D32-5D1A-B11948C95413}"/>
          </ac:spMkLst>
        </pc:spChg>
        <pc:spChg chg="mod">
          <ac:chgData name="Aurelien Domont" userId="6da7715ce44349b3" providerId="LiveId" clId="{D6B2C6B8-087B-43B3-8633-024465984332}" dt="2024-02-21T23:41:02.759" v="4332" actId="108"/>
          <ac:spMkLst>
            <pc:docMk/>
            <pc:sldMk cId="1371543036" sldId="3315"/>
            <ac:spMk id="14" creationId="{C577753B-022B-3CBE-70C1-7AACCC83AFAE}"/>
          </ac:spMkLst>
        </pc:spChg>
        <pc:spChg chg="mod">
          <ac:chgData name="Aurelien Domont" userId="6da7715ce44349b3" providerId="LiveId" clId="{D6B2C6B8-087B-43B3-8633-024465984332}" dt="2024-02-21T23:45:46.918" v="4418" actId="108"/>
          <ac:spMkLst>
            <pc:docMk/>
            <pc:sldMk cId="1371543036" sldId="3315"/>
            <ac:spMk id="15" creationId="{23F59EB8-0AD8-1096-BA9D-58666FD618B4}"/>
          </ac:spMkLst>
        </pc:spChg>
        <pc:spChg chg="mod">
          <ac:chgData name="Aurelien Domont" userId="6da7715ce44349b3" providerId="LiveId" clId="{D6B2C6B8-087B-43B3-8633-024465984332}" dt="2024-02-21T23:41:06.973" v="4333" actId="207"/>
          <ac:spMkLst>
            <pc:docMk/>
            <pc:sldMk cId="1371543036" sldId="3315"/>
            <ac:spMk id="18" creationId="{4AFC38AC-426D-A09E-0892-8CACB2756F5F}"/>
          </ac:spMkLst>
        </pc:spChg>
        <pc:spChg chg="add del mod modVis">
          <ac:chgData name="Aurelien Domont" userId="6da7715ce44349b3" providerId="LiveId" clId="{D6B2C6B8-087B-43B3-8633-024465984332}" dt="2024-02-21T23:40:01.302" v="4038"/>
          <ac:spMkLst>
            <pc:docMk/>
            <pc:sldMk cId="1371543036" sldId="3315"/>
            <ac:spMk id="23" creationId="{06DA6D92-DD7E-788F-24B8-306D41A37C6B}"/>
          </ac:spMkLst>
        </pc:spChg>
        <pc:spChg chg="add del mod modVis">
          <ac:chgData name="Aurelien Domont" userId="6da7715ce44349b3" providerId="LiveId" clId="{D6B2C6B8-087B-43B3-8633-024465984332}" dt="2024-02-21T23:40:02.870" v="4077"/>
          <ac:spMkLst>
            <pc:docMk/>
            <pc:sldMk cId="1371543036" sldId="3315"/>
            <ac:spMk id="25" creationId="{D737B37D-5B1E-F6FD-8E26-6EF4EDD88562}"/>
          </ac:spMkLst>
        </pc:spChg>
        <pc:spChg chg="add del mod modVis">
          <ac:chgData name="Aurelien Domont" userId="6da7715ce44349b3" providerId="LiveId" clId="{D6B2C6B8-087B-43B3-8633-024465984332}" dt="2024-02-21T23:40:03.958" v="4114"/>
          <ac:spMkLst>
            <pc:docMk/>
            <pc:sldMk cId="1371543036" sldId="3315"/>
            <ac:spMk id="26" creationId="{47A1D918-0D45-71A3-A068-E09ABC8EEDB3}"/>
          </ac:spMkLst>
        </pc:spChg>
        <pc:spChg chg="add del mod modVis">
          <ac:chgData name="Aurelien Domont" userId="6da7715ce44349b3" providerId="LiveId" clId="{D6B2C6B8-087B-43B3-8633-024465984332}" dt="2024-02-21T23:40:04.902" v="4151"/>
          <ac:spMkLst>
            <pc:docMk/>
            <pc:sldMk cId="1371543036" sldId="3315"/>
            <ac:spMk id="27" creationId="{EC5D75F6-F84A-5B00-D99E-D04CDBFBB0B3}"/>
          </ac:spMkLst>
        </pc:spChg>
        <pc:spChg chg="add del mod modVis">
          <ac:chgData name="Aurelien Domont" userId="6da7715ce44349b3" providerId="LiveId" clId="{D6B2C6B8-087B-43B3-8633-024465984332}" dt="2024-02-21T23:40:08.317" v="4188"/>
          <ac:spMkLst>
            <pc:docMk/>
            <pc:sldMk cId="1371543036" sldId="3315"/>
            <ac:spMk id="29" creationId="{1F9C5064-F6FE-734E-710F-A1C94D103493}"/>
          </ac:spMkLst>
        </pc:spChg>
        <pc:spChg chg="add del mod modVis">
          <ac:chgData name="Aurelien Domont" userId="6da7715ce44349b3" providerId="LiveId" clId="{D6B2C6B8-087B-43B3-8633-024465984332}" dt="2024-02-21T23:40:36.244" v="4295"/>
          <ac:spMkLst>
            <pc:docMk/>
            <pc:sldMk cId="1371543036" sldId="3315"/>
            <ac:spMk id="30" creationId="{5BA165ED-55A7-294B-B1E6-4F0BA821BD6C}"/>
          </ac:spMkLst>
        </pc:spChg>
        <pc:spChg chg="add del mod modVis">
          <ac:chgData name="Aurelien Domont" userId="6da7715ce44349b3" providerId="LiveId" clId="{D6B2C6B8-087B-43B3-8633-024465984332}" dt="2024-02-21T23:40:39.913" v="4329"/>
          <ac:spMkLst>
            <pc:docMk/>
            <pc:sldMk cId="1371543036" sldId="3315"/>
            <ac:spMk id="31" creationId="{94147272-8045-2783-484F-F19F7FA9F43B}"/>
          </ac:spMkLst>
        </pc:spChg>
        <pc:spChg chg="add del mod modVis">
          <ac:chgData name="Aurelien Domont" userId="6da7715ce44349b3" providerId="LiveId" clId="{D6B2C6B8-087B-43B3-8633-024465984332}" dt="2024-02-21T23:45:38.198" v="4413"/>
          <ac:spMkLst>
            <pc:docMk/>
            <pc:sldMk cId="1371543036" sldId="3315"/>
            <ac:spMk id="40" creationId="{C1E2F213-4033-010B-24F6-52F2B6DD9751}"/>
          </ac:spMkLst>
        </pc:spChg>
        <pc:spChg chg="mod">
          <ac:chgData name="Aurelien Domont" userId="6da7715ce44349b3" providerId="LiveId" clId="{D6B2C6B8-087B-43B3-8633-024465984332}" dt="2024-02-22T00:01:34.008" v="4957" actId="1035"/>
          <ac:spMkLst>
            <pc:docMk/>
            <pc:sldMk cId="1371543036" sldId="3315"/>
            <ac:spMk id="76" creationId="{E926EE00-E260-5217-5403-E28A1A80321B}"/>
          </ac:spMkLst>
        </pc:spChg>
        <pc:spChg chg="mod">
          <ac:chgData name="Aurelien Domont" userId="6da7715ce44349b3" providerId="LiveId" clId="{D6B2C6B8-087B-43B3-8633-024465984332}" dt="2024-02-22T00:01:34.008" v="4957" actId="1035"/>
          <ac:spMkLst>
            <pc:docMk/>
            <pc:sldMk cId="1371543036" sldId="3315"/>
            <ac:spMk id="78" creationId="{13076492-9CA3-AC87-D7B0-9E498A80CE42}"/>
          </ac:spMkLst>
        </pc:spChg>
        <pc:spChg chg="mod">
          <ac:chgData name="Aurelien Domont" userId="6da7715ce44349b3" providerId="LiveId" clId="{D6B2C6B8-087B-43B3-8633-024465984332}" dt="2024-02-22T00:01:34.008" v="4957" actId="1035"/>
          <ac:spMkLst>
            <pc:docMk/>
            <pc:sldMk cId="1371543036" sldId="3315"/>
            <ac:spMk id="80" creationId="{EA82571E-98BD-EE5B-547C-89F982FD660E}"/>
          </ac:spMkLst>
        </pc:spChg>
        <pc:spChg chg="mod">
          <ac:chgData name="Aurelien Domont" userId="6da7715ce44349b3" providerId="LiveId" clId="{D6B2C6B8-087B-43B3-8633-024465984332}" dt="2024-02-22T00:01:34.008" v="4957" actId="1035"/>
          <ac:spMkLst>
            <pc:docMk/>
            <pc:sldMk cId="1371543036" sldId="3315"/>
            <ac:spMk id="82" creationId="{9CD16532-9395-19A2-E3E0-E2A1BEA47C3D}"/>
          </ac:spMkLst>
        </pc:spChg>
        <pc:spChg chg="mod">
          <ac:chgData name="Aurelien Domont" userId="6da7715ce44349b3" providerId="LiveId" clId="{D6B2C6B8-087B-43B3-8633-024465984332}" dt="2024-02-22T00:01:34.008" v="4957" actId="1035"/>
          <ac:spMkLst>
            <pc:docMk/>
            <pc:sldMk cId="1371543036" sldId="3315"/>
            <ac:spMk id="83" creationId="{A1C164E4-AFDC-EB1A-9BE8-7F725C59BE06}"/>
          </ac:spMkLst>
        </pc:spChg>
        <pc:spChg chg="mod">
          <ac:chgData name="Aurelien Domont" userId="6da7715ce44349b3" providerId="LiveId" clId="{D6B2C6B8-087B-43B3-8633-024465984332}" dt="2024-02-22T00:01:34.008" v="4957" actId="1035"/>
          <ac:spMkLst>
            <pc:docMk/>
            <pc:sldMk cId="1371543036" sldId="3315"/>
            <ac:spMk id="84" creationId="{7FF2FD18-EC49-FDD3-2E3D-96FF5F934263}"/>
          </ac:spMkLst>
        </pc:spChg>
        <pc:grpChg chg="mod">
          <ac:chgData name="Aurelien Domont" userId="6da7715ce44349b3" providerId="LiveId" clId="{D6B2C6B8-087B-43B3-8633-024465984332}" dt="2024-02-22T00:01:34.008" v="4957" actId="1035"/>
          <ac:grpSpMkLst>
            <pc:docMk/>
            <pc:sldMk cId="1371543036" sldId="3315"/>
            <ac:grpSpMk id="75" creationId="{03FC3654-4D00-2F74-DD86-73DCFAD5E012}"/>
          </ac:grpSpMkLst>
        </pc:grpChg>
        <pc:graphicFrameChg chg="mod">
          <ac:chgData name="Aurelien Domont" userId="6da7715ce44349b3" providerId="LiveId" clId="{D6B2C6B8-087B-43B3-8633-024465984332}" dt="2024-02-21T23:45:38.213" v="4415"/>
          <ac:graphicFrameMkLst>
            <pc:docMk/>
            <pc:sldMk cId="1371543036" sldId="3315"/>
            <ac:graphicFrameMk id="6" creationId="{F45C3991-B7FF-6B87-3E2F-B8F73A5E79ED}"/>
          </ac:graphicFrameMkLst>
        </pc:graphicFrameChg>
        <pc:picChg chg="del">
          <ac:chgData name="Aurelien Domont" userId="6da7715ce44349b3" providerId="LiveId" clId="{D6B2C6B8-087B-43B3-8633-024465984332}" dt="2024-02-21T23:41:25.345" v="4362" actId="478"/>
          <ac:picMkLst>
            <pc:docMk/>
            <pc:sldMk cId="1371543036" sldId="3315"/>
            <ac:picMk id="10" creationId="{D2A2CDB1-A31E-440B-19B4-66F4DCF3D196}"/>
          </ac:picMkLst>
        </pc:picChg>
        <pc:picChg chg="del">
          <ac:chgData name="Aurelien Domont" userId="6da7715ce44349b3" providerId="LiveId" clId="{D6B2C6B8-087B-43B3-8633-024465984332}" dt="2024-02-21T23:41:25.345" v="4362" actId="478"/>
          <ac:picMkLst>
            <pc:docMk/>
            <pc:sldMk cId="1371543036" sldId="3315"/>
            <ac:picMk id="11" creationId="{E35A9422-180F-0EA8-9A0C-8C296ED505E7}"/>
          </ac:picMkLst>
        </pc:picChg>
        <pc:picChg chg="del">
          <ac:chgData name="Aurelien Domont" userId="6da7715ce44349b3" providerId="LiveId" clId="{D6B2C6B8-087B-43B3-8633-024465984332}" dt="2024-02-21T23:41:25.345" v="4362" actId="478"/>
          <ac:picMkLst>
            <pc:docMk/>
            <pc:sldMk cId="1371543036" sldId="3315"/>
            <ac:picMk id="19" creationId="{2C31C6E4-D143-A393-8F7F-5CA87F0724C7}"/>
          </ac:picMkLst>
        </pc:picChg>
        <pc:picChg chg="del">
          <ac:chgData name="Aurelien Domont" userId="6da7715ce44349b3" providerId="LiveId" clId="{D6B2C6B8-087B-43B3-8633-024465984332}" dt="2024-02-21T23:41:25.345" v="4362" actId="478"/>
          <ac:picMkLst>
            <pc:docMk/>
            <pc:sldMk cId="1371543036" sldId="3315"/>
            <ac:picMk id="20" creationId="{966ABBC7-1441-5C8F-E361-AD9FC151D12B}"/>
          </ac:picMkLst>
        </pc:picChg>
        <pc:picChg chg="del">
          <ac:chgData name="Aurelien Domont" userId="6da7715ce44349b3" providerId="LiveId" clId="{D6B2C6B8-087B-43B3-8633-024465984332}" dt="2024-02-21T23:41:25.345" v="4362" actId="478"/>
          <ac:picMkLst>
            <pc:docMk/>
            <pc:sldMk cId="1371543036" sldId="3315"/>
            <ac:picMk id="21" creationId="{32A18AF8-DFD7-1E22-426E-83CA7FB9DDB0}"/>
          </ac:picMkLst>
        </pc:picChg>
        <pc:picChg chg="del">
          <ac:chgData name="Aurelien Domont" userId="6da7715ce44349b3" providerId="LiveId" clId="{D6B2C6B8-087B-43B3-8633-024465984332}" dt="2024-02-21T23:41:25.345" v="4362" actId="478"/>
          <ac:picMkLst>
            <pc:docMk/>
            <pc:sldMk cId="1371543036" sldId="3315"/>
            <ac:picMk id="22" creationId="{662E9D0C-D35F-A53D-CDCF-4E3E6B5B02C9}"/>
          </ac:picMkLst>
        </pc:picChg>
        <pc:picChg chg="add del mod">
          <ac:chgData name="Aurelien Domont" userId="6da7715ce44349b3" providerId="LiveId" clId="{D6B2C6B8-087B-43B3-8633-024465984332}" dt="2024-02-21T23:42:23.030" v="4369" actId="478"/>
          <ac:picMkLst>
            <pc:docMk/>
            <pc:sldMk cId="1371543036" sldId="3315"/>
            <ac:picMk id="32" creationId="{38F9168E-0B4C-F944-1A46-DEC4A940A1E1}"/>
          </ac:picMkLst>
        </pc:picChg>
        <pc:picChg chg="add del mod">
          <ac:chgData name="Aurelien Domont" userId="6da7715ce44349b3" providerId="LiveId" clId="{D6B2C6B8-087B-43B3-8633-024465984332}" dt="2024-02-21T23:42:23.643" v="4370" actId="478"/>
          <ac:picMkLst>
            <pc:docMk/>
            <pc:sldMk cId="1371543036" sldId="3315"/>
            <ac:picMk id="33" creationId="{960E4F87-D88C-0C64-8E50-5948D81C4B77}"/>
          </ac:picMkLst>
        </pc:picChg>
        <pc:picChg chg="add del mod">
          <ac:chgData name="Aurelien Domont" userId="6da7715ce44349b3" providerId="LiveId" clId="{D6B2C6B8-087B-43B3-8633-024465984332}" dt="2024-02-21T23:42:22.534" v="4368" actId="478"/>
          <ac:picMkLst>
            <pc:docMk/>
            <pc:sldMk cId="1371543036" sldId="3315"/>
            <ac:picMk id="34" creationId="{301CC61B-2ECC-7EC5-5326-34F1B2C8EE20}"/>
          </ac:picMkLst>
        </pc:picChg>
        <pc:picChg chg="add del mod">
          <ac:chgData name="Aurelien Domont" userId="6da7715ce44349b3" providerId="LiveId" clId="{D6B2C6B8-087B-43B3-8633-024465984332}" dt="2024-02-21T23:43:17.217" v="4372" actId="478"/>
          <ac:picMkLst>
            <pc:docMk/>
            <pc:sldMk cId="1371543036" sldId="3315"/>
            <ac:picMk id="35" creationId="{C0D28983-4067-4B65-CB68-8F1702763A75}"/>
          </ac:picMkLst>
        </pc:picChg>
        <pc:picChg chg="add mod">
          <ac:chgData name="Aurelien Domont" userId="6da7715ce44349b3" providerId="LiveId" clId="{D6B2C6B8-087B-43B3-8633-024465984332}" dt="2024-02-21T23:49:39.867" v="4432" actId="1076"/>
          <ac:picMkLst>
            <pc:docMk/>
            <pc:sldMk cId="1371543036" sldId="3315"/>
            <ac:picMk id="37" creationId="{0E925093-D1FA-2AC7-5C6A-C9FDAB509E51}"/>
          </ac:picMkLst>
        </pc:picChg>
        <pc:picChg chg="add del mod">
          <ac:chgData name="Aurelien Domont" userId="6da7715ce44349b3" providerId="LiveId" clId="{D6B2C6B8-087B-43B3-8633-024465984332}" dt="2024-02-21T23:45:56.316" v="4420" actId="478"/>
          <ac:picMkLst>
            <pc:docMk/>
            <pc:sldMk cId="1371543036" sldId="3315"/>
            <ac:picMk id="39" creationId="{761E846F-D6BE-AF6D-27F3-77FEFEC73363}"/>
          </ac:picMkLst>
        </pc:picChg>
        <pc:picChg chg="add mod">
          <ac:chgData name="Aurelien Domont" userId="6da7715ce44349b3" providerId="LiveId" clId="{D6B2C6B8-087B-43B3-8633-024465984332}" dt="2024-02-21T23:49:48.699" v="4435" actId="1076"/>
          <ac:picMkLst>
            <pc:docMk/>
            <pc:sldMk cId="1371543036" sldId="3315"/>
            <ac:picMk id="42" creationId="{AC9882FB-B1FA-3A70-D620-10B1A6D929B0}"/>
          </ac:picMkLst>
        </pc:picChg>
      </pc:sldChg>
      <pc:sldChg chg="addSp delSp modSp add mod">
        <pc:chgData name="Aurelien Domont" userId="6da7715ce44349b3" providerId="LiveId" clId="{D6B2C6B8-087B-43B3-8633-024465984332}" dt="2024-02-22T00:01:28.922" v="4953" actId="1035"/>
        <pc:sldMkLst>
          <pc:docMk/>
          <pc:sldMk cId="441079416" sldId="3316"/>
        </pc:sldMkLst>
        <pc:spChg chg="mod">
          <ac:chgData name="Aurelien Domont" userId="6da7715ce44349b3" providerId="LiveId" clId="{D6B2C6B8-087B-43B3-8633-024465984332}" dt="2024-02-21T23:51:23.471" v="4485" actId="948"/>
          <ac:spMkLst>
            <pc:docMk/>
            <pc:sldMk cId="441079416" sldId="3316"/>
            <ac:spMk id="2" creationId="{B767A495-449D-74CE-C6A5-1D89867B310D}"/>
          </ac:spMkLst>
        </pc:spChg>
        <pc:spChg chg="mod">
          <ac:chgData name="Aurelien Domont" userId="6da7715ce44349b3" providerId="LiveId" clId="{D6B2C6B8-087B-43B3-8633-024465984332}" dt="2024-02-22T00:01:28.922" v="4953" actId="1035"/>
          <ac:spMkLst>
            <pc:docMk/>
            <pc:sldMk cId="441079416" sldId="3316"/>
            <ac:spMk id="3" creationId="{A2496C32-9169-9547-EFBC-EB7FFDC1059E}"/>
          </ac:spMkLst>
        </pc:spChg>
        <pc:spChg chg="add del mod modVis">
          <ac:chgData name="Aurelien Domont" userId="6da7715ce44349b3" providerId="LiveId" clId="{D6B2C6B8-087B-43B3-8633-024465984332}" dt="2024-02-21T23:50:58.158" v="4479"/>
          <ac:spMkLst>
            <pc:docMk/>
            <pc:sldMk cId="441079416" sldId="3316"/>
            <ac:spMk id="4" creationId="{67394579-8D90-A98C-DBDE-1319A8D8593C}"/>
          </ac:spMkLst>
        </pc:spChg>
        <pc:spChg chg="add del mod modVis">
          <ac:chgData name="Aurelien Domont" userId="6da7715ce44349b3" providerId="LiveId" clId="{D6B2C6B8-087B-43B3-8633-024465984332}" dt="2024-02-21T23:51:23.518" v="4513"/>
          <ac:spMkLst>
            <pc:docMk/>
            <pc:sldMk cId="441079416" sldId="3316"/>
            <ac:spMk id="5" creationId="{65ADFC42-DE0D-8990-87EE-4842460CAA76}"/>
          </ac:spMkLst>
        </pc:spChg>
        <pc:spChg chg="mod">
          <ac:chgData name="Aurelien Domont" userId="6da7715ce44349b3" providerId="LiveId" clId="{D6B2C6B8-087B-43B3-8633-024465984332}" dt="2024-02-21T23:50:26.622" v="4438" actId="108"/>
          <ac:spMkLst>
            <pc:docMk/>
            <pc:sldMk cId="441079416" sldId="3316"/>
            <ac:spMk id="18" creationId="{3DCD4DBB-B2AF-EB00-231F-0F92A644202F}"/>
          </ac:spMkLst>
        </pc:spChg>
        <pc:spChg chg="mod">
          <ac:chgData name="Aurelien Domont" userId="6da7715ce44349b3" providerId="LiveId" clId="{D6B2C6B8-087B-43B3-8633-024465984332}" dt="2024-02-22T00:01:28.922" v="4953" actId="1035"/>
          <ac:spMkLst>
            <pc:docMk/>
            <pc:sldMk cId="441079416" sldId="3316"/>
            <ac:spMk id="76" creationId="{EEBCDFC0-9851-481D-0F88-0AE6BFD69D66}"/>
          </ac:spMkLst>
        </pc:spChg>
        <pc:spChg chg="mod">
          <ac:chgData name="Aurelien Domont" userId="6da7715ce44349b3" providerId="LiveId" clId="{D6B2C6B8-087B-43B3-8633-024465984332}" dt="2024-02-22T00:01:28.922" v="4953" actId="1035"/>
          <ac:spMkLst>
            <pc:docMk/>
            <pc:sldMk cId="441079416" sldId="3316"/>
            <ac:spMk id="78" creationId="{4E05353E-4B56-AC54-F9E4-BB2A70282B70}"/>
          </ac:spMkLst>
        </pc:spChg>
        <pc:spChg chg="mod">
          <ac:chgData name="Aurelien Domont" userId="6da7715ce44349b3" providerId="LiveId" clId="{D6B2C6B8-087B-43B3-8633-024465984332}" dt="2024-02-22T00:01:28.922" v="4953" actId="1035"/>
          <ac:spMkLst>
            <pc:docMk/>
            <pc:sldMk cId="441079416" sldId="3316"/>
            <ac:spMk id="80" creationId="{9D8C17A1-66E6-CADA-BF83-ADD45638AD42}"/>
          </ac:spMkLst>
        </pc:spChg>
        <pc:spChg chg="mod">
          <ac:chgData name="Aurelien Domont" userId="6da7715ce44349b3" providerId="LiveId" clId="{D6B2C6B8-087B-43B3-8633-024465984332}" dt="2024-02-22T00:01:28.922" v="4953" actId="1035"/>
          <ac:spMkLst>
            <pc:docMk/>
            <pc:sldMk cId="441079416" sldId="3316"/>
            <ac:spMk id="82" creationId="{DFCE449C-92EB-9A0C-D15A-44092DD35F0C}"/>
          </ac:spMkLst>
        </pc:spChg>
        <pc:spChg chg="mod">
          <ac:chgData name="Aurelien Domont" userId="6da7715ce44349b3" providerId="LiveId" clId="{D6B2C6B8-087B-43B3-8633-024465984332}" dt="2024-02-22T00:01:28.922" v="4953" actId="1035"/>
          <ac:spMkLst>
            <pc:docMk/>
            <pc:sldMk cId="441079416" sldId="3316"/>
            <ac:spMk id="83" creationId="{F82BCBFF-2525-FE01-582B-EADCF8558551}"/>
          </ac:spMkLst>
        </pc:spChg>
        <pc:spChg chg="mod">
          <ac:chgData name="Aurelien Domont" userId="6da7715ce44349b3" providerId="LiveId" clId="{D6B2C6B8-087B-43B3-8633-024465984332}" dt="2024-02-22T00:01:28.922" v="4953" actId="1035"/>
          <ac:spMkLst>
            <pc:docMk/>
            <pc:sldMk cId="441079416" sldId="3316"/>
            <ac:spMk id="84" creationId="{7D23B487-612F-9662-3B7C-FDB10DBCF141}"/>
          </ac:spMkLst>
        </pc:spChg>
        <pc:grpChg chg="mod">
          <ac:chgData name="Aurelien Domont" userId="6da7715ce44349b3" providerId="LiveId" clId="{D6B2C6B8-087B-43B3-8633-024465984332}" dt="2024-02-22T00:01:28.922" v="4953" actId="1035"/>
          <ac:grpSpMkLst>
            <pc:docMk/>
            <pc:sldMk cId="441079416" sldId="3316"/>
            <ac:grpSpMk id="75" creationId="{6A146AF9-233A-1E7A-FA09-31A322DF5885}"/>
          </ac:grpSpMkLst>
        </pc:grpChg>
        <pc:graphicFrameChg chg="mod">
          <ac:chgData name="Aurelien Domont" userId="6da7715ce44349b3" providerId="LiveId" clId="{D6B2C6B8-087B-43B3-8633-024465984332}" dt="2024-02-21T23:51:23.518" v="4515"/>
          <ac:graphicFrameMkLst>
            <pc:docMk/>
            <pc:sldMk cId="441079416" sldId="3316"/>
            <ac:graphicFrameMk id="6" creationId="{E48FD7E6-B4EA-F193-4D55-92085155890E}"/>
          </ac:graphicFrameMkLst>
        </pc:graphicFrameChg>
        <pc:picChg chg="add mod">
          <ac:chgData name="Aurelien Domont" userId="6da7715ce44349b3" providerId="LiveId" clId="{D6B2C6B8-087B-43B3-8633-024465984332}" dt="2024-02-21T23:57:40.382" v="4688" actId="1038"/>
          <ac:picMkLst>
            <pc:docMk/>
            <pc:sldMk cId="441079416" sldId="3316"/>
            <ac:picMk id="8" creationId="{B31B7CDD-FDF0-3863-2280-58802DE7D866}"/>
          </ac:picMkLst>
        </pc:picChg>
        <pc:picChg chg="add mod">
          <ac:chgData name="Aurelien Domont" userId="6da7715ce44349b3" providerId="LiveId" clId="{D6B2C6B8-087B-43B3-8633-024465984332}" dt="2024-02-21T23:57:44.810" v="4701" actId="1038"/>
          <ac:picMkLst>
            <pc:docMk/>
            <pc:sldMk cId="441079416" sldId="3316"/>
            <ac:picMk id="10" creationId="{ECB1E1F9-2872-58A1-4F7B-04C8FDA16B3A}"/>
          </ac:picMkLst>
        </pc:picChg>
        <pc:picChg chg="add mod">
          <ac:chgData name="Aurelien Domont" userId="6da7715ce44349b3" providerId="LiveId" clId="{D6B2C6B8-087B-43B3-8633-024465984332}" dt="2024-02-21T23:53:10.690" v="4532" actId="571"/>
          <ac:picMkLst>
            <pc:docMk/>
            <pc:sldMk cId="441079416" sldId="3316"/>
            <ac:picMk id="11" creationId="{1710D74F-4F0C-62BE-706A-0BEC9F113251}"/>
          </ac:picMkLst>
        </pc:picChg>
        <pc:picChg chg="add mod">
          <ac:chgData name="Aurelien Domont" userId="6da7715ce44349b3" providerId="LiveId" clId="{D6B2C6B8-087B-43B3-8633-024465984332}" dt="2024-02-21T23:57:44.810" v="4701" actId="1038"/>
          <ac:picMkLst>
            <pc:docMk/>
            <pc:sldMk cId="441079416" sldId="3316"/>
            <ac:picMk id="12" creationId="{DD7D4B99-5CD3-6FC0-BCFC-1FA774BC23EC}"/>
          </ac:picMkLst>
        </pc:picChg>
        <pc:picChg chg="del">
          <ac:chgData name="Aurelien Domont" userId="6da7715ce44349b3" providerId="LiveId" clId="{D6B2C6B8-087B-43B3-8633-024465984332}" dt="2024-02-21T23:50:15.163" v="4437" actId="478"/>
          <ac:picMkLst>
            <pc:docMk/>
            <pc:sldMk cId="441079416" sldId="3316"/>
            <ac:picMk id="37" creationId="{2A0CE578-B663-E6F4-9012-5983DBDF5665}"/>
          </ac:picMkLst>
        </pc:picChg>
        <pc:picChg chg="del mod">
          <ac:chgData name="Aurelien Domont" userId="6da7715ce44349b3" providerId="LiveId" clId="{D6B2C6B8-087B-43B3-8633-024465984332}" dt="2024-02-21T23:52:33.247" v="4526" actId="478"/>
          <ac:picMkLst>
            <pc:docMk/>
            <pc:sldMk cId="441079416" sldId="3316"/>
            <ac:picMk id="39" creationId="{D8C01D31-2899-5310-CF6A-9959CFAAE44F}"/>
          </ac:picMkLst>
        </pc:picChg>
      </pc:sldChg>
      <pc:sldChg chg="addSp delSp modSp add mod">
        <pc:chgData name="Aurelien Domont" userId="6da7715ce44349b3" providerId="LiveId" clId="{D6B2C6B8-087B-43B3-8633-024465984332}" dt="2024-02-22T00:03:03.791" v="4973" actId="108"/>
        <pc:sldMkLst>
          <pc:docMk/>
          <pc:sldMk cId="2570003898" sldId="3317"/>
        </pc:sldMkLst>
        <pc:spChg chg="mod">
          <ac:chgData name="Aurelien Domont" userId="6da7715ce44349b3" providerId="LiveId" clId="{D6B2C6B8-087B-43B3-8633-024465984332}" dt="2024-02-21T23:58:26.753" v="4748" actId="948"/>
          <ac:spMkLst>
            <pc:docMk/>
            <pc:sldMk cId="2570003898" sldId="3317"/>
            <ac:spMk id="2" creationId="{A47F7793-2CA4-B96B-2CD2-4A52E0A4A588}"/>
          </ac:spMkLst>
        </pc:spChg>
        <pc:spChg chg="mod">
          <ac:chgData name="Aurelien Domont" userId="6da7715ce44349b3" providerId="LiveId" clId="{D6B2C6B8-087B-43B3-8633-024465984332}" dt="2024-02-22T00:01:21.824" v="4949" actId="1035"/>
          <ac:spMkLst>
            <pc:docMk/>
            <pc:sldMk cId="2570003898" sldId="3317"/>
            <ac:spMk id="3" creationId="{3C6C6F18-0FE7-0F30-6863-879025EFA24B}"/>
          </ac:spMkLst>
        </pc:spChg>
        <pc:spChg chg="add del mod modVis">
          <ac:chgData name="Aurelien Domont" userId="6da7715ce44349b3" providerId="LiveId" clId="{D6B2C6B8-087B-43B3-8633-024465984332}" dt="2024-02-21T23:58:13.617" v="4744"/>
          <ac:spMkLst>
            <pc:docMk/>
            <pc:sldMk cId="2570003898" sldId="3317"/>
            <ac:spMk id="4" creationId="{A5D0A2C4-98B2-2DE0-9906-599155E40611}"/>
          </ac:spMkLst>
        </pc:spChg>
        <pc:spChg chg="add del mod modVis">
          <ac:chgData name="Aurelien Domont" userId="6da7715ce44349b3" providerId="LiveId" clId="{D6B2C6B8-087B-43B3-8633-024465984332}" dt="2024-02-21T23:58:26.784" v="4776"/>
          <ac:spMkLst>
            <pc:docMk/>
            <pc:sldMk cId="2570003898" sldId="3317"/>
            <ac:spMk id="5" creationId="{908772D1-9D4A-0FAC-EE66-588594B691D2}"/>
          </ac:spMkLst>
        </pc:spChg>
        <pc:spChg chg="mod">
          <ac:chgData name="Aurelien Domont" userId="6da7715ce44349b3" providerId="LiveId" clId="{D6B2C6B8-087B-43B3-8633-024465984332}" dt="2024-02-21T23:58:06.723" v="4704" actId="108"/>
          <ac:spMkLst>
            <pc:docMk/>
            <pc:sldMk cId="2570003898" sldId="3317"/>
            <ac:spMk id="15" creationId="{842F4ECF-BF39-66D6-1939-E4836040B429}"/>
          </ac:spMkLst>
        </pc:spChg>
        <pc:spChg chg="mod">
          <ac:chgData name="Aurelien Domont" userId="6da7715ce44349b3" providerId="LiveId" clId="{D6B2C6B8-087B-43B3-8633-024465984332}" dt="2024-02-21T23:58:02.846" v="4703" actId="207"/>
          <ac:spMkLst>
            <pc:docMk/>
            <pc:sldMk cId="2570003898" sldId="3317"/>
            <ac:spMk id="16" creationId="{7C0C942D-C902-0E1A-A1A2-2501106773C3}"/>
          </ac:spMkLst>
        </pc:spChg>
        <pc:spChg chg="mod">
          <ac:chgData name="Aurelien Domont" userId="6da7715ce44349b3" providerId="LiveId" clId="{D6B2C6B8-087B-43B3-8633-024465984332}" dt="2024-02-22T00:01:21.824" v="4949" actId="1035"/>
          <ac:spMkLst>
            <pc:docMk/>
            <pc:sldMk cId="2570003898" sldId="3317"/>
            <ac:spMk id="76" creationId="{F17F36C5-530C-EFD4-E294-96BB38FBBC30}"/>
          </ac:spMkLst>
        </pc:spChg>
        <pc:spChg chg="mod">
          <ac:chgData name="Aurelien Domont" userId="6da7715ce44349b3" providerId="LiveId" clId="{D6B2C6B8-087B-43B3-8633-024465984332}" dt="2024-02-22T00:01:21.824" v="4949" actId="1035"/>
          <ac:spMkLst>
            <pc:docMk/>
            <pc:sldMk cId="2570003898" sldId="3317"/>
            <ac:spMk id="78" creationId="{E39E95E9-5EE8-837C-6A39-EE37444ED4A5}"/>
          </ac:spMkLst>
        </pc:spChg>
        <pc:spChg chg="mod">
          <ac:chgData name="Aurelien Domont" userId="6da7715ce44349b3" providerId="LiveId" clId="{D6B2C6B8-087B-43B3-8633-024465984332}" dt="2024-02-22T00:01:21.824" v="4949" actId="1035"/>
          <ac:spMkLst>
            <pc:docMk/>
            <pc:sldMk cId="2570003898" sldId="3317"/>
            <ac:spMk id="80" creationId="{80A6A631-BF62-CC71-135B-03933E40E819}"/>
          </ac:spMkLst>
        </pc:spChg>
        <pc:spChg chg="mod">
          <ac:chgData name="Aurelien Domont" userId="6da7715ce44349b3" providerId="LiveId" clId="{D6B2C6B8-087B-43B3-8633-024465984332}" dt="2024-02-22T00:01:21.824" v="4949" actId="1035"/>
          <ac:spMkLst>
            <pc:docMk/>
            <pc:sldMk cId="2570003898" sldId="3317"/>
            <ac:spMk id="82" creationId="{6E629653-E804-CD6A-A35B-F6154FE4D0CC}"/>
          </ac:spMkLst>
        </pc:spChg>
        <pc:spChg chg="mod">
          <ac:chgData name="Aurelien Domont" userId="6da7715ce44349b3" providerId="LiveId" clId="{D6B2C6B8-087B-43B3-8633-024465984332}" dt="2024-02-22T00:01:21.824" v="4949" actId="1035"/>
          <ac:spMkLst>
            <pc:docMk/>
            <pc:sldMk cId="2570003898" sldId="3317"/>
            <ac:spMk id="83" creationId="{6941B7C5-3C3C-7513-0C2B-C8EAB05E9F28}"/>
          </ac:spMkLst>
        </pc:spChg>
        <pc:spChg chg="mod">
          <ac:chgData name="Aurelien Domont" userId="6da7715ce44349b3" providerId="LiveId" clId="{D6B2C6B8-087B-43B3-8633-024465984332}" dt="2024-02-22T00:01:21.824" v="4949" actId="1035"/>
          <ac:spMkLst>
            <pc:docMk/>
            <pc:sldMk cId="2570003898" sldId="3317"/>
            <ac:spMk id="84" creationId="{23B6D2A0-1EB5-DF18-246F-45A4534F6626}"/>
          </ac:spMkLst>
        </pc:spChg>
        <pc:grpChg chg="mod">
          <ac:chgData name="Aurelien Domont" userId="6da7715ce44349b3" providerId="LiveId" clId="{D6B2C6B8-087B-43B3-8633-024465984332}" dt="2024-02-22T00:01:21.824" v="4949" actId="1035"/>
          <ac:grpSpMkLst>
            <pc:docMk/>
            <pc:sldMk cId="2570003898" sldId="3317"/>
            <ac:grpSpMk id="75" creationId="{43469B6C-51E0-C0AD-1215-75B3CC70575C}"/>
          </ac:grpSpMkLst>
        </pc:grpChg>
        <pc:graphicFrameChg chg="mod">
          <ac:chgData name="Aurelien Domont" userId="6da7715ce44349b3" providerId="LiveId" clId="{D6B2C6B8-087B-43B3-8633-024465984332}" dt="2024-02-21T23:58:26.799" v="4778"/>
          <ac:graphicFrameMkLst>
            <pc:docMk/>
            <pc:sldMk cId="2570003898" sldId="3317"/>
            <ac:graphicFrameMk id="6" creationId="{BC6AE305-F6D6-5F8A-33B0-FD6136D964F6}"/>
          </ac:graphicFrameMkLst>
        </pc:graphicFrameChg>
        <pc:picChg chg="add mod">
          <ac:chgData name="Aurelien Domont" userId="6da7715ce44349b3" providerId="LiveId" clId="{D6B2C6B8-087B-43B3-8633-024465984332}" dt="2024-02-22T00:03:03.430" v="4972" actId="108"/>
          <ac:picMkLst>
            <pc:docMk/>
            <pc:sldMk cId="2570003898" sldId="3317"/>
            <ac:picMk id="7" creationId="{28765BF8-93E0-7C50-94C0-0201DE883B5A}"/>
          </ac:picMkLst>
        </pc:picChg>
        <pc:picChg chg="del">
          <ac:chgData name="Aurelien Domont" userId="6da7715ce44349b3" providerId="LiveId" clId="{D6B2C6B8-087B-43B3-8633-024465984332}" dt="2024-02-21T23:58:31.975" v="4779" actId="478"/>
          <ac:picMkLst>
            <pc:docMk/>
            <pc:sldMk cId="2570003898" sldId="3317"/>
            <ac:picMk id="8" creationId="{BBE17C86-26DC-9250-96F9-6B2323B99DC7}"/>
          </ac:picMkLst>
        </pc:picChg>
        <pc:picChg chg="add mod">
          <ac:chgData name="Aurelien Domont" userId="6da7715ce44349b3" providerId="LiveId" clId="{D6B2C6B8-087B-43B3-8633-024465984332}" dt="2024-02-22T00:03:03.791" v="4973" actId="108"/>
          <ac:picMkLst>
            <pc:docMk/>
            <pc:sldMk cId="2570003898" sldId="3317"/>
            <ac:picMk id="9" creationId="{23F25097-0558-045C-B9FB-7E6E580B4C05}"/>
          </ac:picMkLst>
        </pc:picChg>
        <pc:picChg chg="del">
          <ac:chgData name="Aurelien Domont" userId="6da7715ce44349b3" providerId="LiveId" clId="{D6B2C6B8-087B-43B3-8633-024465984332}" dt="2024-02-21T23:58:31.975" v="4779" actId="478"/>
          <ac:picMkLst>
            <pc:docMk/>
            <pc:sldMk cId="2570003898" sldId="3317"/>
            <ac:picMk id="10" creationId="{31435B74-B7B2-8240-92DA-2C1A00E04607}"/>
          </ac:picMkLst>
        </pc:picChg>
        <pc:picChg chg="del">
          <ac:chgData name="Aurelien Domont" userId="6da7715ce44349b3" providerId="LiveId" clId="{D6B2C6B8-087B-43B3-8633-024465984332}" dt="2024-02-21T23:58:31.975" v="4779" actId="478"/>
          <ac:picMkLst>
            <pc:docMk/>
            <pc:sldMk cId="2570003898" sldId="3317"/>
            <ac:picMk id="12" creationId="{62F9A38A-FEA2-ACA7-874A-C66009204123}"/>
          </ac:picMkLst>
        </pc:picChg>
      </pc:sldChg>
      <pc:sldChg chg="addSp delSp modSp add mod">
        <pc:chgData name="Aurelien Domont" userId="6da7715ce44349b3" providerId="LiveId" clId="{D6B2C6B8-087B-43B3-8633-024465984332}" dt="2024-02-22T00:04:50.614" v="5095" actId="108"/>
        <pc:sldMkLst>
          <pc:docMk/>
          <pc:sldMk cId="1743261416" sldId="3318"/>
        </pc:sldMkLst>
        <pc:spChg chg="mod ord">
          <ac:chgData name="Aurelien Domont" userId="6da7715ce44349b3" providerId="LiveId" clId="{D6B2C6B8-087B-43B3-8633-024465984332}" dt="2024-02-22T00:04:44.475" v="5069"/>
          <ac:spMkLst>
            <pc:docMk/>
            <pc:sldMk cId="1743261416" sldId="3318"/>
            <ac:spMk id="2" creationId="{9E90C024-9D0D-5521-0ACE-21D6AE81686E}"/>
          </ac:spMkLst>
        </pc:spChg>
        <pc:spChg chg="mod ord">
          <ac:chgData name="Aurelien Domont" userId="6da7715ce44349b3" providerId="LiveId" clId="{D6B2C6B8-087B-43B3-8633-024465984332}" dt="2024-02-22T00:04:44.487" v="5089"/>
          <ac:spMkLst>
            <pc:docMk/>
            <pc:sldMk cId="1743261416" sldId="3318"/>
            <ac:spMk id="3" creationId="{66D736DB-63B2-3439-AB14-1A382DA7F38B}"/>
          </ac:spMkLst>
        </pc:spChg>
        <pc:spChg chg="add del mod modVis">
          <ac:chgData name="Aurelien Domont" userId="6da7715ce44349b3" providerId="LiveId" clId="{D6B2C6B8-087B-43B3-8633-024465984332}" dt="2024-02-21T23:59:42.638" v="4812"/>
          <ac:spMkLst>
            <pc:docMk/>
            <pc:sldMk cId="1743261416" sldId="3318"/>
            <ac:spMk id="4" creationId="{4F719B4B-E9A2-3826-1774-AC28101B6A4A}"/>
          </ac:spMkLst>
        </pc:spChg>
        <pc:spChg chg="add del mod modVis">
          <ac:chgData name="Aurelien Domont" userId="6da7715ce44349b3" providerId="LiveId" clId="{D6B2C6B8-087B-43B3-8633-024465984332}" dt="2024-02-22T00:00:01.001" v="4877"/>
          <ac:spMkLst>
            <pc:docMk/>
            <pc:sldMk cId="1743261416" sldId="3318"/>
            <ac:spMk id="5" creationId="{E56E1A7F-8DED-5611-F5C1-74289730FE35}"/>
          </ac:spMkLst>
        </pc:spChg>
        <pc:spChg chg="mod">
          <ac:chgData name="Aurelien Domont" userId="6da7715ce44349b3" providerId="LiveId" clId="{D6B2C6B8-087B-43B3-8633-024465984332}" dt="2024-02-22T00:00:21.625" v="4913" actId="108"/>
          <ac:spMkLst>
            <pc:docMk/>
            <pc:sldMk cId="1743261416" sldId="3318"/>
            <ac:spMk id="16" creationId="{24E85A0E-8192-3647-29F0-50D2FD3D2C62}"/>
          </ac:spMkLst>
        </pc:spChg>
        <pc:spChg chg="mod">
          <ac:chgData name="Aurelien Domont" userId="6da7715ce44349b3" providerId="LiveId" clId="{D6B2C6B8-087B-43B3-8633-024465984332}" dt="2024-02-22T00:00:17.387" v="4912" actId="207"/>
          <ac:spMkLst>
            <pc:docMk/>
            <pc:sldMk cId="1743261416" sldId="3318"/>
            <ac:spMk id="17" creationId="{9A7C88A1-9C21-E0BF-29F5-9627173CE79E}"/>
          </ac:spMkLst>
        </pc:spChg>
        <pc:spChg chg="mod ord">
          <ac:chgData name="Aurelien Domont" userId="6da7715ce44349b3" providerId="LiveId" clId="{D6B2C6B8-087B-43B3-8633-024465984332}" dt="2024-02-22T00:04:44.475" v="5063"/>
          <ac:spMkLst>
            <pc:docMk/>
            <pc:sldMk cId="1743261416" sldId="3318"/>
            <ac:spMk id="24" creationId="{524073F9-868A-7DF4-1E4B-B93EC4095748}"/>
          </ac:spMkLst>
        </pc:spChg>
        <pc:spChg chg="mod ord">
          <ac:chgData name="Aurelien Domont" userId="6da7715ce44349b3" providerId="LiveId" clId="{D6B2C6B8-087B-43B3-8633-024465984332}" dt="2024-02-22T00:04:44.487" v="5071"/>
          <ac:spMkLst>
            <pc:docMk/>
            <pc:sldMk cId="1743261416" sldId="3318"/>
            <ac:spMk id="54" creationId="{907314E7-9405-6A2D-E327-8298F6676AA4}"/>
          </ac:spMkLst>
        </pc:spChg>
        <pc:spChg chg="mod ord">
          <ac:chgData name="Aurelien Domont" userId="6da7715ce44349b3" providerId="LiveId" clId="{D6B2C6B8-087B-43B3-8633-024465984332}" dt="2024-02-22T00:04:44.487" v="5073"/>
          <ac:spMkLst>
            <pc:docMk/>
            <pc:sldMk cId="1743261416" sldId="3318"/>
            <ac:spMk id="55" creationId="{46A81D13-6F44-E8C2-7E17-7251C9601918}"/>
          </ac:spMkLst>
        </pc:spChg>
        <pc:spChg chg="mod ord">
          <ac:chgData name="Aurelien Domont" userId="6da7715ce44349b3" providerId="LiveId" clId="{D6B2C6B8-087B-43B3-8633-024465984332}" dt="2024-02-22T00:04:44.487" v="5077"/>
          <ac:spMkLst>
            <pc:docMk/>
            <pc:sldMk cId="1743261416" sldId="3318"/>
            <ac:spMk id="76" creationId="{ACA02A04-4BB3-86E8-2DBE-C5932186646A}"/>
          </ac:spMkLst>
        </pc:spChg>
        <pc:spChg chg="mod ord">
          <ac:chgData name="Aurelien Domont" userId="6da7715ce44349b3" providerId="LiveId" clId="{D6B2C6B8-087B-43B3-8633-024465984332}" dt="2024-02-22T00:04:44.487" v="5079"/>
          <ac:spMkLst>
            <pc:docMk/>
            <pc:sldMk cId="1743261416" sldId="3318"/>
            <ac:spMk id="78" creationId="{E8635DB5-E775-1257-88A2-3E8C4403A6EF}"/>
          </ac:spMkLst>
        </pc:spChg>
        <pc:spChg chg="mod ord">
          <ac:chgData name="Aurelien Domont" userId="6da7715ce44349b3" providerId="LiveId" clId="{D6B2C6B8-087B-43B3-8633-024465984332}" dt="2024-02-22T00:04:44.487" v="5081"/>
          <ac:spMkLst>
            <pc:docMk/>
            <pc:sldMk cId="1743261416" sldId="3318"/>
            <ac:spMk id="80" creationId="{70B03E4B-6487-C1B4-AC7D-7BA5BC49685E}"/>
          </ac:spMkLst>
        </pc:spChg>
        <pc:spChg chg="mod ord">
          <ac:chgData name="Aurelien Domont" userId="6da7715ce44349b3" providerId="LiveId" clId="{D6B2C6B8-087B-43B3-8633-024465984332}" dt="2024-02-22T00:04:44.487" v="5083"/>
          <ac:spMkLst>
            <pc:docMk/>
            <pc:sldMk cId="1743261416" sldId="3318"/>
            <ac:spMk id="82" creationId="{E9001BC4-C4F7-3179-AB95-8EAC523700F4}"/>
          </ac:spMkLst>
        </pc:spChg>
        <pc:spChg chg="mod ord">
          <ac:chgData name="Aurelien Domont" userId="6da7715ce44349b3" providerId="LiveId" clId="{D6B2C6B8-087B-43B3-8633-024465984332}" dt="2024-02-22T00:04:44.487" v="5085"/>
          <ac:spMkLst>
            <pc:docMk/>
            <pc:sldMk cId="1743261416" sldId="3318"/>
            <ac:spMk id="83" creationId="{EA94B209-8326-2AB6-51B5-772C0C51AB3E}"/>
          </ac:spMkLst>
        </pc:spChg>
        <pc:spChg chg="mod ord">
          <ac:chgData name="Aurelien Domont" userId="6da7715ce44349b3" providerId="LiveId" clId="{D6B2C6B8-087B-43B3-8633-024465984332}" dt="2024-02-22T00:04:44.487" v="5087"/>
          <ac:spMkLst>
            <pc:docMk/>
            <pc:sldMk cId="1743261416" sldId="3318"/>
            <ac:spMk id="84" creationId="{47680302-FE69-C40E-506A-8F380B44E956}"/>
          </ac:spMkLst>
        </pc:spChg>
        <pc:grpChg chg="mod ord">
          <ac:chgData name="Aurelien Domont" userId="6da7715ce44349b3" providerId="LiveId" clId="{D6B2C6B8-087B-43B3-8633-024465984332}" dt="2024-02-22T00:04:44.487" v="5075"/>
          <ac:grpSpMkLst>
            <pc:docMk/>
            <pc:sldMk cId="1743261416" sldId="3318"/>
            <ac:grpSpMk id="75" creationId="{9220561E-CA7B-C937-F5CA-50E14B962CDF}"/>
          </ac:grpSpMkLst>
        </pc:grpChg>
        <pc:graphicFrameChg chg="mod">
          <ac:chgData name="Aurelien Domont" userId="6da7715ce44349b3" providerId="LiveId" clId="{D6B2C6B8-087B-43B3-8633-024465984332}" dt="2024-02-22T00:04:44.487" v="5093"/>
          <ac:graphicFrameMkLst>
            <pc:docMk/>
            <pc:sldMk cId="1743261416" sldId="3318"/>
            <ac:graphicFrameMk id="6" creationId="{B262ACBF-E66F-9D06-484F-051D70E5D54B}"/>
          </ac:graphicFrameMkLst>
        </pc:graphicFrameChg>
        <pc:picChg chg="add mod ord">
          <ac:chgData name="Aurelien Domont" userId="6da7715ce44349b3" providerId="LiveId" clId="{D6B2C6B8-087B-43B3-8633-024465984332}" dt="2024-02-22T00:04:50.285" v="5094" actId="108"/>
          <ac:picMkLst>
            <pc:docMk/>
            <pc:sldMk cId="1743261416" sldId="3318"/>
            <ac:picMk id="7" creationId="{9DBD7962-7AA8-FE82-4F58-FE3AAF3E5D26}"/>
          </ac:picMkLst>
        </pc:picChg>
        <pc:picChg chg="add mod ord">
          <ac:chgData name="Aurelien Domont" userId="6da7715ce44349b3" providerId="LiveId" clId="{D6B2C6B8-087B-43B3-8633-024465984332}" dt="2024-02-22T00:04:50.614" v="5095" actId="108"/>
          <ac:picMkLst>
            <pc:docMk/>
            <pc:sldMk cId="1743261416" sldId="3318"/>
            <ac:picMk id="8" creationId="{48A41D36-D00A-8F96-DBD7-4F2F0031A663}"/>
          </ac:picMkLst>
        </pc:picChg>
        <pc:picChg chg="add del mod ord">
          <ac:chgData name="Aurelien Domont" userId="6da7715ce44349b3" providerId="LiveId" clId="{D6B2C6B8-087B-43B3-8633-024465984332}" dt="2024-02-22T00:04:42.189" v="5060" actId="478"/>
          <ac:picMkLst>
            <pc:docMk/>
            <pc:sldMk cId="1743261416" sldId="3318"/>
            <ac:picMk id="9" creationId="{575C566A-A1B4-25E9-2C8A-B666013DE1E0}"/>
          </ac:picMkLst>
        </pc:picChg>
        <pc:picChg chg="add del mod ord">
          <ac:chgData name="Aurelien Domont" userId="6da7715ce44349b3" providerId="LiveId" clId="{D6B2C6B8-087B-43B3-8633-024465984332}" dt="2024-02-22T00:04:42.189" v="5060" actId="478"/>
          <ac:picMkLst>
            <pc:docMk/>
            <pc:sldMk cId="1743261416" sldId="3318"/>
            <ac:picMk id="10" creationId="{8E11AAB7-1148-ABAD-4B3C-FC974A0732D6}"/>
          </ac:picMkLst>
        </pc:picChg>
      </pc:sldChg>
      <pc:sldChg chg="addSp delSp modSp add mod">
        <pc:chgData name="Aurelien Domont" userId="6da7715ce44349b3" providerId="LiveId" clId="{D6B2C6B8-087B-43B3-8633-024465984332}" dt="2024-02-22T00:06:34.585" v="5215" actId="108"/>
        <pc:sldMkLst>
          <pc:docMk/>
          <pc:sldMk cId="1410449565" sldId="3319"/>
        </pc:sldMkLst>
        <pc:spChg chg="mod ord">
          <ac:chgData name="Aurelien Domont" userId="6da7715ce44349b3" providerId="LiveId" clId="{D6B2C6B8-087B-43B3-8633-024465984332}" dt="2024-02-22T00:06:30.594" v="5189"/>
          <ac:spMkLst>
            <pc:docMk/>
            <pc:sldMk cId="1410449565" sldId="3319"/>
            <ac:spMk id="2" creationId="{ED0BBD5B-6C10-63D1-1A8B-A14EBAD97239}"/>
          </ac:spMkLst>
        </pc:spChg>
        <pc:spChg chg="mod ord">
          <ac:chgData name="Aurelien Domont" userId="6da7715ce44349b3" providerId="LiveId" clId="{D6B2C6B8-087B-43B3-8633-024465984332}" dt="2024-02-22T00:06:30.610" v="5209"/>
          <ac:spMkLst>
            <pc:docMk/>
            <pc:sldMk cId="1410449565" sldId="3319"/>
            <ac:spMk id="3" creationId="{B86DBD86-95DD-4C87-596A-79313D6CCB85}"/>
          </ac:spMkLst>
        </pc:spChg>
        <pc:spChg chg="add del mod modVis">
          <ac:chgData name="Aurelien Domont" userId="6da7715ce44349b3" providerId="LiveId" clId="{D6B2C6B8-087B-43B3-8633-024465984332}" dt="2024-02-21T23:59:45.934" v="4845"/>
          <ac:spMkLst>
            <pc:docMk/>
            <pc:sldMk cId="1410449565" sldId="3319"/>
            <ac:spMk id="4" creationId="{42983C76-C9EF-D854-FF50-41BAA3E2726A}"/>
          </ac:spMkLst>
        </pc:spChg>
        <pc:spChg chg="add del mod modVis">
          <ac:chgData name="Aurelien Domont" userId="6da7715ce44349b3" providerId="LiveId" clId="{D6B2C6B8-087B-43B3-8633-024465984332}" dt="2024-02-22T00:00:10.601" v="4909"/>
          <ac:spMkLst>
            <pc:docMk/>
            <pc:sldMk cId="1410449565" sldId="3319"/>
            <ac:spMk id="5" creationId="{CC5B06E6-6AE6-7C9E-0004-6D4F3E02C655}"/>
          </ac:spMkLst>
        </pc:spChg>
        <pc:spChg chg="mod">
          <ac:chgData name="Aurelien Domont" userId="6da7715ce44349b3" providerId="LiveId" clId="{D6B2C6B8-087B-43B3-8633-024465984332}" dt="2024-02-22T00:00:40.127" v="4924" actId="108"/>
          <ac:spMkLst>
            <pc:docMk/>
            <pc:sldMk cId="1410449565" sldId="3319"/>
            <ac:spMk id="16" creationId="{DCCAE4B1-10D2-26FA-AD8C-BEF549A93D2F}"/>
          </ac:spMkLst>
        </pc:spChg>
        <pc:spChg chg="mod ord">
          <ac:chgData name="Aurelien Domont" userId="6da7715ce44349b3" providerId="LiveId" clId="{D6B2C6B8-087B-43B3-8633-024465984332}" dt="2024-02-22T00:06:30.594" v="5183"/>
          <ac:spMkLst>
            <pc:docMk/>
            <pc:sldMk cId="1410449565" sldId="3319"/>
            <ac:spMk id="24" creationId="{06BB98F3-3AE5-99A2-92C2-18F620B91292}"/>
          </ac:spMkLst>
        </pc:spChg>
        <pc:spChg chg="mod">
          <ac:chgData name="Aurelien Domont" userId="6da7715ce44349b3" providerId="LiveId" clId="{D6B2C6B8-087B-43B3-8633-024465984332}" dt="2024-02-22T00:00:36.090" v="4923" actId="207"/>
          <ac:spMkLst>
            <pc:docMk/>
            <pc:sldMk cId="1410449565" sldId="3319"/>
            <ac:spMk id="28" creationId="{ACC6AF29-3BFE-7891-24CB-277C9EE181FB}"/>
          </ac:spMkLst>
        </pc:spChg>
        <pc:spChg chg="mod ord">
          <ac:chgData name="Aurelien Domont" userId="6da7715ce44349b3" providerId="LiveId" clId="{D6B2C6B8-087B-43B3-8633-024465984332}" dt="2024-02-22T00:06:30.594" v="5191"/>
          <ac:spMkLst>
            <pc:docMk/>
            <pc:sldMk cId="1410449565" sldId="3319"/>
            <ac:spMk id="54" creationId="{A0260D60-1BDF-F941-6B21-26464EA417D7}"/>
          </ac:spMkLst>
        </pc:spChg>
        <pc:spChg chg="mod ord">
          <ac:chgData name="Aurelien Domont" userId="6da7715ce44349b3" providerId="LiveId" clId="{D6B2C6B8-087B-43B3-8633-024465984332}" dt="2024-02-22T00:06:30.594" v="5193"/>
          <ac:spMkLst>
            <pc:docMk/>
            <pc:sldMk cId="1410449565" sldId="3319"/>
            <ac:spMk id="55" creationId="{A692F130-4BC1-9AFB-E8C5-A5BA62FD3636}"/>
          </ac:spMkLst>
        </pc:spChg>
        <pc:spChg chg="mod ord">
          <ac:chgData name="Aurelien Domont" userId="6da7715ce44349b3" providerId="LiveId" clId="{D6B2C6B8-087B-43B3-8633-024465984332}" dt="2024-02-22T00:06:30.594" v="5197"/>
          <ac:spMkLst>
            <pc:docMk/>
            <pc:sldMk cId="1410449565" sldId="3319"/>
            <ac:spMk id="76" creationId="{F446F14C-4CCF-3FDB-1367-E92F698EE2A3}"/>
          </ac:spMkLst>
        </pc:spChg>
        <pc:spChg chg="mod ord">
          <ac:chgData name="Aurelien Domont" userId="6da7715ce44349b3" providerId="LiveId" clId="{D6B2C6B8-087B-43B3-8633-024465984332}" dt="2024-02-22T00:06:30.594" v="5199"/>
          <ac:spMkLst>
            <pc:docMk/>
            <pc:sldMk cId="1410449565" sldId="3319"/>
            <ac:spMk id="78" creationId="{8D342FB3-5637-B08E-A1CB-F5F79A927022}"/>
          </ac:spMkLst>
        </pc:spChg>
        <pc:spChg chg="mod ord">
          <ac:chgData name="Aurelien Domont" userId="6da7715ce44349b3" providerId="LiveId" clId="{D6B2C6B8-087B-43B3-8633-024465984332}" dt="2024-02-22T00:06:30.594" v="5201"/>
          <ac:spMkLst>
            <pc:docMk/>
            <pc:sldMk cId="1410449565" sldId="3319"/>
            <ac:spMk id="80" creationId="{7B884C35-6C78-AF7D-F8F0-532B6D7B3C0A}"/>
          </ac:spMkLst>
        </pc:spChg>
        <pc:spChg chg="mod ord">
          <ac:chgData name="Aurelien Domont" userId="6da7715ce44349b3" providerId="LiveId" clId="{D6B2C6B8-087B-43B3-8633-024465984332}" dt="2024-02-22T00:06:30.594" v="5203"/>
          <ac:spMkLst>
            <pc:docMk/>
            <pc:sldMk cId="1410449565" sldId="3319"/>
            <ac:spMk id="82" creationId="{B27BB6DD-1D6F-2E5D-8250-724F5B6429D5}"/>
          </ac:spMkLst>
        </pc:spChg>
        <pc:spChg chg="mod ord">
          <ac:chgData name="Aurelien Domont" userId="6da7715ce44349b3" providerId="LiveId" clId="{D6B2C6B8-087B-43B3-8633-024465984332}" dt="2024-02-22T00:06:30.594" v="5205"/>
          <ac:spMkLst>
            <pc:docMk/>
            <pc:sldMk cId="1410449565" sldId="3319"/>
            <ac:spMk id="83" creationId="{D3CD44DF-8F91-6160-48C2-EA466425F67D}"/>
          </ac:spMkLst>
        </pc:spChg>
        <pc:spChg chg="mod ord">
          <ac:chgData name="Aurelien Domont" userId="6da7715ce44349b3" providerId="LiveId" clId="{D6B2C6B8-087B-43B3-8633-024465984332}" dt="2024-02-22T00:06:30.594" v="5207"/>
          <ac:spMkLst>
            <pc:docMk/>
            <pc:sldMk cId="1410449565" sldId="3319"/>
            <ac:spMk id="84" creationId="{6F590624-0362-90F9-BF4A-F87610406BA5}"/>
          </ac:spMkLst>
        </pc:spChg>
        <pc:grpChg chg="mod ord">
          <ac:chgData name="Aurelien Domont" userId="6da7715ce44349b3" providerId="LiveId" clId="{D6B2C6B8-087B-43B3-8633-024465984332}" dt="2024-02-22T00:06:30.594" v="5195"/>
          <ac:grpSpMkLst>
            <pc:docMk/>
            <pc:sldMk cId="1410449565" sldId="3319"/>
            <ac:grpSpMk id="75" creationId="{7F6F5F85-BA3B-BE8F-4E2F-38C9D2D823E0}"/>
          </ac:grpSpMkLst>
        </pc:grpChg>
        <pc:graphicFrameChg chg="mod">
          <ac:chgData name="Aurelien Domont" userId="6da7715ce44349b3" providerId="LiveId" clId="{D6B2C6B8-087B-43B3-8633-024465984332}" dt="2024-02-22T00:06:30.610" v="5213"/>
          <ac:graphicFrameMkLst>
            <pc:docMk/>
            <pc:sldMk cId="1410449565" sldId="3319"/>
            <ac:graphicFrameMk id="6" creationId="{CE945F0E-DBB3-5EED-E728-506B26899C1A}"/>
          </ac:graphicFrameMkLst>
        </pc:graphicFrameChg>
        <pc:picChg chg="add mod ord">
          <ac:chgData name="Aurelien Domont" userId="6da7715ce44349b3" providerId="LiveId" clId="{D6B2C6B8-087B-43B3-8633-024465984332}" dt="2024-02-22T00:06:34.585" v="5215" actId="108"/>
          <ac:picMkLst>
            <pc:docMk/>
            <pc:sldMk cId="1410449565" sldId="3319"/>
            <ac:picMk id="7" creationId="{7A4C4E2F-B522-CC7B-C8E0-ACF62B2CD3F7}"/>
          </ac:picMkLst>
        </pc:picChg>
        <pc:picChg chg="add mod ord">
          <ac:chgData name="Aurelien Domont" userId="6da7715ce44349b3" providerId="LiveId" clId="{D6B2C6B8-087B-43B3-8633-024465984332}" dt="2024-02-22T00:06:34.255" v="5214" actId="108"/>
          <ac:picMkLst>
            <pc:docMk/>
            <pc:sldMk cId="1410449565" sldId="3319"/>
            <ac:picMk id="8" creationId="{250D1CDC-7229-EF9E-B32B-6739AB27576F}"/>
          </ac:picMkLst>
        </pc:picChg>
        <pc:picChg chg="add del mod ord">
          <ac:chgData name="Aurelien Domont" userId="6da7715ce44349b3" providerId="LiveId" clId="{D6B2C6B8-087B-43B3-8633-024465984332}" dt="2024-02-22T00:06:28.376" v="5180" actId="478"/>
          <ac:picMkLst>
            <pc:docMk/>
            <pc:sldMk cId="1410449565" sldId="3319"/>
            <ac:picMk id="9" creationId="{6EBDBCFB-5ABD-1E58-BC88-83BED30B4B5F}"/>
          </ac:picMkLst>
        </pc:picChg>
        <pc:picChg chg="add del mod ord">
          <ac:chgData name="Aurelien Domont" userId="6da7715ce44349b3" providerId="LiveId" clId="{D6B2C6B8-087B-43B3-8633-024465984332}" dt="2024-02-22T00:06:28.376" v="5180" actId="478"/>
          <ac:picMkLst>
            <pc:docMk/>
            <pc:sldMk cId="1410449565" sldId="3319"/>
            <ac:picMk id="10" creationId="{6E820FD5-69D8-7755-EE7E-8575C155A77A}"/>
          </ac:picMkLst>
        </pc:picChg>
      </pc:sldChg>
    </pc:docChg>
  </pc:docChgLst>
  <pc:docChgLst>
    <pc:chgData name="Aurelien Domont" userId="6da7715ce44349b3" providerId="LiveId" clId="{AABA1416-4740-4FEA-A91C-A3DACBE38F86}"/>
    <pc:docChg chg="undo redo custSel addSld delSld modSld sldOrd modMainMaster replTag modNotesMaster">
      <pc:chgData name="Aurelien Domont" userId="6da7715ce44349b3" providerId="LiveId" clId="{AABA1416-4740-4FEA-A91C-A3DACBE38F86}" dt="2023-11-16T23:34:49.284" v="13050" actId="5793"/>
      <pc:docMkLst>
        <pc:docMk/>
      </pc:docMkLst>
      <pc:sldChg chg="addSp delSp modSp mod modNotes">
        <pc:chgData name="Aurelien Domont" userId="6da7715ce44349b3" providerId="LiveId" clId="{AABA1416-4740-4FEA-A91C-A3DACBE38F86}" dt="2023-11-03T04:51:06.550" v="8618" actId="790"/>
        <pc:sldMkLst>
          <pc:docMk/>
          <pc:sldMk cId="3956982643" sldId="526"/>
        </pc:sldMkLst>
        <pc:spChg chg="mod">
          <ac:chgData name="Aurelien Domont" userId="6da7715ce44349b3" providerId="LiveId" clId="{AABA1416-4740-4FEA-A91C-A3DACBE38F86}" dt="2023-11-03T04:51:04.917" v="6591" actId="139"/>
          <ac:spMkLst>
            <pc:docMk/>
            <pc:sldMk cId="3956982643" sldId="526"/>
            <ac:spMk id="2" creationId="{F431BC18-A461-9459-FF13-870ACCC7D4F5}"/>
          </ac:spMkLst>
        </pc:spChg>
        <pc:spChg chg="mod">
          <ac:chgData name="Aurelien Domont" userId="6da7715ce44349b3" providerId="LiveId" clId="{AABA1416-4740-4FEA-A91C-A3DACBE38F86}" dt="2023-11-03T04:51:04.902" v="6588" actId="790"/>
          <ac:spMkLst>
            <pc:docMk/>
            <pc:sldMk cId="3956982643" sldId="526"/>
            <ac:spMk id="9" creationId="{A1ADDC43-E206-24D0-5D8D-6D8244D3F224}"/>
          </ac:spMkLst>
        </pc:spChg>
        <pc:spChg chg="del">
          <ac:chgData name="Aurelien Domont" userId="6da7715ce44349b3" providerId="LiveId" clId="{AABA1416-4740-4FEA-A91C-A3DACBE38F86}" dt="2023-11-03T00:13:23.175" v="8" actId="478"/>
          <ac:spMkLst>
            <pc:docMk/>
            <pc:sldMk cId="3956982643" sldId="526"/>
            <ac:spMk id="10" creationId="{07E11358-1D6D-A63D-3905-327DC0F08E92}"/>
          </ac:spMkLst>
        </pc:spChg>
        <pc:graphicFrameChg chg="mod">
          <ac:chgData name="Aurelien Domont" userId="6da7715ce44349b3" providerId="LiveId" clId="{AABA1416-4740-4FEA-A91C-A3DACBE38F86}" dt="2023-11-03T02:22:17.507" v="2846"/>
          <ac:graphicFrameMkLst>
            <pc:docMk/>
            <pc:sldMk cId="3956982643" sldId="526"/>
            <ac:graphicFrameMk id="6" creationId="{EE3B18FE-7C76-9F52-5CB9-B48736D39224}"/>
          </ac:graphicFrameMkLst>
        </pc:graphicFrameChg>
        <pc:picChg chg="add mod">
          <ac:chgData name="Aurelien Domont" userId="6da7715ce44349b3" providerId="LiveId" clId="{AABA1416-4740-4FEA-A91C-A3DACBE38F86}" dt="2023-11-03T00:14:39.849" v="52" actId="14100"/>
          <ac:picMkLst>
            <pc:docMk/>
            <pc:sldMk cId="3956982643" sldId="526"/>
            <ac:picMk id="3" creationId="{00063173-AAB2-BC28-DBCA-ED0E0758D2E3}"/>
          </ac:picMkLst>
        </pc:picChg>
      </pc:sldChg>
      <pc:sldChg chg="add del">
        <pc:chgData name="Aurelien Domont" userId="6da7715ce44349b3" providerId="LiveId" clId="{AABA1416-4740-4FEA-A91C-A3DACBE38F86}" dt="2023-11-03T03:36:28.748" v="5280"/>
        <pc:sldMkLst>
          <pc:docMk/>
          <pc:sldMk cId="3977934915" sldId="530"/>
        </pc:sldMkLst>
      </pc:sldChg>
      <pc:sldChg chg="add del">
        <pc:chgData name="Aurelien Domont" userId="6da7715ce44349b3" providerId="LiveId" clId="{AABA1416-4740-4FEA-A91C-A3DACBE38F86}" dt="2023-11-03T01:51:36.199" v="1850" actId="47"/>
        <pc:sldMkLst>
          <pc:docMk/>
          <pc:sldMk cId="2694049521" sldId="531"/>
        </pc:sldMkLst>
      </pc:sldChg>
      <pc:sldChg chg="add del">
        <pc:chgData name="Aurelien Domont" userId="6da7715ce44349b3" providerId="LiveId" clId="{AABA1416-4740-4FEA-A91C-A3DACBE38F86}" dt="2023-11-03T05:05:35.235" v="8850"/>
        <pc:sldMkLst>
          <pc:docMk/>
          <pc:sldMk cId="2783597816" sldId="542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604617461" sldId="1591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617529628" sldId="1596"/>
        </pc:sldMkLst>
      </pc:sldChg>
      <pc:sldChg chg="addSp delSp modSp add mod modClrScheme chgLayout modNotes">
        <pc:chgData name="Aurelien Domont" userId="6da7715ce44349b3" providerId="LiveId" clId="{AABA1416-4740-4FEA-A91C-A3DACBE38F86}" dt="2023-11-03T05:37:11.497" v="11568" actId="14861"/>
        <pc:sldMkLst>
          <pc:docMk/>
          <pc:sldMk cId="1754585881" sldId="1598"/>
        </pc:sldMkLst>
        <pc:spChg chg="mod ord">
          <ac:chgData name="Aurelien Domont" userId="6da7715ce44349b3" providerId="LiveId" clId="{AABA1416-4740-4FEA-A91C-A3DACBE38F86}" dt="2023-11-03T04:51:06.517" v="8595" actId="790"/>
          <ac:spMkLst>
            <pc:docMk/>
            <pc:sldMk cId="1754585881" sldId="1598"/>
            <ac:spMk id="2" creationId="{406113FD-AA7D-4249-90D7-70AF85BE48E1}"/>
          </ac:spMkLst>
        </pc:spChg>
        <pc:spChg chg="mod">
          <ac:chgData name="Aurelien Domont" userId="6da7715ce44349b3" providerId="LiveId" clId="{AABA1416-4740-4FEA-A91C-A3DACBE38F86}" dt="2023-11-03T04:51:06.520" v="8598" actId="790"/>
          <ac:spMkLst>
            <pc:docMk/>
            <pc:sldMk cId="1754585881" sldId="1598"/>
            <ac:spMk id="4" creationId="{A0E553AB-DDFB-815B-EAD2-79191C7631B9}"/>
          </ac:spMkLst>
        </pc:spChg>
        <pc:spChg chg="add del mod modVis">
          <ac:chgData name="Aurelien Domont" userId="6da7715ce44349b3" providerId="LiveId" clId="{AABA1416-4740-4FEA-A91C-A3DACBE38F86}" dt="2023-11-03T02:35:25.121" v="3400"/>
          <ac:spMkLst>
            <pc:docMk/>
            <pc:sldMk cId="1754585881" sldId="1598"/>
            <ac:spMk id="4" creationId="{BC85685D-E9FC-6399-B72F-23445EADDB36}"/>
          </ac:spMkLst>
        </pc:spChg>
        <pc:spChg chg="mod">
          <ac:chgData name="Aurelien Domont" userId="6da7715ce44349b3" providerId="LiveId" clId="{AABA1416-4740-4FEA-A91C-A3DACBE38F86}" dt="2023-11-03T05:37:11.497" v="11568" actId="14861"/>
          <ac:spMkLst>
            <pc:docMk/>
            <pc:sldMk cId="1754585881" sldId="1598"/>
            <ac:spMk id="5" creationId="{D4604511-274B-95D2-A130-C832BC31795C}"/>
          </ac:spMkLst>
        </pc:spChg>
        <pc:spChg chg="mod ord">
          <ac:chgData name="Aurelien Domont" userId="6da7715ce44349b3" providerId="LiveId" clId="{AABA1416-4740-4FEA-A91C-A3DACBE38F86}" dt="2023-11-03T02:28:33.028" v="3018"/>
          <ac:spMkLst>
            <pc:docMk/>
            <pc:sldMk cId="1754585881" sldId="1598"/>
            <ac:spMk id="6" creationId="{DE0F4260-85F5-47B2-8F90-716F6604029A}"/>
          </ac:spMkLst>
        </pc:spChg>
        <pc:spChg chg="add del mod modVis">
          <ac:chgData name="Aurelien Domont" userId="6da7715ce44349b3" providerId="LiveId" clId="{AABA1416-4740-4FEA-A91C-A3DACBE38F86}" dt="2023-11-03T02:35:30.886" v="3435"/>
          <ac:spMkLst>
            <pc:docMk/>
            <pc:sldMk cId="1754585881" sldId="1598"/>
            <ac:spMk id="8" creationId="{C2A61496-8726-C7B7-82F7-81C566F6B667}"/>
          </ac:spMkLst>
        </pc:spChg>
        <pc:spChg chg="add del mod modVis">
          <ac:chgData name="Aurelien Domont" userId="6da7715ce44349b3" providerId="LiveId" clId="{AABA1416-4740-4FEA-A91C-A3DACBE38F86}" dt="2023-11-03T02:35:32.063" v="3464"/>
          <ac:spMkLst>
            <pc:docMk/>
            <pc:sldMk cId="1754585881" sldId="1598"/>
            <ac:spMk id="9" creationId="{448A1279-B947-974E-570E-ED81297B2230}"/>
          </ac:spMkLst>
        </pc:spChg>
        <pc:spChg chg="mod">
          <ac:chgData name="Aurelien Domont" userId="6da7715ce44349b3" providerId="LiveId" clId="{AABA1416-4740-4FEA-A91C-A3DACBE38F86}" dt="2023-11-03T04:51:06.518" v="8596" actId="790"/>
          <ac:spMkLst>
            <pc:docMk/>
            <pc:sldMk cId="1754585881" sldId="1598"/>
            <ac:spMk id="10" creationId="{45724769-7F7A-49A0-978E-58661220D668}"/>
          </ac:spMkLst>
        </pc:spChg>
        <pc:spChg chg="add del mod modVis">
          <ac:chgData name="Aurelien Domont" userId="6da7715ce44349b3" providerId="LiveId" clId="{AABA1416-4740-4FEA-A91C-A3DACBE38F86}" dt="2023-11-03T02:39:09.993" v="3781" actId="962"/>
          <ac:spMkLst>
            <pc:docMk/>
            <pc:sldMk cId="1754585881" sldId="1598"/>
            <ac:spMk id="11" creationId="{B62EE35F-3C1F-3283-DFF7-281A84AD88DA}"/>
          </ac:spMkLst>
        </pc:spChg>
        <pc:spChg chg="add del mod modVis">
          <ac:chgData name="Aurelien Domont" userId="6da7715ce44349b3" providerId="LiveId" clId="{AABA1416-4740-4FEA-A91C-A3DACBE38F86}" dt="2023-11-03T02:58:44.327" v="4168"/>
          <ac:spMkLst>
            <pc:docMk/>
            <pc:sldMk cId="1754585881" sldId="1598"/>
            <ac:spMk id="13" creationId="{7F6E5098-8604-50B1-B340-5B97770E2C3B}"/>
          </ac:spMkLst>
        </pc:spChg>
        <pc:graphicFrameChg chg="mod">
          <ac:chgData name="Aurelien Domont" userId="6da7715ce44349b3" providerId="LiveId" clId="{AABA1416-4740-4FEA-A91C-A3DACBE38F86}" dt="2023-11-03T02:58:44.327" v="4170"/>
          <ac:graphicFrameMkLst>
            <pc:docMk/>
            <pc:sldMk cId="1754585881" sldId="1598"/>
            <ac:graphicFrameMk id="7" creationId="{BBD01E70-F8C7-493C-AEDD-E5492D344E98}"/>
          </ac:graphicFrameMkLst>
        </pc:graphicFrameChg>
      </pc:sldChg>
      <pc:sldChg chg="addSp delSp modSp add del mod modClrScheme chgLayout modNotes">
        <pc:chgData name="Aurelien Domont" userId="6da7715ce44349b3" providerId="LiveId" clId="{AABA1416-4740-4FEA-A91C-A3DACBE38F86}" dt="2023-11-03T04:51:06.837" v="8822"/>
        <pc:sldMkLst>
          <pc:docMk/>
          <pc:sldMk cId="2853806433" sldId="1600"/>
        </pc:sldMkLst>
        <pc:spChg chg="mod ord">
          <ac:chgData name="Aurelien Domont" userId="6da7715ce44349b3" providerId="LiveId" clId="{AABA1416-4740-4FEA-A91C-A3DACBE38F86}" dt="2023-11-03T04:51:06.659" v="8664" actId="948"/>
          <ac:spMkLst>
            <pc:docMk/>
            <pc:sldMk cId="2853806433" sldId="1600"/>
            <ac:spMk id="2" creationId="{406113FD-AA7D-4249-90D7-70AF85BE48E1}"/>
          </ac:spMkLst>
        </pc:spChg>
        <pc:spChg chg="add del mod modVis">
          <ac:chgData name="Aurelien Domont" userId="6da7715ce44349b3" providerId="LiveId" clId="{AABA1416-4740-4FEA-A91C-A3DACBE38F86}" dt="2023-11-03T02:46:46.615" v="4003" actId="962"/>
          <ac:spMkLst>
            <pc:docMk/>
            <pc:sldMk cId="2853806433" sldId="1600"/>
            <ac:spMk id="4" creationId="{AE5CD27A-AF4C-C3E7-9A11-00ADAE2509B5}"/>
          </ac:spMkLst>
        </pc:spChg>
        <pc:spChg chg="add del mod modVis">
          <ac:chgData name="Aurelien Domont" userId="6da7715ce44349b3" providerId="LiveId" clId="{AABA1416-4740-4FEA-A91C-A3DACBE38F86}" dt="2023-11-03T04:51:06.834" v="8820"/>
          <ac:spMkLst>
            <pc:docMk/>
            <pc:sldMk cId="2853806433" sldId="1600"/>
            <ac:spMk id="4" creationId="{CFD9F8F3-918E-B2E5-2769-A718F4E07BAC}"/>
          </ac:spMkLst>
        </pc:spChg>
        <pc:spChg chg="mod ord">
          <ac:chgData name="Aurelien Domont" userId="6da7715ce44349b3" providerId="LiveId" clId="{AABA1416-4740-4FEA-A91C-A3DACBE38F86}" dt="2023-11-03T04:40:18.109" v="6520"/>
          <ac:spMkLst>
            <pc:docMk/>
            <pc:sldMk cId="2853806433" sldId="1600"/>
            <ac:spMk id="8" creationId="{3D029769-9B2F-4A51-8446-2206A9A2EF30}"/>
          </ac:spMkLst>
        </pc:spChg>
        <pc:spChg chg="mod">
          <ac:chgData name="Aurelien Domont" userId="6da7715ce44349b3" providerId="LiveId" clId="{AABA1416-4740-4FEA-A91C-A3DACBE38F86}" dt="2023-11-03T04:51:06.527" v="8605" actId="139"/>
          <ac:spMkLst>
            <pc:docMk/>
            <pc:sldMk cId="2853806433" sldId="1600"/>
            <ac:spMk id="11" creationId="{6F4EE5F8-9590-D51A-8C97-146730CFCC30}"/>
          </ac:spMkLst>
        </pc:spChg>
        <pc:graphicFrameChg chg="mod">
          <ac:chgData name="Aurelien Domont" userId="6da7715ce44349b3" providerId="LiveId" clId="{AABA1416-4740-4FEA-A91C-A3DACBE38F86}" dt="2023-11-03T04:51:06.837" v="8822"/>
          <ac:graphicFrameMkLst>
            <pc:docMk/>
            <pc:sldMk cId="2853806433" sldId="1600"/>
            <ac:graphicFrameMk id="6" creationId="{A832FE54-3FF5-4B4C-8DBC-DAAD65190EAA}"/>
          </ac:graphicFrameMkLst>
        </pc:graphicFrameChg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644303535" sldId="1668"/>
        </pc:sldMkLst>
      </pc:sldChg>
      <pc:sldChg chg="addSp delSp modSp add mod modClrScheme chgLayout modNotes">
        <pc:chgData name="Aurelien Domont" userId="6da7715ce44349b3" providerId="LiveId" clId="{AABA1416-4740-4FEA-A91C-A3DACBE38F86}" dt="2023-11-03T05:27:36.076" v="11298" actId="20577"/>
        <pc:sldMkLst>
          <pc:docMk/>
          <pc:sldMk cId="1252826214" sldId="1711"/>
        </pc:sldMkLst>
        <pc:spChg chg="add mod">
          <ac:chgData name="Aurelien Domont" userId="6da7715ce44349b3" providerId="LiveId" clId="{AABA1416-4740-4FEA-A91C-A3DACBE38F86}" dt="2023-11-03T04:51:05.302" v="6815" actId="790"/>
          <ac:spMkLst>
            <pc:docMk/>
            <pc:sldMk cId="1252826214" sldId="1711"/>
            <ac:spMk id="2" creationId="{A962B74C-75B9-94DD-8E27-57692538BA17}"/>
          </ac:spMkLst>
        </pc:spChg>
        <pc:spChg chg="mod ord">
          <ac:chgData name="Aurelien Domont" userId="6da7715ce44349b3" providerId="LiveId" clId="{AABA1416-4740-4FEA-A91C-A3DACBE38F86}" dt="2023-11-03T02:28:33.028" v="3018"/>
          <ac:spMkLst>
            <pc:docMk/>
            <pc:sldMk cId="1252826214" sldId="1711"/>
            <ac:spMk id="3" creationId="{CE2529A3-BA97-486F-9E02-8DFAAA7D8D38}"/>
          </ac:spMkLst>
        </pc:spChg>
        <pc:spChg chg="add mod">
          <ac:chgData name="Aurelien Domont" userId="6da7715ce44349b3" providerId="LiveId" clId="{AABA1416-4740-4FEA-A91C-A3DACBE38F86}" dt="2023-11-03T04:51:05.303" v="6816" actId="790"/>
          <ac:spMkLst>
            <pc:docMk/>
            <pc:sldMk cId="1252826214" sldId="1711"/>
            <ac:spMk id="4" creationId="{E4DF4256-F406-5ABB-5F23-D915115DCCDB}"/>
          </ac:spMkLst>
        </pc:spChg>
        <pc:spChg chg="add mod">
          <ac:chgData name="Aurelien Domont" userId="6da7715ce44349b3" providerId="LiveId" clId="{AABA1416-4740-4FEA-A91C-A3DACBE38F86}" dt="2023-11-03T04:51:05.306" v="6819" actId="139"/>
          <ac:spMkLst>
            <pc:docMk/>
            <pc:sldMk cId="1252826214" sldId="1711"/>
            <ac:spMk id="5" creationId="{808B0DF4-A6EA-4926-BCB2-370EDE306BD5}"/>
          </ac:spMkLst>
        </pc:spChg>
        <pc:spChg chg="add mod">
          <ac:chgData name="Aurelien Domont" userId="6da7715ce44349b3" providerId="LiveId" clId="{AABA1416-4740-4FEA-A91C-A3DACBE38F86}" dt="2023-11-03T04:51:05.309" v="6822" actId="139"/>
          <ac:spMkLst>
            <pc:docMk/>
            <pc:sldMk cId="1252826214" sldId="1711"/>
            <ac:spMk id="6" creationId="{A6342A59-F39E-3014-C636-92960AC5C071}"/>
          </ac:spMkLst>
        </pc:spChg>
        <pc:spChg chg="add mod">
          <ac:chgData name="Aurelien Domont" userId="6da7715ce44349b3" providerId="LiveId" clId="{AABA1416-4740-4FEA-A91C-A3DACBE38F86}" dt="2023-11-03T04:51:05.310" v="6823" actId="790"/>
          <ac:spMkLst>
            <pc:docMk/>
            <pc:sldMk cId="1252826214" sldId="1711"/>
            <ac:spMk id="7" creationId="{9EDD568C-1DE4-6515-9B2E-6BA2D546AD92}"/>
          </ac:spMkLst>
        </pc:spChg>
        <pc:spChg chg="add mod">
          <ac:chgData name="Aurelien Domont" userId="6da7715ce44349b3" providerId="LiveId" clId="{AABA1416-4740-4FEA-A91C-A3DACBE38F86}" dt="2023-11-03T05:27:36.076" v="11298" actId="20577"/>
          <ac:spMkLst>
            <pc:docMk/>
            <pc:sldMk cId="1252826214" sldId="1711"/>
            <ac:spMk id="8" creationId="{482732DF-EB8D-BB18-A809-B81EB32FED81}"/>
          </ac:spMkLst>
        </pc:spChg>
        <pc:spChg chg="add mod">
          <ac:chgData name="Aurelien Domont" userId="6da7715ce44349b3" providerId="LiveId" clId="{AABA1416-4740-4FEA-A91C-A3DACBE38F86}" dt="2023-11-03T04:51:05.314" v="6827" actId="790"/>
          <ac:spMkLst>
            <pc:docMk/>
            <pc:sldMk cId="1252826214" sldId="1711"/>
            <ac:spMk id="9" creationId="{FDCE55B0-8DF3-F891-70F7-EBD939067D53}"/>
          </ac:spMkLst>
        </pc:spChg>
        <pc:spChg chg="mod">
          <ac:chgData name="Aurelien Domont" userId="6da7715ce44349b3" providerId="LiveId" clId="{AABA1416-4740-4FEA-A91C-A3DACBE38F86}" dt="2023-11-03T04:51:06.516" v="8594" actId="790"/>
          <ac:spMkLst>
            <pc:docMk/>
            <pc:sldMk cId="1252826214" sldId="1711"/>
            <ac:spMk id="10" creationId="{079DF221-F9CE-5880-C786-8AA36D7B54C1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1" creationId="{1C1B8EC1-2923-4978-A61D-27E28146FFD1}"/>
          </ac:spMkLst>
        </pc:spChg>
        <pc:spChg chg="add mod">
          <ac:chgData name="Aurelien Domont" userId="6da7715ce44349b3" providerId="LiveId" clId="{AABA1416-4740-4FEA-A91C-A3DACBE38F86}" dt="2023-11-03T04:51:05.317" v="6830" actId="139"/>
          <ac:spMkLst>
            <pc:docMk/>
            <pc:sldMk cId="1252826214" sldId="1711"/>
            <ac:spMk id="12" creationId="{D2AC5B92-C47E-9941-ACE2-8C1EBA9995C7}"/>
          </ac:spMkLst>
        </pc:spChg>
        <pc:spChg chg="mod">
          <ac:chgData name="Aurelien Domont" userId="6da7715ce44349b3" providerId="LiveId" clId="{AABA1416-4740-4FEA-A91C-A3DACBE38F86}" dt="2023-11-03T04:51:05.329" v="6844"/>
          <ac:spMkLst>
            <pc:docMk/>
            <pc:sldMk cId="1252826214" sldId="1711"/>
            <ac:spMk id="15" creationId="{BF9E5B90-1AEC-73F5-0602-14CA9A383DD2}"/>
          </ac:spMkLst>
        </pc:spChg>
        <pc:spChg chg="mod">
          <ac:chgData name="Aurelien Domont" userId="6da7715ce44349b3" providerId="LiveId" clId="{AABA1416-4740-4FEA-A91C-A3DACBE38F86}" dt="2023-11-03T04:51:05.329" v="6844"/>
          <ac:spMkLst>
            <pc:docMk/>
            <pc:sldMk cId="1252826214" sldId="1711"/>
            <ac:spMk id="16" creationId="{73103DF3-7B38-60DD-76F5-926F56E877E6}"/>
          </ac:spMkLst>
        </pc:spChg>
        <pc:spChg chg="mod">
          <ac:chgData name="Aurelien Domont" userId="6da7715ce44349b3" providerId="LiveId" clId="{AABA1416-4740-4FEA-A91C-A3DACBE38F86}" dt="2023-11-03T04:51:05.377" v="6914"/>
          <ac:spMkLst>
            <pc:docMk/>
            <pc:sldMk cId="1252826214" sldId="1711"/>
            <ac:spMk id="18" creationId="{858BE8C5-B8A3-AB1E-4287-9FFF497B166D}"/>
          </ac:spMkLst>
        </pc:spChg>
        <pc:spChg chg="mod">
          <ac:chgData name="Aurelien Domont" userId="6da7715ce44349b3" providerId="LiveId" clId="{AABA1416-4740-4FEA-A91C-A3DACBE38F86}" dt="2023-11-03T04:51:05.377" v="6914"/>
          <ac:spMkLst>
            <pc:docMk/>
            <pc:sldMk cId="1252826214" sldId="1711"/>
            <ac:spMk id="19" creationId="{2BDAD4D1-E7E8-0B23-8E5F-1C50C7318D6F}"/>
          </ac:spMkLst>
        </pc:spChg>
        <pc:spChg chg="mod">
          <ac:chgData name="Aurelien Domont" userId="6da7715ce44349b3" providerId="LiveId" clId="{AABA1416-4740-4FEA-A91C-A3DACBE38F86}" dt="2023-11-03T04:51:05.377" v="6914"/>
          <ac:spMkLst>
            <pc:docMk/>
            <pc:sldMk cId="1252826214" sldId="1711"/>
            <ac:spMk id="20" creationId="{CD667DE6-4851-1AE8-0E2E-92465F9C5E35}"/>
          </ac:spMkLst>
        </pc:spChg>
        <pc:spChg chg="mod">
          <ac:chgData name="Aurelien Domont" userId="6da7715ce44349b3" providerId="LiveId" clId="{AABA1416-4740-4FEA-A91C-A3DACBE38F86}" dt="2023-11-03T04:51:05.377" v="6914"/>
          <ac:spMkLst>
            <pc:docMk/>
            <pc:sldMk cId="1252826214" sldId="1711"/>
            <ac:spMk id="21" creationId="{6307464E-CE62-1D8E-704B-131B9F25B298}"/>
          </ac:spMkLst>
        </pc:spChg>
        <pc:spChg chg="mod">
          <ac:chgData name="Aurelien Domont" userId="6da7715ce44349b3" providerId="LiveId" clId="{AABA1416-4740-4FEA-A91C-A3DACBE38F86}" dt="2023-11-03T04:51:05.377" v="6914"/>
          <ac:spMkLst>
            <pc:docMk/>
            <pc:sldMk cId="1252826214" sldId="1711"/>
            <ac:spMk id="22" creationId="{24895B4D-21B8-D961-A13C-C39635DF4A36}"/>
          </ac:spMkLst>
        </pc:spChg>
        <pc:spChg chg="mod">
          <ac:chgData name="Aurelien Domont" userId="6da7715ce44349b3" providerId="LiveId" clId="{AABA1416-4740-4FEA-A91C-A3DACBE38F86}" dt="2023-11-03T04:51:05.377" v="6914"/>
          <ac:spMkLst>
            <pc:docMk/>
            <pc:sldMk cId="1252826214" sldId="1711"/>
            <ac:spMk id="23" creationId="{60E507A3-7124-0167-0EF6-BB88A096A8E0}"/>
          </ac:spMkLst>
        </pc:spChg>
        <pc:spChg chg="mod">
          <ac:chgData name="Aurelien Domont" userId="6da7715ce44349b3" providerId="LiveId" clId="{AABA1416-4740-4FEA-A91C-A3DACBE38F86}" dt="2023-11-03T04:51:05.377" v="6914"/>
          <ac:spMkLst>
            <pc:docMk/>
            <pc:sldMk cId="1252826214" sldId="1711"/>
            <ac:spMk id="24" creationId="{73E276F9-5C72-68BF-985B-279FE01D462A}"/>
          </ac:spMkLst>
        </pc:spChg>
        <pc:spChg chg="del mod">
          <ac:chgData name="Aurelien Domont" userId="6da7715ce44349b3" providerId="LiveId" clId="{AABA1416-4740-4FEA-A91C-A3DACBE38F86}" dt="2023-11-03T02:32:50.019" v="3318" actId="478"/>
          <ac:spMkLst>
            <pc:docMk/>
            <pc:sldMk cId="1252826214" sldId="1711"/>
            <ac:spMk id="25" creationId="{86A71970-E46B-4358-8BCC-1715EFB36D64}"/>
          </ac:spMkLst>
        </pc:spChg>
        <pc:spChg chg="mod">
          <ac:chgData name="Aurelien Domont" userId="6da7715ce44349b3" providerId="LiveId" clId="{AABA1416-4740-4FEA-A91C-A3DACBE38F86}" dt="2023-11-03T04:51:05.377" v="6914"/>
          <ac:spMkLst>
            <pc:docMk/>
            <pc:sldMk cId="1252826214" sldId="1711"/>
            <ac:spMk id="26" creationId="{7AF4AF4D-28D4-C6F2-28BA-FD6955954333}"/>
          </ac:spMkLst>
        </pc:spChg>
        <pc:spChg chg="del mod">
          <ac:chgData name="Aurelien Domont" userId="6da7715ce44349b3" providerId="LiveId" clId="{AABA1416-4740-4FEA-A91C-A3DACBE38F86}" dt="2023-11-03T02:32:50.019" v="3318" actId="478"/>
          <ac:spMkLst>
            <pc:docMk/>
            <pc:sldMk cId="1252826214" sldId="1711"/>
            <ac:spMk id="27" creationId="{2221734C-F2C9-4C4F-AF07-9C7EB749C560}"/>
          </ac:spMkLst>
        </pc:spChg>
        <pc:spChg chg="del">
          <ac:chgData name="Aurelien Domont" userId="6da7715ce44349b3" providerId="LiveId" clId="{AABA1416-4740-4FEA-A91C-A3DACBE38F86}" dt="2023-11-03T02:32:50.019" v="3318" actId="478"/>
          <ac:spMkLst>
            <pc:docMk/>
            <pc:sldMk cId="1252826214" sldId="1711"/>
            <ac:spMk id="28" creationId="{9890D867-710A-4021-80A0-9EDD68F8268E}"/>
          </ac:spMkLst>
        </pc:spChg>
        <pc:spChg chg="mod">
          <ac:chgData name="Aurelien Domont" userId="6da7715ce44349b3" providerId="LiveId" clId="{AABA1416-4740-4FEA-A91C-A3DACBE38F86}" dt="2023-11-03T04:51:05.377" v="6914"/>
          <ac:spMkLst>
            <pc:docMk/>
            <pc:sldMk cId="1252826214" sldId="1711"/>
            <ac:spMk id="29" creationId="{0DBF46BE-42A0-333D-1481-12BF1D1386AB}"/>
          </ac:spMkLst>
        </pc:spChg>
        <pc:spChg chg="mod">
          <ac:chgData name="Aurelien Domont" userId="6da7715ce44349b3" providerId="LiveId" clId="{AABA1416-4740-4FEA-A91C-A3DACBE38F86}" dt="2023-11-03T04:51:05.377" v="6914"/>
          <ac:spMkLst>
            <pc:docMk/>
            <pc:sldMk cId="1252826214" sldId="1711"/>
            <ac:spMk id="30" creationId="{68379DB9-1D23-4A7E-956A-035E9E332697}"/>
          </ac:spMkLst>
        </pc:spChg>
        <pc:spChg chg="add mod">
          <ac:chgData name="Aurelien Domont" userId="6da7715ce44349b3" providerId="LiveId" clId="{AABA1416-4740-4FEA-A91C-A3DACBE38F86}" dt="2023-11-03T04:51:05.382" v="6921"/>
          <ac:spMkLst>
            <pc:docMk/>
            <pc:sldMk cId="1252826214" sldId="1711"/>
            <ac:spMk id="31" creationId="{359FAC09-0983-8858-7A99-06E260F3D9C0}"/>
          </ac:spMkLst>
        </pc:spChg>
        <pc:spChg chg="mod">
          <ac:chgData name="Aurelien Domont" userId="6da7715ce44349b3" providerId="LiveId" clId="{AABA1416-4740-4FEA-A91C-A3DACBE38F86}" dt="2023-11-03T04:51:05.392" v="6935"/>
          <ac:spMkLst>
            <pc:docMk/>
            <pc:sldMk cId="1252826214" sldId="1711"/>
            <ac:spMk id="33" creationId="{CBBD30F7-F39E-2932-B271-73926A8D4AD1}"/>
          </ac:spMkLst>
        </pc:spChg>
        <pc:spChg chg="del">
          <ac:chgData name="Aurelien Domont" userId="6da7715ce44349b3" providerId="LiveId" clId="{AABA1416-4740-4FEA-A91C-A3DACBE38F86}" dt="2023-11-03T02:32:50.019" v="3318" actId="478"/>
          <ac:spMkLst>
            <pc:docMk/>
            <pc:sldMk cId="1252826214" sldId="1711"/>
            <ac:spMk id="34" creationId="{D73AA7D2-25BB-4811-9D38-82BD21C8478B}"/>
          </ac:spMkLst>
        </pc:spChg>
        <pc:spChg chg="mod">
          <ac:chgData name="Aurelien Domont" userId="6da7715ce44349b3" providerId="LiveId" clId="{AABA1416-4740-4FEA-A91C-A3DACBE38F86}" dt="2023-11-03T04:51:05.392" v="6935"/>
          <ac:spMkLst>
            <pc:docMk/>
            <pc:sldMk cId="1252826214" sldId="1711"/>
            <ac:spMk id="35" creationId="{311FFAFE-C125-8FF0-8812-96B3C0225AE0}"/>
          </ac:spMkLst>
        </pc:spChg>
        <pc:spChg chg="add mod">
          <ac:chgData name="Aurelien Domont" userId="6da7715ce44349b3" providerId="LiveId" clId="{AABA1416-4740-4FEA-A91C-A3DACBE38F86}" dt="2023-11-03T04:51:05.397" v="6942"/>
          <ac:spMkLst>
            <pc:docMk/>
            <pc:sldMk cId="1252826214" sldId="1711"/>
            <ac:spMk id="36" creationId="{15329A0D-6D78-86BA-FB85-F6E3191B32E8}"/>
          </ac:spMkLst>
        </pc:spChg>
        <pc:spChg chg="del mod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37" creationId="{EF41B183-983A-424C-A811-31D7B9F3E06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38" creationId="{A222A58B-1B90-4496-A948-F185A3E65D28}"/>
          </ac:spMkLst>
        </pc:spChg>
        <pc:spChg chg="del mod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39" creationId="{BDA9DBF3-656C-4C64-8120-5BCE657C516A}"/>
          </ac:spMkLst>
        </pc:spChg>
        <pc:spChg chg="del mod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40" creationId="{573A5304-C348-4211-8C8D-05DBFC25C98C}"/>
          </ac:spMkLst>
        </pc:spChg>
        <pc:spChg chg="add mod">
          <ac:chgData name="Aurelien Domont" userId="6da7715ce44349b3" providerId="LiveId" clId="{AABA1416-4740-4FEA-A91C-A3DACBE38F86}" dt="2023-11-03T04:51:05.403" v="6949"/>
          <ac:spMkLst>
            <pc:docMk/>
            <pc:sldMk cId="1252826214" sldId="1711"/>
            <ac:spMk id="41" creationId="{F3C48CAE-0093-459D-1922-4740B796099A}"/>
          </ac:spMkLst>
        </pc:spChg>
        <pc:spChg chg="add mod">
          <ac:chgData name="Aurelien Domont" userId="6da7715ce44349b3" providerId="LiveId" clId="{AABA1416-4740-4FEA-A91C-A3DACBE38F86}" dt="2023-11-03T04:51:05.407" v="6956"/>
          <ac:spMkLst>
            <pc:docMk/>
            <pc:sldMk cId="1252826214" sldId="1711"/>
            <ac:spMk id="42" creationId="{CC0039AC-EF25-6413-AA1C-A2F93C443482}"/>
          </ac:spMkLst>
        </pc:spChg>
        <pc:spChg chg="add mod">
          <ac:chgData name="Aurelien Domont" userId="6da7715ce44349b3" providerId="LiveId" clId="{AABA1416-4740-4FEA-A91C-A3DACBE38F86}" dt="2023-11-03T04:51:05.410" v="6959" actId="139"/>
          <ac:spMkLst>
            <pc:docMk/>
            <pc:sldMk cId="1252826214" sldId="1711"/>
            <ac:spMk id="43" creationId="{C405742B-9EF3-4940-EE97-A2CC07EFB0E2}"/>
          </ac:spMkLst>
        </pc:spChg>
        <pc:spChg chg="add mod">
          <ac:chgData name="Aurelien Domont" userId="6da7715ce44349b3" providerId="LiveId" clId="{AABA1416-4740-4FEA-A91C-A3DACBE38F86}" dt="2023-11-03T04:51:05.415" v="6966"/>
          <ac:spMkLst>
            <pc:docMk/>
            <pc:sldMk cId="1252826214" sldId="1711"/>
            <ac:spMk id="44" creationId="{6C314E65-BA29-7EDE-4D6E-CEE36A919EDB}"/>
          </ac:spMkLst>
        </pc:spChg>
        <pc:spChg chg="add mod">
          <ac:chgData name="Aurelien Domont" userId="6da7715ce44349b3" providerId="LiveId" clId="{AABA1416-4740-4FEA-A91C-A3DACBE38F86}" dt="2023-11-03T04:51:05.420" v="6973"/>
          <ac:spMkLst>
            <pc:docMk/>
            <pc:sldMk cId="1252826214" sldId="1711"/>
            <ac:spMk id="45" creationId="{E9CF28EA-1655-E9F3-F5E7-A2631BCC29B5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49" creationId="{98BBAC1A-48C3-457C-83C0-ADBB10236A62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51" creationId="{9A288DA3-6576-4034-9768-3D54DD56A2F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52" creationId="{2C0ABCF5-75CC-4F90-A550-A281E4369D32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53" creationId="{A35E12DA-6263-428E-ACD5-29E12DA389BF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54" creationId="{CAAD048A-B585-48D8-9EFF-61437A944C8C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55" creationId="{1C35F4BA-69DA-4CED-8ABA-DCEFCBF6757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56" creationId="{32D9D994-5044-4621-9BA8-ADC26A400533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58" creationId="{F68A2200-BED7-4D8E-9475-717F0757443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59" creationId="{B3613336-86C9-401F-B78E-9D46A34B7C80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60" creationId="{B85D8F1C-56D7-4360-927B-5B7067E9BFF5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62" creationId="{72EBD9EE-39F0-4737-B62A-C4E42C1C0F95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63" creationId="{6A1D4621-CB0F-4600-999E-383FB5B7772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64" creationId="{45496A84-1710-4A3D-B2FE-F670417245AD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66" creationId="{90B134E2-230D-4E83-9B2B-2B5C0A7635A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67" creationId="{42F516B0-83CB-401D-9D4F-5EFC00BB80FF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68" creationId="{AEDBB3BA-B9B5-4529-80D6-07A47E3580D4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69" creationId="{103CE0F2-1959-4FB4-9DEB-710314E74D8F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70" creationId="{4F08ECD2-B0A3-418F-849F-235D1C7B0112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71" creationId="{5E649382-9C23-4795-BBF9-46D64A38F33F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73" creationId="{98ADAE93-D5E4-4A59-9C44-F3321359FCDF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76" creationId="{EF511045-E73B-4CFF-885B-23ECD1E8C17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77" creationId="{BF50E8F5-4960-4CF4-8383-AF42F855C8F0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78" creationId="{EA39EB43-A228-4F10-9D52-7DCE445E0176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79" creationId="{95BF0EB2-490C-4E4C-983D-DB8C80733A1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80" creationId="{407A864B-2946-4460-8D74-618B9CA860C4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81" creationId="{ADA77C41-C517-4C6A-92B8-8C800F9BABE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82" creationId="{FD1F4F0E-11F9-489B-AEEE-DCA1015253E2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83" creationId="{691F974D-6BEA-413E-AFE8-2F8F695C9D1F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84" creationId="{9A782A32-53DB-445E-8E52-7A8689503316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85" creationId="{89889F1F-F5A9-4CDA-9661-2DABF92F0C9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86" creationId="{4AB652D7-26CE-4535-9304-FA5D0E7D6FE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87" creationId="{5394BAFA-E989-4A31-B6CE-E7B95647C880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88" creationId="{CC2CD2E4-CCD1-47BB-A4BE-E08B6EE05F8A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89" creationId="{FA39D6F1-3E4E-4C18-8AA5-C6DEADB50CF5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91" creationId="{D28CFB18-6653-431F-B2ED-C546617D22A4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92" creationId="{9FCD6F56-B8C1-4FC0-863D-8E71A8CB23A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93" creationId="{29F54C2A-36D0-421A-9230-E5196D9A16C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94" creationId="{C0445C87-6890-4F17-8D40-1619FBDB78C2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95" creationId="{1F6DB845-3BA5-4D76-BC5C-6C9E21073F43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96" creationId="{C5C31C86-8CBA-4C46-B3DE-65A8CCD3267C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97" creationId="{CE67ACDE-6CFE-4F6E-ADB6-E5D8AF8B1F9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98" creationId="{CB872E09-31AF-4938-9583-886CE3BA7AD3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99" creationId="{B0DCB1F1-0801-4DD1-9DC9-1D72512FF5D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00" creationId="{7506D3EC-7627-4E29-8992-84797B05FEA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01" creationId="{4F79DD9B-4316-48D9-B0AD-A65A6A07FBE4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02" creationId="{F7E30A9B-D06A-4314-A309-7CCC67FD796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03" creationId="{55AC66FC-1912-4FA6-9D9B-62AA0870F6A1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04" creationId="{1EF74135-38F5-4B5B-8767-B58DF6090E96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05" creationId="{E3D9AEA2-B142-4632-B159-C828C0E799D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06" creationId="{73C311A6-1A4D-4EBA-83CA-E3FF3F35E0F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07" creationId="{02B694A8-55D5-4A2E-9316-39E66FF089F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08" creationId="{809A775B-E5D4-4867-B09A-C8A781646D7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09" creationId="{E5978EA7-ED59-430A-936F-7AAC511D80F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10" creationId="{A7719609-0A29-44D8-B66E-E402A76F776A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11" creationId="{AE2EB892-083B-4926-A4AF-A6476C2E6D93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12" creationId="{E06CD000-F4B9-4678-8D0F-0F22AD97FDB2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13" creationId="{E43B555A-3022-4CDD-B5AC-2524555140D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14" creationId="{926AFD02-FCE4-4DC8-B6DD-C5839ECD5A46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15" creationId="{6D5E84FF-0D77-4C0F-9A8C-8AC9C2395F7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16" creationId="{D53E2190-2974-43B0-A06A-0D8F1220AE31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17" creationId="{44ED2386-1DC3-4623-A6DA-1C996E2D987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18" creationId="{76BC809E-3675-4C34-9947-BCBD6C81CC3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19" creationId="{EB91065C-D149-407F-A0DD-DA4D4B39AA8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20" creationId="{715873A8-606D-4F59-8F16-F318092F4BB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21" creationId="{A07C7D0C-846B-4236-BB14-43D75616586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22" creationId="{B3A0DCF1-8E21-4CAD-AA10-1ED0A6683CF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23" creationId="{A3DD26C8-3E62-4801-9288-F886BA845551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24" creationId="{638676B9-2514-4195-9A72-8F37B541FA0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25" creationId="{2874D011-86B6-4115-9010-5D873F9E1291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26" creationId="{BC4F0A17-7082-4D6A-BCA4-A2FEB3B6763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27" creationId="{19664302-30E7-4D9B-8029-61C3CA584B30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28" creationId="{2BF712B0-C7C2-42AE-B132-6C35AEB2CFB3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29" creationId="{C64552A8-000A-42EA-A41A-842C50A3E75C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30" creationId="{25211B52-F394-4B97-B910-E8F00FAA437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31" creationId="{1353AF21-9142-444E-B4D4-3937D3BC0265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32" creationId="{06B49306-A228-40E0-A62A-F4152D2EF65C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33" creationId="{9E6D7F6A-7952-44F2-9895-244DA66F775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34" creationId="{FD2B5EB3-F3EB-4406-993B-782ECD460A2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35" creationId="{97C8E616-A639-4342-AB7C-2BA72391903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36" creationId="{545FB3BD-6F68-47F3-8B2A-9A4D3CED899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37" creationId="{A595BE95-CA86-4E4A-97BC-8ECDAC59BA6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38" creationId="{CE364E54-2E11-4C63-A303-5EB591D6D012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39" creationId="{1EFA42D7-4448-4E18-A729-6CF3DBA94A34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40" creationId="{8C2C812B-C909-499A-B3F4-D6BA4928BD00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41" creationId="{34849A92-9597-49BF-977B-9951D462FED2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42" creationId="{DDEA1F90-0863-42CA-BDC2-92B238A78A85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43" creationId="{D8C37E11-C4BD-4A84-BF63-578417B77BE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44" creationId="{C375A887-D5E3-4F99-9950-A79EB6CA9A6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45" creationId="{D68A8DB0-4D69-4C87-A962-C8F9E969D524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46" creationId="{B027E49D-713A-4007-8722-5D14C2C7EACA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47" creationId="{8043C5E2-C7CB-4A63-B4D5-162D9FF00E21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48" creationId="{B55A0DD7-4E48-406D-93E4-0B3AE2F1CEF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49" creationId="{91F4980C-1E3A-4BE7-A200-8DEF8ABE3F9D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50" creationId="{E211A3E5-A626-4167-82E1-6D2198386F44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51" creationId="{131EE606-1F8D-4B48-8188-352E524DF4A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52" creationId="{7436FE4F-A3CC-4C95-902D-8B1D92D535B1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54" creationId="{78505EE0-DBC4-400C-A718-6C2C024583C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56" creationId="{88B98B20-4520-41ED-9304-72DC955877E3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58" creationId="{9E8DA2CC-D49D-41A6-B0D6-42D3BDA7D0F4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60" creationId="{5C3FA1B3-B4AC-48D4-B714-2D1BA93D0790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61" creationId="{541E197F-4044-4204-8FDA-395AE323CAC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62" creationId="{87E0E64E-A590-4A08-8106-4F02B5C7D002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63" creationId="{71EA5F10-6A1F-4BE6-B877-E41B6C053DD0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64" creationId="{F0F68B0B-B377-4B7D-9268-E3F776C48BF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65" creationId="{C5E2B2CD-FB89-4C8F-B686-E9E311344422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66" creationId="{08CE1BAD-B909-4C15-B25E-0DB0122FF7B0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67" creationId="{DA557A7B-858E-40EE-A7F1-8A77F519D6EA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68" creationId="{01515CE9-46BA-4B0A-951F-C33D9C9A402F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69" creationId="{3F8CDBC1-9629-45C2-A85E-CA02DB9041EA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71" creationId="{963AD41B-26F5-4D47-AD53-8AC2972B2A93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72" creationId="{A95BECF4-65E0-4E20-8E81-BF2D70CA24FA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73" creationId="{A82C2CB6-9C1B-463B-B201-2EDC9A84F804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74" creationId="{F13E0817-830A-4419-9E5B-A121B77DA6DD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75" creationId="{8E6C7D94-2CCA-4C44-B3CB-82E170208E8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76" creationId="{D658C2E5-253C-49B8-9139-B1A75693B43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77" creationId="{59202752-5754-4DE6-B2D6-DF32F10E5DC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78" creationId="{7D1A9FB2-D060-4515-BD88-6FCAEAF225B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79" creationId="{A4200E5E-8CC9-48B5-AA45-0716870EB5D3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80" creationId="{88387600-1A81-43F5-A5F6-E595CC54644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81" creationId="{992FA9DF-63EC-429A-BF35-AE164E2FF63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82" creationId="{92554E69-034D-4A5C-9380-796DF5D21CB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83" creationId="{D33F1956-7744-4394-A0B6-5DC6187179A1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84" creationId="{C4D285CB-4C4F-400C-B984-87DC8A9E1D1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85" creationId="{2BE5A517-FA3C-44CF-972A-C5B15864EF7F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86" creationId="{2AF56B3E-A4A0-4E78-9F27-6E1F86480A6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87" creationId="{65BAB392-D000-4FDD-8FB1-AE51D60AF3F4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88" creationId="{D02BDEA7-490D-491D-ADE1-354D74062D9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89" creationId="{E6CC3D2F-DB61-47E2-8F82-35A70A7033D1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90" creationId="{A13D6358-E032-4D42-8B3A-BB647533A52A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91" creationId="{2B54C7EB-4521-4D8E-8CC8-3C3AFB6C9D5D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92" creationId="{56F9B48F-62FA-48FD-A47B-AEF05EC56DE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93" creationId="{4462D747-86EA-41CA-8F26-DE6608A116F0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94" creationId="{DBBD5777-1E56-4ABE-BA16-5C74CE9A0EA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95" creationId="{7D7286B1-9422-4310-B4C2-615AF19EAACA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96" creationId="{D40F5B22-E2AA-4258-9265-F1FF9ED960F4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97" creationId="{AD4D240B-D50A-4D70-8C0B-977F83984D3A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98" creationId="{6CE44318-CD7E-445D-B758-E7779777C82F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199" creationId="{1F0F724B-E44F-41E4-8A14-AE2C600D3B3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00" creationId="{86E37F85-C5A4-488E-B339-0F0F1556574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01" creationId="{B1F3E296-E0F1-42B3-8EB5-18834C3DEF2D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02" creationId="{BCB202AA-2A16-4C5C-AA67-6AFAFA8F693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03" creationId="{0C93BDFC-9980-4906-BF18-DAD7D5B3E82D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04" creationId="{2483B080-5A2E-4F13-B9A0-DEDEF8079900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05" creationId="{7F1B88CC-77FA-4556-9E9A-EBE75920496C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06" creationId="{003FC4C7-BA5E-490B-A4F1-1C0EFED6FB8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07" creationId="{9BD2EF94-3A1F-4B1E-8B71-180E83DE23F4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08" creationId="{EAEDBD41-082E-45BA-8113-5C661357A1E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09" creationId="{BC07ED43-92C0-4463-BE91-75D378245AC3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10" creationId="{193E87B5-9C63-4375-B210-A66A1AFCCF6F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11" creationId="{793AFA17-087D-46AE-869B-60FF321E751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12" creationId="{84307B0E-2C20-4123-9CAA-1D24370C93CD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13" creationId="{77A30CF6-910C-42F4-A2AF-820286EDA0EC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14" creationId="{3F674640-2E1D-4DFF-B01D-3A348893023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15" creationId="{85D81B0A-8416-497A-99DC-67F35F0AD3D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16" creationId="{C18ABAB0-2722-4783-84A2-5634D23EAA75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17" creationId="{EFCB03DB-03D6-4A91-8CBD-792B0C10DE6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18" creationId="{C59BD9FB-1B30-423F-B1D7-751A58E65F2D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19" creationId="{EFA08614-7E06-47B4-99AF-2865D4F4797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20" creationId="{444A65E3-4F6F-4AFB-87EC-33F20023A968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21" creationId="{E4377BC2-14F9-4CD6-A14C-C44A4E3AA61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22" creationId="{5CCF650A-0F72-4561-8E58-2343C3DBFEB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23" creationId="{63CA195B-A87C-444E-8191-3ECC991AB875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24" creationId="{1BF71304-587F-4508-A321-52BEFDF494DC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25" creationId="{D74CE2DA-D7AA-4661-A52B-C9D5B3290A9A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26" creationId="{551F1F9D-E21B-4640-B8C7-C60950AB302D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27" creationId="{936ED875-F3AB-4A18-8E6A-F9C7C270CF02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28" creationId="{430A0786-7BD9-46DA-A610-519693964F01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29" creationId="{DBAC6905-1A25-4E2C-90D6-5580DDEDDB85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30" creationId="{63E38F12-2AAD-4FA1-88BA-4655424B7ABA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31" creationId="{4BD50ED2-1085-45E9-834B-CC17883DC94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32" creationId="{6E77A66E-2021-43C9-8F5F-B91B3DF1E25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33" creationId="{EBD29889-D0B4-43B9-8442-B91A3B9BE83C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34" creationId="{21F0D43F-287D-4CDA-B746-2C8A66A82376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35" creationId="{ABF8C690-9AB9-49DF-AC8F-3A1B953C7881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36" creationId="{E3F0EFE2-BC71-410C-B51D-B34F896014ED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37" creationId="{54372FEB-36D5-41EF-9588-6403ECD97FEB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38" creationId="{EF6C8537-8511-49E7-A9E1-0022384E5493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39" creationId="{469F0A00-47B2-4DDD-BF87-88A646D345D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40" creationId="{30CB3E4B-42C8-4DF2-B739-CF227DDC8E73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41" creationId="{3CFFF04C-0086-4A1E-9B0B-90F93BCE689C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42" creationId="{796536A7-650A-470B-B60A-89CB4DCDAE12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43" creationId="{28B07DF0-DD4F-4107-9049-E64C336BD23E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44" creationId="{6222FCC7-32FF-4D0B-84C0-6C5967B837B7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45" creationId="{E86832F6-2D52-4754-BB9D-E56F6A7E8713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46" creationId="{1D89F624-F74E-456A-AF09-7B4A51BE1AA0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247" creationId="{4F937EC5-8BD0-4FB5-A35C-E02B89B93606}"/>
          </ac:spMkLst>
        </pc:spChg>
        <pc:spChg chg="mod ord">
          <ac:chgData name="Aurelien Domont" userId="6da7715ce44349b3" providerId="LiveId" clId="{AABA1416-4740-4FEA-A91C-A3DACBE38F86}" dt="2023-11-03T04:51:05.301" v="6814" actId="790"/>
          <ac:spMkLst>
            <pc:docMk/>
            <pc:sldMk cId="1252826214" sldId="1711"/>
            <ac:spMk id="316" creationId="{E1807DFC-6E0A-41E9-BAC7-1EE85BC2BECF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317" creationId="{57846E48-217C-4B20-8EAA-F792C5644C39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318" creationId="{7DCF6023-52B1-4514-840B-3C2A31F07EAD}"/>
          </ac:spMkLst>
        </pc:spChg>
        <pc:spChg chg="mod">
          <ac:chgData name="Aurelien Domont" userId="6da7715ce44349b3" providerId="LiveId" clId="{AABA1416-4740-4FEA-A91C-A3DACBE38F86}" dt="2023-11-03T04:51:05.429" v="6987"/>
          <ac:spMkLst>
            <pc:docMk/>
            <pc:sldMk cId="1252826214" sldId="1711"/>
            <ac:spMk id="319" creationId="{12304BDE-1C1F-5047-F801-E03D894B2139}"/>
          </ac:spMkLst>
        </pc:spChg>
        <pc:spChg chg="del mod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321" creationId="{D18F414A-28FD-4A65-AF72-CEB65BAF1E6A}"/>
          </ac:spMkLst>
        </pc:spChg>
        <pc:spChg chg="del">
          <ac:chgData name="Aurelien Domont" userId="6da7715ce44349b3" providerId="LiveId" clId="{AABA1416-4740-4FEA-A91C-A3DACBE38F86}" dt="2023-11-03T02:32:46.729" v="3317" actId="478"/>
          <ac:spMkLst>
            <pc:docMk/>
            <pc:sldMk cId="1252826214" sldId="1711"/>
            <ac:spMk id="322" creationId="{5CDF6503-1C7D-45A1-A8DF-D8E13276A75E}"/>
          </ac:spMkLst>
        </pc:spChg>
        <pc:spChg chg="mod">
          <ac:chgData name="Aurelien Domont" userId="6da7715ce44349b3" providerId="LiveId" clId="{AABA1416-4740-4FEA-A91C-A3DACBE38F86}" dt="2023-11-03T04:51:05.429" v="6987"/>
          <ac:spMkLst>
            <pc:docMk/>
            <pc:sldMk cId="1252826214" sldId="1711"/>
            <ac:spMk id="323" creationId="{7CA2276E-DF12-4728-DC63-40A3E66A37C6}"/>
          </ac:spMkLst>
        </pc:spChg>
        <pc:spChg chg="add mod">
          <ac:chgData name="Aurelien Domont" userId="6da7715ce44349b3" providerId="LiveId" clId="{AABA1416-4740-4FEA-A91C-A3DACBE38F86}" dt="2023-11-03T04:51:05.433" v="6994"/>
          <ac:spMkLst>
            <pc:docMk/>
            <pc:sldMk cId="1252826214" sldId="1711"/>
            <ac:spMk id="324" creationId="{74B2BA83-4FE7-4CB2-54AD-9C65087E2F85}"/>
          </ac:spMkLst>
        </pc:spChg>
        <pc:spChg chg="add mod">
          <ac:chgData name="Aurelien Domont" userId="6da7715ce44349b3" providerId="LiveId" clId="{AABA1416-4740-4FEA-A91C-A3DACBE38F86}" dt="2023-11-03T04:51:05.438" v="7001"/>
          <ac:spMkLst>
            <pc:docMk/>
            <pc:sldMk cId="1252826214" sldId="1711"/>
            <ac:spMk id="325" creationId="{EEFAD170-A471-0C7D-1DFA-56DCD3307AF1}"/>
          </ac:spMkLst>
        </pc:spChg>
        <pc:spChg chg="add mod">
          <ac:chgData name="Aurelien Domont" userId="6da7715ce44349b3" providerId="LiveId" clId="{AABA1416-4740-4FEA-A91C-A3DACBE38F86}" dt="2023-11-03T04:51:05.443" v="7008"/>
          <ac:spMkLst>
            <pc:docMk/>
            <pc:sldMk cId="1252826214" sldId="1711"/>
            <ac:spMk id="326" creationId="{95EE2FCF-A428-8F5C-6528-E191F4E7B89F}"/>
          </ac:spMkLst>
        </pc:spChg>
        <pc:spChg chg="mod">
          <ac:chgData name="Aurelien Domont" userId="6da7715ce44349b3" providerId="LiveId" clId="{AABA1416-4740-4FEA-A91C-A3DACBE38F86}" dt="2023-11-03T04:51:05.463" v="7036"/>
          <ac:spMkLst>
            <pc:docMk/>
            <pc:sldMk cId="1252826214" sldId="1711"/>
            <ac:spMk id="328" creationId="{6CD50AAB-3522-B742-9EB9-C1947F86C066}"/>
          </ac:spMkLst>
        </pc:spChg>
        <pc:spChg chg="mod">
          <ac:chgData name="Aurelien Domont" userId="6da7715ce44349b3" providerId="LiveId" clId="{AABA1416-4740-4FEA-A91C-A3DACBE38F86}" dt="2023-11-03T04:51:05.463" v="7036"/>
          <ac:spMkLst>
            <pc:docMk/>
            <pc:sldMk cId="1252826214" sldId="1711"/>
            <ac:spMk id="329" creationId="{86FD29E3-3417-A3EB-AB1A-DF9586567AC1}"/>
          </ac:spMkLst>
        </pc:spChg>
        <pc:spChg chg="mod">
          <ac:chgData name="Aurelien Domont" userId="6da7715ce44349b3" providerId="LiveId" clId="{AABA1416-4740-4FEA-A91C-A3DACBE38F86}" dt="2023-11-03T04:51:05.463" v="7036"/>
          <ac:spMkLst>
            <pc:docMk/>
            <pc:sldMk cId="1252826214" sldId="1711"/>
            <ac:spMk id="330" creationId="{4EEBA8B6-67CC-A10F-82DF-D257B0CE9D2D}"/>
          </ac:spMkLst>
        </pc:spChg>
        <pc:spChg chg="mod">
          <ac:chgData name="Aurelien Domont" userId="6da7715ce44349b3" providerId="LiveId" clId="{AABA1416-4740-4FEA-A91C-A3DACBE38F86}" dt="2023-11-03T04:51:05.463" v="7036"/>
          <ac:spMkLst>
            <pc:docMk/>
            <pc:sldMk cId="1252826214" sldId="1711"/>
            <ac:spMk id="331" creationId="{C01C48CD-0566-734C-7791-46E267C335FB}"/>
          </ac:spMkLst>
        </pc:spChg>
        <pc:spChg chg="add mod">
          <ac:chgData name="Aurelien Domont" userId="6da7715ce44349b3" providerId="LiveId" clId="{AABA1416-4740-4FEA-A91C-A3DACBE38F86}" dt="2023-11-03T04:51:05.468" v="7043"/>
          <ac:spMkLst>
            <pc:docMk/>
            <pc:sldMk cId="1252826214" sldId="1711"/>
            <ac:spMk id="332" creationId="{99C26B28-B718-1116-10E0-533C6EE464B2}"/>
          </ac:spMkLst>
        </pc:spChg>
        <pc:spChg chg="add mod">
          <ac:chgData name="Aurelien Domont" userId="6da7715ce44349b3" providerId="LiveId" clId="{AABA1416-4740-4FEA-A91C-A3DACBE38F86}" dt="2023-11-03T04:51:05.473" v="7050"/>
          <ac:spMkLst>
            <pc:docMk/>
            <pc:sldMk cId="1252826214" sldId="1711"/>
            <ac:spMk id="333" creationId="{7CA4B497-B9D5-1505-7FE8-1D43071EA46B}"/>
          </ac:spMkLst>
        </pc:spChg>
        <pc:spChg chg="add mod">
          <ac:chgData name="Aurelien Domont" userId="6da7715ce44349b3" providerId="LiveId" clId="{AABA1416-4740-4FEA-A91C-A3DACBE38F86}" dt="2023-11-03T04:51:05.478" v="7057"/>
          <ac:spMkLst>
            <pc:docMk/>
            <pc:sldMk cId="1252826214" sldId="1711"/>
            <ac:spMk id="334" creationId="{6978D2E0-1AD4-9D1F-4B8C-113DA4F867F0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36" creationId="{9B38B644-6514-E793-A95A-4C97DA23FA36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37" creationId="{F1A276CA-E4AB-38FC-B4D8-113E279C3A68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38" creationId="{26D1DB65-5803-E919-4A23-4CEC338C634C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39" creationId="{4DC9DFB4-FB75-3C8F-0C03-C66A1716BFE8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40" creationId="{F85059D6-093B-5796-092E-CBFD1F6A41A3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41" creationId="{61D7F557-28F9-BBF8-9391-7ACFE485B261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42" creationId="{DFD42EB3-EAE6-E363-D909-4141E8685379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43" creationId="{20CD1F3E-E90A-B2AC-6439-1979BE84047D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44" creationId="{C768CAF1-D873-E4BA-1AC4-23EDAEFAC93B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45" creationId="{5DC733A9-CD76-55FC-3C61-6B3C3929E517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46" creationId="{0D84BCA1-6108-F823-1188-A4EF26CCFD27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47" creationId="{77116ADB-AD88-DAE9-0DFC-8A0E6684C7FA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48" creationId="{45F94FA2-0E47-1E6B-714F-524317E4E78D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49" creationId="{DEB9E08E-ABCE-4D07-6D62-1792389598D8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50" creationId="{0D26E982-8C93-FA43-B5CF-6A51A53E2458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51" creationId="{094868C4-CE2A-9414-ECCF-860A1CC4D315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52" creationId="{D87B3134-54C2-9FBE-B558-CF1C13359C4F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53" creationId="{6049D67C-EF5D-F2E1-EBA4-D105F6208C57}"/>
          </ac:spMkLst>
        </pc:spChg>
        <pc:spChg chg="mod">
          <ac:chgData name="Aurelien Domont" userId="6da7715ce44349b3" providerId="LiveId" clId="{AABA1416-4740-4FEA-A91C-A3DACBE38F86}" dt="2023-11-03T04:51:05.596" v="7190"/>
          <ac:spMkLst>
            <pc:docMk/>
            <pc:sldMk cId="1252826214" sldId="1711"/>
            <ac:spMk id="354" creationId="{B5C8B6D0-C645-B8D7-6BC5-6A9E5F4A8CAD}"/>
          </ac:spMkLst>
        </pc:spChg>
        <pc:spChg chg="add mod">
          <ac:chgData name="Aurelien Domont" userId="6da7715ce44349b3" providerId="LiveId" clId="{AABA1416-4740-4FEA-A91C-A3DACBE38F86}" dt="2023-11-03T04:51:05.603" v="7197"/>
          <ac:spMkLst>
            <pc:docMk/>
            <pc:sldMk cId="1252826214" sldId="1711"/>
            <ac:spMk id="355" creationId="{749F7193-E88E-48CA-015A-4D27A9367E17}"/>
          </ac:spMkLst>
        </pc:spChg>
        <pc:spChg chg="add mod">
          <ac:chgData name="Aurelien Domont" userId="6da7715ce44349b3" providerId="LiveId" clId="{AABA1416-4740-4FEA-A91C-A3DACBE38F86}" dt="2023-11-03T04:51:05.609" v="7204"/>
          <ac:spMkLst>
            <pc:docMk/>
            <pc:sldMk cId="1252826214" sldId="1711"/>
            <ac:spMk id="356" creationId="{9106CE49-5810-E4AF-67F9-E830E2528AA7}"/>
          </ac:spMkLst>
        </pc:spChg>
        <pc:spChg chg="add mod">
          <ac:chgData name="Aurelien Domont" userId="6da7715ce44349b3" providerId="LiveId" clId="{AABA1416-4740-4FEA-A91C-A3DACBE38F86}" dt="2023-11-03T04:51:05.615" v="7211"/>
          <ac:spMkLst>
            <pc:docMk/>
            <pc:sldMk cId="1252826214" sldId="1711"/>
            <ac:spMk id="357" creationId="{51F03474-3B98-CC21-BBF7-4B6A7092F78C}"/>
          </ac:spMkLst>
        </pc:spChg>
        <pc:spChg chg="add mod">
          <ac:chgData name="Aurelien Domont" userId="6da7715ce44349b3" providerId="LiveId" clId="{AABA1416-4740-4FEA-A91C-A3DACBE38F86}" dt="2023-11-03T04:51:05.619" v="7214" actId="139"/>
          <ac:spMkLst>
            <pc:docMk/>
            <pc:sldMk cId="1252826214" sldId="1711"/>
            <ac:spMk id="358" creationId="{5E0B3D84-322E-851F-8949-0F7097461CF4}"/>
          </ac:spMkLst>
        </pc:spChg>
        <pc:spChg chg="add mod">
          <ac:chgData name="Aurelien Domont" userId="6da7715ce44349b3" providerId="LiveId" clId="{AABA1416-4740-4FEA-A91C-A3DACBE38F86}" dt="2023-11-03T04:51:05.627" v="7221"/>
          <ac:spMkLst>
            <pc:docMk/>
            <pc:sldMk cId="1252826214" sldId="1711"/>
            <ac:spMk id="359" creationId="{84B0808E-1EAA-7546-6786-E4597B89A775}"/>
          </ac:spMkLst>
        </pc:spChg>
        <pc:spChg chg="add mod">
          <ac:chgData name="Aurelien Domont" userId="6da7715ce44349b3" providerId="LiveId" clId="{AABA1416-4740-4FEA-A91C-A3DACBE38F86}" dt="2023-11-03T04:51:05.633" v="7228"/>
          <ac:spMkLst>
            <pc:docMk/>
            <pc:sldMk cId="1252826214" sldId="1711"/>
            <ac:spMk id="360" creationId="{6AAA1E86-4A61-D45F-BF6C-405BF17B0C50}"/>
          </ac:spMkLst>
        </pc:spChg>
        <pc:spChg chg="mod">
          <ac:chgData name="Aurelien Domont" userId="6da7715ce44349b3" providerId="LiveId" clId="{AABA1416-4740-4FEA-A91C-A3DACBE38F86}" dt="2023-11-03T04:51:05.645" v="7242"/>
          <ac:spMkLst>
            <pc:docMk/>
            <pc:sldMk cId="1252826214" sldId="1711"/>
            <ac:spMk id="362" creationId="{34B0A0EC-05BC-E2B4-CD8C-7C99DFD90C0B}"/>
          </ac:spMkLst>
        </pc:spChg>
        <pc:spChg chg="mod">
          <ac:chgData name="Aurelien Domont" userId="6da7715ce44349b3" providerId="LiveId" clId="{AABA1416-4740-4FEA-A91C-A3DACBE38F86}" dt="2023-11-03T04:51:05.645" v="7242"/>
          <ac:spMkLst>
            <pc:docMk/>
            <pc:sldMk cId="1252826214" sldId="1711"/>
            <ac:spMk id="363" creationId="{98608D9F-23D2-10EE-EE23-0125C905A446}"/>
          </ac:spMkLst>
        </pc:spChg>
        <pc:spChg chg="add mod">
          <ac:chgData name="Aurelien Domont" userId="6da7715ce44349b3" providerId="LiveId" clId="{AABA1416-4740-4FEA-A91C-A3DACBE38F86}" dt="2023-11-03T04:51:05.651" v="7249"/>
          <ac:spMkLst>
            <pc:docMk/>
            <pc:sldMk cId="1252826214" sldId="1711"/>
            <ac:spMk id="364" creationId="{B9ABFF19-3188-685C-5F7B-F0C742EE4517}"/>
          </ac:spMkLst>
        </pc:spChg>
        <pc:spChg chg="mod">
          <ac:chgData name="Aurelien Domont" userId="6da7715ce44349b3" providerId="LiveId" clId="{AABA1416-4740-4FEA-A91C-A3DACBE38F86}" dt="2023-11-03T04:51:05.669" v="7270"/>
          <ac:spMkLst>
            <pc:docMk/>
            <pc:sldMk cId="1252826214" sldId="1711"/>
            <ac:spMk id="366" creationId="{D63965DF-C31B-B97A-1911-4E5615AEC9C6}"/>
          </ac:spMkLst>
        </pc:spChg>
        <pc:spChg chg="mod">
          <ac:chgData name="Aurelien Domont" userId="6da7715ce44349b3" providerId="LiveId" clId="{AABA1416-4740-4FEA-A91C-A3DACBE38F86}" dt="2023-11-03T04:51:05.669" v="7270"/>
          <ac:spMkLst>
            <pc:docMk/>
            <pc:sldMk cId="1252826214" sldId="1711"/>
            <ac:spMk id="367" creationId="{B3CF7CF2-278F-B6F7-05BB-EEE5C906FC4B}"/>
          </ac:spMkLst>
        </pc:spChg>
        <pc:spChg chg="mod">
          <ac:chgData name="Aurelien Domont" userId="6da7715ce44349b3" providerId="LiveId" clId="{AABA1416-4740-4FEA-A91C-A3DACBE38F86}" dt="2023-11-03T04:51:05.669" v="7270"/>
          <ac:spMkLst>
            <pc:docMk/>
            <pc:sldMk cId="1252826214" sldId="1711"/>
            <ac:spMk id="368" creationId="{1DE425B8-7352-07B5-9AF9-615B39A0EE47}"/>
          </ac:spMkLst>
        </pc:spChg>
        <pc:spChg chg="mod">
          <ac:chgData name="Aurelien Domont" userId="6da7715ce44349b3" providerId="LiveId" clId="{AABA1416-4740-4FEA-A91C-A3DACBE38F86}" dt="2023-11-03T04:51:05.705" v="7312"/>
          <ac:spMkLst>
            <pc:docMk/>
            <pc:sldMk cId="1252826214" sldId="1711"/>
            <ac:spMk id="370" creationId="{29DA953F-4543-BFD0-19FF-3046513B470E}"/>
          </ac:spMkLst>
        </pc:spChg>
        <pc:spChg chg="mod">
          <ac:chgData name="Aurelien Domont" userId="6da7715ce44349b3" providerId="LiveId" clId="{AABA1416-4740-4FEA-A91C-A3DACBE38F86}" dt="2023-11-03T04:51:05.705" v="7312"/>
          <ac:spMkLst>
            <pc:docMk/>
            <pc:sldMk cId="1252826214" sldId="1711"/>
            <ac:spMk id="371" creationId="{5705D01C-E5C8-EF11-86F5-82519EF0C60F}"/>
          </ac:spMkLst>
        </pc:spChg>
        <pc:spChg chg="mod">
          <ac:chgData name="Aurelien Domont" userId="6da7715ce44349b3" providerId="LiveId" clId="{AABA1416-4740-4FEA-A91C-A3DACBE38F86}" dt="2023-11-03T04:51:05.705" v="7312"/>
          <ac:spMkLst>
            <pc:docMk/>
            <pc:sldMk cId="1252826214" sldId="1711"/>
            <ac:spMk id="372" creationId="{824C98A8-1A09-EF8F-DC1B-26C703F5F4A3}"/>
          </ac:spMkLst>
        </pc:spChg>
        <pc:spChg chg="mod">
          <ac:chgData name="Aurelien Domont" userId="6da7715ce44349b3" providerId="LiveId" clId="{AABA1416-4740-4FEA-A91C-A3DACBE38F86}" dt="2023-11-03T04:51:05.705" v="7312"/>
          <ac:spMkLst>
            <pc:docMk/>
            <pc:sldMk cId="1252826214" sldId="1711"/>
            <ac:spMk id="373" creationId="{46853E58-38AB-1ADD-9138-B9D50D0F8ACA}"/>
          </ac:spMkLst>
        </pc:spChg>
        <pc:spChg chg="mod">
          <ac:chgData name="Aurelien Domont" userId="6da7715ce44349b3" providerId="LiveId" clId="{AABA1416-4740-4FEA-A91C-A3DACBE38F86}" dt="2023-11-03T04:51:05.705" v="7312"/>
          <ac:spMkLst>
            <pc:docMk/>
            <pc:sldMk cId="1252826214" sldId="1711"/>
            <ac:spMk id="374" creationId="{4D145DED-F40E-B26B-3526-CA8B46B5601B}"/>
          </ac:spMkLst>
        </pc:spChg>
        <pc:spChg chg="mod">
          <ac:chgData name="Aurelien Domont" userId="6da7715ce44349b3" providerId="LiveId" clId="{AABA1416-4740-4FEA-A91C-A3DACBE38F86}" dt="2023-11-03T04:51:05.705" v="7312"/>
          <ac:spMkLst>
            <pc:docMk/>
            <pc:sldMk cId="1252826214" sldId="1711"/>
            <ac:spMk id="375" creationId="{A42B3C86-8054-CB00-69E8-20468D52D387}"/>
          </ac:spMkLst>
        </pc:spChg>
        <pc:spChg chg="add mod">
          <ac:chgData name="Aurelien Domont" userId="6da7715ce44349b3" providerId="LiveId" clId="{AABA1416-4740-4FEA-A91C-A3DACBE38F86}" dt="2023-11-03T04:51:05.709" v="7319"/>
          <ac:spMkLst>
            <pc:docMk/>
            <pc:sldMk cId="1252826214" sldId="1711"/>
            <ac:spMk id="376" creationId="{1568C558-D446-1671-8751-17418BD6CBD1}"/>
          </ac:spMkLst>
        </pc:spChg>
        <pc:spChg chg="add mod">
          <ac:chgData name="Aurelien Domont" userId="6da7715ce44349b3" providerId="LiveId" clId="{AABA1416-4740-4FEA-A91C-A3DACBE38F86}" dt="2023-11-03T04:51:05.713" v="7326"/>
          <ac:spMkLst>
            <pc:docMk/>
            <pc:sldMk cId="1252826214" sldId="1711"/>
            <ac:spMk id="377" creationId="{0ED6DCD3-AD1D-7325-E550-53A8F55726EC}"/>
          </ac:spMkLst>
        </pc:spChg>
        <pc:spChg chg="add mod">
          <ac:chgData name="Aurelien Domont" userId="6da7715ce44349b3" providerId="LiveId" clId="{AABA1416-4740-4FEA-A91C-A3DACBE38F86}" dt="2023-11-03T04:51:05.717" v="7333"/>
          <ac:spMkLst>
            <pc:docMk/>
            <pc:sldMk cId="1252826214" sldId="1711"/>
            <ac:spMk id="378" creationId="{EE29555A-FC19-50A4-82DD-375B0424EE44}"/>
          </ac:spMkLst>
        </pc:spChg>
        <pc:spChg chg="add mod">
          <ac:chgData name="Aurelien Domont" userId="6da7715ce44349b3" providerId="LiveId" clId="{AABA1416-4740-4FEA-A91C-A3DACBE38F86}" dt="2023-11-03T04:51:05.722" v="7340"/>
          <ac:spMkLst>
            <pc:docMk/>
            <pc:sldMk cId="1252826214" sldId="1711"/>
            <ac:spMk id="379" creationId="{00CCAA9A-3A7A-A39E-5388-49BCB9D67498}"/>
          </ac:spMkLst>
        </pc:spChg>
        <pc:spChg chg="add mod">
          <ac:chgData name="Aurelien Domont" userId="6da7715ce44349b3" providerId="LiveId" clId="{AABA1416-4740-4FEA-A91C-A3DACBE38F86}" dt="2023-11-03T04:51:05.726" v="7347"/>
          <ac:spMkLst>
            <pc:docMk/>
            <pc:sldMk cId="1252826214" sldId="1711"/>
            <ac:spMk id="380" creationId="{AFC1E5B6-3DC0-97A4-39CF-DBEC5A1A58D8}"/>
          </ac:spMkLst>
        </pc:spChg>
        <pc:spChg chg="add mod">
          <ac:chgData name="Aurelien Domont" userId="6da7715ce44349b3" providerId="LiveId" clId="{AABA1416-4740-4FEA-A91C-A3DACBE38F86}" dt="2023-11-03T04:51:05.731" v="7354"/>
          <ac:spMkLst>
            <pc:docMk/>
            <pc:sldMk cId="1252826214" sldId="1711"/>
            <ac:spMk id="381" creationId="{3934AB26-1A84-9BAA-2603-2655D5DA0DE8}"/>
          </ac:spMkLst>
        </pc:spChg>
        <pc:spChg chg="add mod">
          <ac:chgData name="Aurelien Domont" userId="6da7715ce44349b3" providerId="LiveId" clId="{AABA1416-4740-4FEA-A91C-A3DACBE38F86}" dt="2023-11-03T04:51:05.735" v="7361"/>
          <ac:spMkLst>
            <pc:docMk/>
            <pc:sldMk cId="1252826214" sldId="1711"/>
            <ac:spMk id="382" creationId="{867CC169-715D-C2DD-34A0-75DDCC9CFDF0}"/>
          </ac:spMkLst>
        </pc:spChg>
        <pc:spChg chg="add mod">
          <ac:chgData name="Aurelien Domont" userId="6da7715ce44349b3" providerId="LiveId" clId="{AABA1416-4740-4FEA-A91C-A3DACBE38F86}" dt="2023-11-03T04:51:05.740" v="7368"/>
          <ac:spMkLst>
            <pc:docMk/>
            <pc:sldMk cId="1252826214" sldId="1711"/>
            <ac:spMk id="383" creationId="{79E7DA41-B9E6-A76A-6D81-4ACA5F00DC29}"/>
          </ac:spMkLst>
        </pc:spChg>
        <pc:spChg chg="add mod">
          <ac:chgData name="Aurelien Domont" userId="6da7715ce44349b3" providerId="LiveId" clId="{AABA1416-4740-4FEA-A91C-A3DACBE38F86}" dt="2023-11-03T04:51:05.744" v="7375"/>
          <ac:spMkLst>
            <pc:docMk/>
            <pc:sldMk cId="1252826214" sldId="1711"/>
            <ac:spMk id="384" creationId="{46B54B0C-826F-7A83-DB9E-A013756213A0}"/>
          </ac:spMkLst>
        </pc:spChg>
        <pc:spChg chg="add mod">
          <ac:chgData name="Aurelien Domont" userId="6da7715ce44349b3" providerId="LiveId" clId="{AABA1416-4740-4FEA-A91C-A3DACBE38F86}" dt="2023-11-03T04:51:05.750" v="7382"/>
          <ac:spMkLst>
            <pc:docMk/>
            <pc:sldMk cId="1252826214" sldId="1711"/>
            <ac:spMk id="385" creationId="{D38E5C9C-659A-C404-D244-4823345AE590}"/>
          </ac:spMkLst>
        </pc:spChg>
        <pc:spChg chg="add mod">
          <ac:chgData name="Aurelien Domont" userId="6da7715ce44349b3" providerId="LiveId" clId="{AABA1416-4740-4FEA-A91C-A3DACBE38F86}" dt="2023-11-03T04:51:05.753" v="7389"/>
          <ac:spMkLst>
            <pc:docMk/>
            <pc:sldMk cId="1252826214" sldId="1711"/>
            <ac:spMk id="386" creationId="{7B883237-366F-F5E2-0E68-4A24C28582C2}"/>
          </ac:spMkLst>
        </pc:spChg>
        <pc:spChg chg="add mod">
          <ac:chgData name="Aurelien Domont" userId="6da7715ce44349b3" providerId="LiveId" clId="{AABA1416-4740-4FEA-A91C-A3DACBE38F86}" dt="2023-11-03T04:51:05.758" v="7396"/>
          <ac:spMkLst>
            <pc:docMk/>
            <pc:sldMk cId="1252826214" sldId="1711"/>
            <ac:spMk id="387" creationId="{592EE26A-4674-D13F-EB37-F58D4407D371}"/>
          </ac:spMkLst>
        </pc:spChg>
        <pc:spChg chg="add mod">
          <ac:chgData name="Aurelien Domont" userId="6da7715ce44349b3" providerId="LiveId" clId="{AABA1416-4740-4FEA-A91C-A3DACBE38F86}" dt="2023-11-03T04:51:05.762" v="7403"/>
          <ac:spMkLst>
            <pc:docMk/>
            <pc:sldMk cId="1252826214" sldId="1711"/>
            <ac:spMk id="388" creationId="{DF78AB6F-0E9E-CFB6-5B08-4F52BC0282D0}"/>
          </ac:spMkLst>
        </pc:spChg>
        <pc:spChg chg="add mod">
          <ac:chgData name="Aurelien Domont" userId="6da7715ce44349b3" providerId="LiveId" clId="{AABA1416-4740-4FEA-A91C-A3DACBE38F86}" dt="2023-11-03T04:51:05.767" v="7410"/>
          <ac:spMkLst>
            <pc:docMk/>
            <pc:sldMk cId="1252826214" sldId="1711"/>
            <ac:spMk id="389" creationId="{F8ACBEDE-D148-FC3A-D54E-EBB443402B79}"/>
          </ac:spMkLst>
        </pc:spChg>
        <pc:spChg chg="mod">
          <ac:chgData name="Aurelien Domont" userId="6da7715ce44349b3" providerId="LiveId" clId="{AABA1416-4740-4FEA-A91C-A3DACBE38F86}" dt="2023-11-03T04:51:05.780" v="7431"/>
          <ac:spMkLst>
            <pc:docMk/>
            <pc:sldMk cId="1252826214" sldId="1711"/>
            <ac:spMk id="391" creationId="{582F724E-BA9B-CE0F-2B9C-CA29E9A12530}"/>
          </ac:spMkLst>
        </pc:spChg>
        <pc:spChg chg="mod">
          <ac:chgData name="Aurelien Domont" userId="6da7715ce44349b3" providerId="LiveId" clId="{AABA1416-4740-4FEA-A91C-A3DACBE38F86}" dt="2023-11-03T04:51:05.780" v="7431"/>
          <ac:spMkLst>
            <pc:docMk/>
            <pc:sldMk cId="1252826214" sldId="1711"/>
            <ac:spMk id="392" creationId="{EC21D29F-59D6-5240-05B0-3B55F3A030CA}"/>
          </ac:spMkLst>
        </pc:spChg>
        <pc:spChg chg="mod">
          <ac:chgData name="Aurelien Domont" userId="6da7715ce44349b3" providerId="LiveId" clId="{AABA1416-4740-4FEA-A91C-A3DACBE38F86}" dt="2023-11-03T04:51:05.780" v="7431"/>
          <ac:spMkLst>
            <pc:docMk/>
            <pc:sldMk cId="1252826214" sldId="1711"/>
            <ac:spMk id="393" creationId="{4AFB650E-25F3-534F-6DFD-FF580D2213C7}"/>
          </ac:spMkLst>
        </pc:spChg>
        <pc:spChg chg="add mod">
          <ac:chgData name="Aurelien Domont" userId="6da7715ce44349b3" providerId="LiveId" clId="{AABA1416-4740-4FEA-A91C-A3DACBE38F86}" dt="2023-11-03T04:51:05.784" v="7438"/>
          <ac:spMkLst>
            <pc:docMk/>
            <pc:sldMk cId="1252826214" sldId="1711"/>
            <ac:spMk id="394" creationId="{E6429D68-7B03-FC29-9F8A-8BBCBABB97C2}"/>
          </ac:spMkLst>
        </pc:spChg>
        <pc:spChg chg="add mod">
          <ac:chgData name="Aurelien Domont" userId="6da7715ce44349b3" providerId="LiveId" clId="{AABA1416-4740-4FEA-A91C-A3DACBE38F86}" dt="2023-11-03T04:51:05.788" v="7445"/>
          <ac:spMkLst>
            <pc:docMk/>
            <pc:sldMk cId="1252826214" sldId="1711"/>
            <ac:spMk id="395" creationId="{CE787DFE-3EE1-4046-CBB6-CAA27D29BE00}"/>
          </ac:spMkLst>
        </pc:spChg>
        <pc:spChg chg="add mod">
          <ac:chgData name="Aurelien Domont" userId="6da7715ce44349b3" providerId="LiveId" clId="{AABA1416-4740-4FEA-A91C-A3DACBE38F86}" dt="2023-11-03T04:51:05.793" v="7452"/>
          <ac:spMkLst>
            <pc:docMk/>
            <pc:sldMk cId="1252826214" sldId="1711"/>
            <ac:spMk id="396" creationId="{55DB1638-DAB2-DBA5-B6F2-E08F02F2A2E8}"/>
          </ac:spMkLst>
        </pc:spChg>
        <pc:spChg chg="add mod">
          <ac:chgData name="Aurelien Domont" userId="6da7715ce44349b3" providerId="LiveId" clId="{AABA1416-4740-4FEA-A91C-A3DACBE38F86}" dt="2023-11-03T04:51:05.798" v="7459"/>
          <ac:spMkLst>
            <pc:docMk/>
            <pc:sldMk cId="1252826214" sldId="1711"/>
            <ac:spMk id="397" creationId="{4C93EA11-A7CF-BF47-DE55-7AEC00816158}"/>
          </ac:spMkLst>
        </pc:spChg>
        <pc:spChg chg="add mod">
          <ac:chgData name="Aurelien Domont" userId="6da7715ce44349b3" providerId="LiveId" clId="{AABA1416-4740-4FEA-A91C-A3DACBE38F86}" dt="2023-11-03T04:51:05.801" v="7466"/>
          <ac:spMkLst>
            <pc:docMk/>
            <pc:sldMk cId="1252826214" sldId="1711"/>
            <ac:spMk id="398" creationId="{0CA2F45E-8689-50DD-E482-B92BF4C19B3C}"/>
          </ac:spMkLst>
        </pc:spChg>
        <pc:spChg chg="add mod">
          <ac:chgData name="Aurelien Domont" userId="6da7715ce44349b3" providerId="LiveId" clId="{AABA1416-4740-4FEA-A91C-A3DACBE38F86}" dt="2023-11-03T04:51:05.805" v="7473"/>
          <ac:spMkLst>
            <pc:docMk/>
            <pc:sldMk cId="1252826214" sldId="1711"/>
            <ac:spMk id="399" creationId="{F0BA6A9A-C9C6-5AC6-90FB-505733FDB8F3}"/>
          </ac:spMkLst>
        </pc:spChg>
        <pc:spChg chg="add mod">
          <ac:chgData name="Aurelien Domont" userId="6da7715ce44349b3" providerId="LiveId" clId="{AABA1416-4740-4FEA-A91C-A3DACBE38F86}" dt="2023-11-03T04:51:05.809" v="7480"/>
          <ac:spMkLst>
            <pc:docMk/>
            <pc:sldMk cId="1252826214" sldId="1711"/>
            <ac:spMk id="400" creationId="{10BA08D3-9D43-69A0-19C4-748FF515DECE}"/>
          </ac:spMkLst>
        </pc:spChg>
        <pc:spChg chg="add mod">
          <ac:chgData name="Aurelien Domont" userId="6da7715ce44349b3" providerId="LiveId" clId="{AABA1416-4740-4FEA-A91C-A3DACBE38F86}" dt="2023-11-03T04:51:05.814" v="7487"/>
          <ac:spMkLst>
            <pc:docMk/>
            <pc:sldMk cId="1252826214" sldId="1711"/>
            <ac:spMk id="401" creationId="{0684D25C-733F-AA66-F021-682A0B7F3CB5}"/>
          </ac:spMkLst>
        </pc:spChg>
        <pc:spChg chg="add mod">
          <ac:chgData name="Aurelien Domont" userId="6da7715ce44349b3" providerId="LiveId" clId="{AABA1416-4740-4FEA-A91C-A3DACBE38F86}" dt="2023-11-03T04:51:05.818" v="7494"/>
          <ac:spMkLst>
            <pc:docMk/>
            <pc:sldMk cId="1252826214" sldId="1711"/>
            <ac:spMk id="402" creationId="{88B85779-FDB3-F660-8974-0C565B4B63DE}"/>
          </ac:spMkLst>
        </pc:spChg>
        <pc:spChg chg="add mod">
          <ac:chgData name="Aurelien Domont" userId="6da7715ce44349b3" providerId="LiveId" clId="{AABA1416-4740-4FEA-A91C-A3DACBE38F86}" dt="2023-11-03T04:51:05.823" v="7501"/>
          <ac:spMkLst>
            <pc:docMk/>
            <pc:sldMk cId="1252826214" sldId="1711"/>
            <ac:spMk id="403" creationId="{99DBFBF0-567D-CDCE-ECFE-6CE118D64717}"/>
          </ac:spMkLst>
        </pc:spChg>
        <pc:spChg chg="add mod">
          <ac:chgData name="Aurelien Domont" userId="6da7715ce44349b3" providerId="LiveId" clId="{AABA1416-4740-4FEA-A91C-A3DACBE38F86}" dt="2023-11-03T04:51:05.827" v="7508"/>
          <ac:spMkLst>
            <pc:docMk/>
            <pc:sldMk cId="1252826214" sldId="1711"/>
            <ac:spMk id="404" creationId="{74AD24B6-892E-163B-7DAA-BB8F46CD1D67}"/>
          </ac:spMkLst>
        </pc:spChg>
        <pc:spChg chg="add mod">
          <ac:chgData name="Aurelien Domont" userId="6da7715ce44349b3" providerId="LiveId" clId="{AABA1416-4740-4FEA-A91C-A3DACBE38F86}" dt="2023-11-03T04:51:05.831" v="7515"/>
          <ac:spMkLst>
            <pc:docMk/>
            <pc:sldMk cId="1252826214" sldId="1711"/>
            <ac:spMk id="405" creationId="{76656D49-BC73-8874-601F-71828A008644}"/>
          </ac:spMkLst>
        </pc:spChg>
        <pc:spChg chg="add mod">
          <ac:chgData name="Aurelien Domont" userId="6da7715ce44349b3" providerId="LiveId" clId="{AABA1416-4740-4FEA-A91C-A3DACBE38F86}" dt="2023-11-03T04:51:05.836" v="7522"/>
          <ac:spMkLst>
            <pc:docMk/>
            <pc:sldMk cId="1252826214" sldId="1711"/>
            <ac:spMk id="406" creationId="{A46C9D63-D518-BBFB-93D3-8AE40A941E3B}"/>
          </ac:spMkLst>
        </pc:spChg>
        <pc:spChg chg="add mod">
          <ac:chgData name="Aurelien Domont" userId="6da7715ce44349b3" providerId="LiveId" clId="{AABA1416-4740-4FEA-A91C-A3DACBE38F86}" dt="2023-11-03T04:51:05.840" v="7529"/>
          <ac:spMkLst>
            <pc:docMk/>
            <pc:sldMk cId="1252826214" sldId="1711"/>
            <ac:spMk id="407" creationId="{2341D17C-A6B7-4F80-6B90-2666F484A0BC}"/>
          </ac:spMkLst>
        </pc:spChg>
        <pc:spChg chg="add mod">
          <ac:chgData name="Aurelien Domont" userId="6da7715ce44349b3" providerId="LiveId" clId="{AABA1416-4740-4FEA-A91C-A3DACBE38F86}" dt="2023-11-03T04:51:05.844" v="7536"/>
          <ac:spMkLst>
            <pc:docMk/>
            <pc:sldMk cId="1252826214" sldId="1711"/>
            <ac:spMk id="408" creationId="{61BB4970-CA67-7BEC-D3B3-9F7334D4506C}"/>
          </ac:spMkLst>
        </pc:spChg>
        <pc:spChg chg="add mod">
          <ac:chgData name="Aurelien Domont" userId="6da7715ce44349b3" providerId="LiveId" clId="{AABA1416-4740-4FEA-A91C-A3DACBE38F86}" dt="2023-11-03T04:51:05.848" v="7543"/>
          <ac:spMkLst>
            <pc:docMk/>
            <pc:sldMk cId="1252826214" sldId="1711"/>
            <ac:spMk id="409" creationId="{F19A3172-148F-4463-B2F4-FA087F681706}"/>
          </ac:spMkLst>
        </pc:spChg>
        <pc:spChg chg="add mod">
          <ac:chgData name="Aurelien Domont" userId="6da7715ce44349b3" providerId="LiveId" clId="{AABA1416-4740-4FEA-A91C-A3DACBE38F86}" dt="2023-11-03T04:51:05.853" v="7550"/>
          <ac:spMkLst>
            <pc:docMk/>
            <pc:sldMk cId="1252826214" sldId="1711"/>
            <ac:spMk id="410" creationId="{A28D9523-4D0E-E88E-276F-E6EEBA745F61}"/>
          </ac:spMkLst>
        </pc:spChg>
        <pc:spChg chg="add mod">
          <ac:chgData name="Aurelien Domont" userId="6da7715ce44349b3" providerId="LiveId" clId="{AABA1416-4740-4FEA-A91C-A3DACBE38F86}" dt="2023-11-03T04:51:05.857" v="7557"/>
          <ac:spMkLst>
            <pc:docMk/>
            <pc:sldMk cId="1252826214" sldId="1711"/>
            <ac:spMk id="411" creationId="{C092DCF7-0E92-BB00-D764-A6257FD35504}"/>
          </ac:spMkLst>
        </pc:spChg>
        <pc:spChg chg="add mod">
          <ac:chgData name="Aurelien Domont" userId="6da7715ce44349b3" providerId="LiveId" clId="{AABA1416-4740-4FEA-A91C-A3DACBE38F86}" dt="2023-11-03T04:51:05.861" v="7564"/>
          <ac:spMkLst>
            <pc:docMk/>
            <pc:sldMk cId="1252826214" sldId="1711"/>
            <ac:spMk id="412" creationId="{8F468F01-980B-2DAE-5303-6FF9728ADDBA}"/>
          </ac:spMkLst>
        </pc:spChg>
        <pc:spChg chg="add mod">
          <ac:chgData name="Aurelien Domont" userId="6da7715ce44349b3" providerId="LiveId" clId="{AABA1416-4740-4FEA-A91C-A3DACBE38F86}" dt="2023-11-03T04:51:05.865" v="7571"/>
          <ac:spMkLst>
            <pc:docMk/>
            <pc:sldMk cId="1252826214" sldId="1711"/>
            <ac:spMk id="413" creationId="{9B9E70D4-26C7-8110-DC24-4E92DCBFFE51}"/>
          </ac:spMkLst>
        </pc:spChg>
        <pc:spChg chg="add mod">
          <ac:chgData name="Aurelien Domont" userId="6da7715ce44349b3" providerId="LiveId" clId="{AABA1416-4740-4FEA-A91C-A3DACBE38F86}" dt="2023-11-03T04:51:05.870" v="7578"/>
          <ac:spMkLst>
            <pc:docMk/>
            <pc:sldMk cId="1252826214" sldId="1711"/>
            <ac:spMk id="414" creationId="{E7F19B09-81BF-CF02-0D85-41CD8FC2A1F5}"/>
          </ac:spMkLst>
        </pc:spChg>
        <pc:spChg chg="add mod">
          <ac:chgData name="Aurelien Domont" userId="6da7715ce44349b3" providerId="LiveId" clId="{AABA1416-4740-4FEA-A91C-A3DACBE38F86}" dt="2023-11-03T04:51:05.874" v="7585"/>
          <ac:spMkLst>
            <pc:docMk/>
            <pc:sldMk cId="1252826214" sldId="1711"/>
            <ac:spMk id="415" creationId="{D3B9FE4D-175B-AE4F-DCA2-9F7D60733672}"/>
          </ac:spMkLst>
        </pc:spChg>
        <pc:spChg chg="add mod">
          <ac:chgData name="Aurelien Domont" userId="6da7715ce44349b3" providerId="LiveId" clId="{AABA1416-4740-4FEA-A91C-A3DACBE38F86}" dt="2023-11-03T04:51:05.878" v="7592"/>
          <ac:spMkLst>
            <pc:docMk/>
            <pc:sldMk cId="1252826214" sldId="1711"/>
            <ac:spMk id="416" creationId="{99ABD4A4-0EAB-42EF-B3F3-810E9249FB3B}"/>
          </ac:spMkLst>
        </pc:spChg>
        <pc:spChg chg="add mod">
          <ac:chgData name="Aurelien Domont" userId="6da7715ce44349b3" providerId="LiveId" clId="{AABA1416-4740-4FEA-A91C-A3DACBE38F86}" dt="2023-11-03T04:51:05.882" v="7599"/>
          <ac:spMkLst>
            <pc:docMk/>
            <pc:sldMk cId="1252826214" sldId="1711"/>
            <ac:spMk id="417" creationId="{CA932C6C-813D-6BDC-A866-164EE1CF4F44}"/>
          </ac:spMkLst>
        </pc:spChg>
        <pc:spChg chg="add mod">
          <ac:chgData name="Aurelien Domont" userId="6da7715ce44349b3" providerId="LiveId" clId="{AABA1416-4740-4FEA-A91C-A3DACBE38F86}" dt="2023-11-03T04:51:05.887" v="7606"/>
          <ac:spMkLst>
            <pc:docMk/>
            <pc:sldMk cId="1252826214" sldId="1711"/>
            <ac:spMk id="418" creationId="{935541FC-B985-BB13-363F-067A9C6C3FE8}"/>
          </ac:spMkLst>
        </pc:spChg>
        <pc:spChg chg="add mod">
          <ac:chgData name="Aurelien Domont" userId="6da7715ce44349b3" providerId="LiveId" clId="{AABA1416-4740-4FEA-A91C-A3DACBE38F86}" dt="2023-11-03T04:51:05.891" v="7613"/>
          <ac:spMkLst>
            <pc:docMk/>
            <pc:sldMk cId="1252826214" sldId="1711"/>
            <ac:spMk id="419" creationId="{B204DF34-B4D7-0B75-2A18-49BE33B93BDA}"/>
          </ac:spMkLst>
        </pc:spChg>
        <pc:spChg chg="add mod">
          <ac:chgData name="Aurelien Domont" userId="6da7715ce44349b3" providerId="LiveId" clId="{AABA1416-4740-4FEA-A91C-A3DACBE38F86}" dt="2023-11-03T04:51:05.895" v="7620"/>
          <ac:spMkLst>
            <pc:docMk/>
            <pc:sldMk cId="1252826214" sldId="1711"/>
            <ac:spMk id="420" creationId="{E3101285-D8DD-DBAA-96F3-ADEA613202AD}"/>
          </ac:spMkLst>
        </pc:spChg>
        <pc:spChg chg="add mod">
          <ac:chgData name="Aurelien Domont" userId="6da7715ce44349b3" providerId="LiveId" clId="{AABA1416-4740-4FEA-A91C-A3DACBE38F86}" dt="2023-11-03T04:51:05.899" v="7627"/>
          <ac:spMkLst>
            <pc:docMk/>
            <pc:sldMk cId="1252826214" sldId="1711"/>
            <ac:spMk id="421" creationId="{3B302022-024E-0AB2-02F9-F6749FEBC720}"/>
          </ac:spMkLst>
        </pc:spChg>
        <pc:spChg chg="add mod">
          <ac:chgData name="Aurelien Domont" userId="6da7715ce44349b3" providerId="LiveId" clId="{AABA1416-4740-4FEA-A91C-A3DACBE38F86}" dt="2023-11-03T04:51:05.903" v="7634"/>
          <ac:spMkLst>
            <pc:docMk/>
            <pc:sldMk cId="1252826214" sldId="1711"/>
            <ac:spMk id="422" creationId="{DD7F6081-5B2C-762D-99DD-A4B236B95894}"/>
          </ac:spMkLst>
        </pc:spChg>
        <pc:spChg chg="add mod">
          <ac:chgData name="Aurelien Domont" userId="6da7715ce44349b3" providerId="LiveId" clId="{AABA1416-4740-4FEA-A91C-A3DACBE38F86}" dt="2023-11-03T04:51:05.907" v="7641"/>
          <ac:spMkLst>
            <pc:docMk/>
            <pc:sldMk cId="1252826214" sldId="1711"/>
            <ac:spMk id="423" creationId="{E5A62FF4-5DDE-157D-663D-159A7B407F8F}"/>
          </ac:spMkLst>
        </pc:spChg>
        <pc:spChg chg="add mod">
          <ac:chgData name="Aurelien Domont" userId="6da7715ce44349b3" providerId="LiveId" clId="{AABA1416-4740-4FEA-A91C-A3DACBE38F86}" dt="2023-11-03T04:51:05.911" v="7648"/>
          <ac:spMkLst>
            <pc:docMk/>
            <pc:sldMk cId="1252826214" sldId="1711"/>
            <ac:spMk id="424" creationId="{65A6EFAA-AF01-DDAC-21F5-3492DEE31CE3}"/>
          </ac:spMkLst>
        </pc:spChg>
        <pc:spChg chg="add mod">
          <ac:chgData name="Aurelien Domont" userId="6da7715ce44349b3" providerId="LiveId" clId="{AABA1416-4740-4FEA-A91C-A3DACBE38F86}" dt="2023-11-03T04:51:05.915" v="7655"/>
          <ac:spMkLst>
            <pc:docMk/>
            <pc:sldMk cId="1252826214" sldId="1711"/>
            <ac:spMk id="425" creationId="{6C103EE8-ADEC-5789-0D6A-444AD9542FF4}"/>
          </ac:spMkLst>
        </pc:spChg>
        <pc:spChg chg="add mod">
          <ac:chgData name="Aurelien Domont" userId="6da7715ce44349b3" providerId="LiveId" clId="{AABA1416-4740-4FEA-A91C-A3DACBE38F86}" dt="2023-11-03T04:51:05.919" v="7662"/>
          <ac:spMkLst>
            <pc:docMk/>
            <pc:sldMk cId="1252826214" sldId="1711"/>
            <ac:spMk id="426" creationId="{EEDF1D2F-A198-1BDB-F817-5B392D99BD52}"/>
          </ac:spMkLst>
        </pc:spChg>
        <pc:spChg chg="add mod">
          <ac:chgData name="Aurelien Domont" userId="6da7715ce44349b3" providerId="LiveId" clId="{AABA1416-4740-4FEA-A91C-A3DACBE38F86}" dt="2023-11-03T04:51:05.923" v="7669"/>
          <ac:spMkLst>
            <pc:docMk/>
            <pc:sldMk cId="1252826214" sldId="1711"/>
            <ac:spMk id="427" creationId="{3C23F008-A36D-C20A-7379-9B023D616660}"/>
          </ac:spMkLst>
        </pc:spChg>
        <pc:spChg chg="add mod">
          <ac:chgData name="Aurelien Domont" userId="6da7715ce44349b3" providerId="LiveId" clId="{AABA1416-4740-4FEA-A91C-A3DACBE38F86}" dt="2023-11-03T04:51:05.928" v="7676"/>
          <ac:spMkLst>
            <pc:docMk/>
            <pc:sldMk cId="1252826214" sldId="1711"/>
            <ac:spMk id="428" creationId="{8E8DFFDC-8DF1-1253-B58C-86AB5BBCFA96}"/>
          </ac:spMkLst>
        </pc:spChg>
        <pc:spChg chg="add mod">
          <ac:chgData name="Aurelien Domont" userId="6da7715ce44349b3" providerId="LiveId" clId="{AABA1416-4740-4FEA-A91C-A3DACBE38F86}" dt="2023-11-03T04:51:05.934" v="7683"/>
          <ac:spMkLst>
            <pc:docMk/>
            <pc:sldMk cId="1252826214" sldId="1711"/>
            <ac:spMk id="429" creationId="{2A77859A-C157-AC48-6E3C-BE297CF1FF25}"/>
          </ac:spMkLst>
        </pc:spChg>
        <pc:spChg chg="add mod">
          <ac:chgData name="Aurelien Domont" userId="6da7715ce44349b3" providerId="LiveId" clId="{AABA1416-4740-4FEA-A91C-A3DACBE38F86}" dt="2023-11-03T04:51:05.938" v="7690"/>
          <ac:spMkLst>
            <pc:docMk/>
            <pc:sldMk cId="1252826214" sldId="1711"/>
            <ac:spMk id="430" creationId="{BD97B3E1-5802-E98C-5765-52826C99422F}"/>
          </ac:spMkLst>
        </pc:spChg>
        <pc:spChg chg="add mod">
          <ac:chgData name="Aurelien Domont" userId="6da7715ce44349b3" providerId="LiveId" clId="{AABA1416-4740-4FEA-A91C-A3DACBE38F86}" dt="2023-11-03T04:51:05.942" v="7697"/>
          <ac:spMkLst>
            <pc:docMk/>
            <pc:sldMk cId="1252826214" sldId="1711"/>
            <ac:spMk id="431" creationId="{581E7917-DFF7-13C2-F2D4-D80C5DD7097B}"/>
          </ac:spMkLst>
        </pc:spChg>
        <pc:spChg chg="add mod">
          <ac:chgData name="Aurelien Domont" userId="6da7715ce44349b3" providerId="LiveId" clId="{AABA1416-4740-4FEA-A91C-A3DACBE38F86}" dt="2023-11-03T04:51:05.946" v="7704"/>
          <ac:spMkLst>
            <pc:docMk/>
            <pc:sldMk cId="1252826214" sldId="1711"/>
            <ac:spMk id="432" creationId="{6AEFD078-81B5-95D8-9C94-991FA9170CFD}"/>
          </ac:spMkLst>
        </pc:spChg>
        <pc:spChg chg="add mod">
          <ac:chgData name="Aurelien Domont" userId="6da7715ce44349b3" providerId="LiveId" clId="{AABA1416-4740-4FEA-A91C-A3DACBE38F86}" dt="2023-11-03T04:51:05.950" v="7711"/>
          <ac:spMkLst>
            <pc:docMk/>
            <pc:sldMk cId="1252826214" sldId="1711"/>
            <ac:spMk id="433" creationId="{26E4D31E-061A-090B-3B83-E0B95BE377CC}"/>
          </ac:spMkLst>
        </pc:spChg>
        <pc:spChg chg="add mod">
          <ac:chgData name="Aurelien Domont" userId="6da7715ce44349b3" providerId="LiveId" clId="{AABA1416-4740-4FEA-A91C-A3DACBE38F86}" dt="2023-11-03T04:51:05.954" v="7718"/>
          <ac:spMkLst>
            <pc:docMk/>
            <pc:sldMk cId="1252826214" sldId="1711"/>
            <ac:spMk id="434" creationId="{F087090F-BE05-A7F2-57E2-353DEBA8D76C}"/>
          </ac:spMkLst>
        </pc:spChg>
        <pc:spChg chg="add mod">
          <ac:chgData name="Aurelien Domont" userId="6da7715ce44349b3" providerId="LiveId" clId="{AABA1416-4740-4FEA-A91C-A3DACBE38F86}" dt="2023-11-03T04:51:05.957" v="7721" actId="139"/>
          <ac:spMkLst>
            <pc:docMk/>
            <pc:sldMk cId="1252826214" sldId="1711"/>
            <ac:spMk id="435" creationId="{D3A699EB-E23D-E983-92A1-90E9F6E1FB13}"/>
          </ac:spMkLst>
        </pc:spChg>
        <pc:spChg chg="add mod">
          <ac:chgData name="Aurelien Domont" userId="6da7715ce44349b3" providerId="LiveId" clId="{AABA1416-4740-4FEA-A91C-A3DACBE38F86}" dt="2023-11-03T04:51:05.960" v="7724" actId="139"/>
          <ac:spMkLst>
            <pc:docMk/>
            <pc:sldMk cId="1252826214" sldId="1711"/>
            <ac:spMk id="436" creationId="{DE639E82-1AF2-C30B-7F0E-5A90B0D8460E}"/>
          </ac:spMkLst>
        </pc:spChg>
        <pc:spChg chg="add mod">
          <ac:chgData name="Aurelien Domont" userId="6da7715ce44349b3" providerId="LiveId" clId="{AABA1416-4740-4FEA-A91C-A3DACBE38F86}" dt="2023-11-03T04:51:05.964" v="7731"/>
          <ac:spMkLst>
            <pc:docMk/>
            <pc:sldMk cId="1252826214" sldId="1711"/>
            <ac:spMk id="437" creationId="{7E9AF055-415A-A3A3-BCA6-B2C3AF3DA8BE}"/>
          </ac:spMkLst>
        </pc:spChg>
        <pc:spChg chg="add mod">
          <ac:chgData name="Aurelien Domont" userId="6da7715ce44349b3" providerId="LiveId" clId="{AABA1416-4740-4FEA-A91C-A3DACBE38F86}" dt="2023-11-03T04:51:05.968" v="7738"/>
          <ac:spMkLst>
            <pc:docMk/>
            <pc:sldMk cId="1252826214" sldId="1711"/>
            <ac:spMk id="438" creationId="{22046AD9-4A2C-399F-E008-8B185E6E72A2}"/>
          </ac:spMkLst>
        </pc:spChg>
        <pc:spChg chg="add mod">
          <ac:chgData name="Aurelien Domont" userId="6da7715ce44349b3" providerId="LiveId" clId="{AABA1416-4740-4FEA-A91C-A3DACBE38F86}" dt="2023-11-03T04:51:05.972" v="7745"/>
          <ac:spMkLst>
            <pc:docMk/>
            <pc:sldMk cId="1252826214" sldId="1711"/>
            <ac:spMk id="439" creationId="{2DE28119-EE20-00F5-EBBF-79AB724C3978}"/>
          </ac:spMkLst>
        </pc:spChg>
        <pc:spChg chg="add mod">
          <ac:chgData name="Aurelien Domont" userId="6da7715ce44349b3" providerId="LiveId" clId="{AABA1416-4740-4FEA-A91C-A3DACBE38F86}" dt="2023-11-03T04:51:05.976" v="7752"/>
          <ac:spMkLst>
            <pc:docMk/>
            <pc:sldMk cId="1252826214" sldId="1711"/>
            <ac:spMk id="440" creationId="{721900BE-30AE-B6A6-97B3-7A10D574E7F7}"/>
          </ac:spMkLst>
        </pc:spChg>
        <pc:spChg chg="add mod">
          <ac:chgData name="Aurelien Domont" userId="6da7715ce44349b3" providerId="LiveId" clId="{AABA1416-4740-4FEA-A91C-A3DACBE38F86}" dt="2023-11-03T04:51:05.981" v="7759"/>
          <ac:spMkLst>
            <pc:docMk/>
            <pc:sldMk cId="1252826214" sldId="1711"/>
            <ac:spMk id="441" creationId="{D6B63F8C-EA66-37B7-BC73-1F80934072F4}"/>
          </ac:spMkLst>
        </pc:spChg>
        <pc:spChg chg="add mod">
          <ac:chgData name="Aurelien Domont" userId="6da7715ce44349b3" providerId="LiveId" clId="{AABA1416-4740-4FEA-A91C-A3DACBE38F86}" dt="2023-11-03T04:51:05.986" v="7766"/>
          <ac:spMkLst>
            <pc:docMk/>
            <pc:sldMk cId="1252826214" sldId="1711"/>
            <ac:spMk id="442" creationId="{9B725DA7-3E3E-1808-7D9D-BF23EF2A61D2}"/>
          </ac:spMkLst>
        </pc:spChg>
        <pc:spChg chg="add mod">
          <ac:chgData name="Aurelien Domont" userId="6da7715ce44349b3" providerId="LiveId" clId="{AABA1416-4740-4FEA-A91C-A3DACBE38F86}" dt="2023-11-03T04:51:05.990" v="7773"/>
          <ac:spMkLst>
            <pc:docMk/>
            <pc:sldMk cId="1252826214" sldId="1711"/>
            <ac:spMk id="443" creationId="{505E5557-70F8-246D-BDBA-59A1DBA8FEFA}"/>
          </ac:spMkLst>
        </pc:spChg>
        <pc:spChg chg="add mod">
          <ac:chgData name="Aurelien Domont" userId="6da7715ce44349b3" providerId="LiveId" clId="{AABA1416-4740-4FEA-A91C-A3DACBE38F86}" dt="2023-11-03T04:51:05.994" v="7780"/>
          <ac:spMkLst>
            <pc:docMk/>
            <pc:sldMk cId="1252826214" sldId="1711"/>
            <ac:spMk id="444" creationId="{7654F90E-7443-736C-17E0-FAD04231CF36}"/>
          </ac:spMkLst>
        </pc:spChg>
        <pc:spChg chg="add mod">
          <ac:chgData name="Aurelien Domont" userId="6da7715ce44349b3" providerId="LiveId" clId="{AABA1416-4740-4FEA-A91C-A3DACBE38F86}" dt="2023-11-03T04:51:05.997" v="7783" actId="139"/>
          <ac:spMkLst>
            <pc:docMk/>
            <pc:sldMk cId="1252826214" sldId="1711"/>
            <ac:spMk id="445" creationId="{8F7052F2-CA4D-B8D5-5B72-342F6EE8243E}"/>
          </ac:spMkLst>
        </pc:spChg>
        <pc:spChg chg="add mod">
          <ac:chgData name="Aurelien Domont" userId="6da7715ce44349b3" providerId="LiveId" clId="{AABA1416-4740-4FEA-A91C-A3DACBE38F86}" dt="2023-11-03T04:51:06.001" v="7790"/>
          <ac:spMkLst>
            <pc:docMk/>
            <pc:sldMk cId="1252826214" sldId="1711"/>
            <ac:spMk id="446" creationId="{A0FDC1FF-F90F-21A3-02DC-D37D9DD71679}"/>
          </ac:spMkLst>
        </pc:spChg>
        <pc:spChg chg="add mod">
          <ac:chgData name="Aurelien Domont" userId="6da7715ce44349b3" providerId="LiveId" clId="{AABA1416-4740-4FEA-A91C-A3DACBE38F86}" dt="2023-11-03T04:51:06.005" v="7797"/>
          <ac:spMkLst>
            <pc:docMk/>
            <pc:sldMk cId="1252826214" sldId="1711"/>
            <ac:spMk id="447" creationId="{AA4AC2F0-E5CD-403F-DDF0-25455E8F1BCD}"/>
          </ac:spMkLst>
        </pc:spChg>
        <pc:spChg chg="add mod">
          <ac:chgData name="Aurelien Domont" userId="6da7715ce44349b3" providerId="LiveId" clId="{AABA1416-4740-4FEA-A91C-A3DACBE38F86}" dt="2023-11-03T04:51:06.009" v="7804"/>
          <ac:spMkLst>
            <pc:docMk/>
            <pc:sldMk cId="1252826214" sldId="1711"/>
            <ac:spMk id="448" creationId="{36BD077B-86D8-7FA9-DF0B-025039769FAF}"/>
          </ac:spMkLst>
        </pc:spChg>
        <pc:spChg chg="add mod">
          <ac:chgData name="Aurelien Domont" userId="6da7715ce44349b3" providerId="LiveId" clId="{AABA1416-4740-4FEA-A91C-A3DACBE38F86}" dt="2023-11-03T04:51:06.013" v="7811"/>
          <ac:spMkLst>
            <pc:docMk/>
            <pc:sldMk cId="1252826214" sldId="1711"/>
            <ac:spMk id="449" creationId="{61DE6529-19E9-C1EB-AFE0-8590E2B5AB90}"/>
          </ac:spMkLst>
        </pc:spChg>
        <pc:spChg chg="add mod">
          <ac:chgData name="Aurelien Domont" userId="6da7715ce44349b3" providerId="LiveId" clId="{AABA1416-4740-4FEA-A91C-A3DACBE38F86}" dt="2023-11-03T04:51:06.017" v="7818"/>
          <ac:spMkLst>
            <pc:docMk/>
            <pc:sldMk cId="1252826214" sldId="1711"/>
            <ac:spMk id="450" creationId="{93A14D62-A248-01F3-1557-1392CA73B023}"/>
          </ac:spMkLst>
        </pc:spChg>
        <pc:spChg chg="add mod">
          <ac:chgData name="Aurelien Domont" userId="6da7715ce44349b3" providerId="LiveId" clId="{AABA1416-4740-4FEA-A91C-A3DACBE38F86}" dt="2023-11-03T04:51:06.021" v="7825"/>
          <ac:spMkLst>
            <pc:docMk/>
            <pc:sldMk cId="1252826214" sldId="1711"/>
            <ac:spMk id="451" creationId="{22D47485-45E8-4C30-1FBC-1C929D91C708}"/>
          </ac:spMkLst>
        </pc:spChg>
        <pc:spChg chg="add mod">
          <ac:chgData name="Aurelien Domont" userId="6da7715ce44349b3" providerId="LiveId" clId="{AABA1416-4740-4FEA-A91C-A3DACBE38F86}" dt="2023-11-03T04:51:06.026" v="7832"/>
          <ac:spMkLst>
            <pc:docMk/>
            <pc:sldMk cId="1252826214" sldId="1711"/>
            <ac:spMk id="452" creationId="{821BD926-180B-D786-AD20-AB64B287F1DE}"/>
          </ac:spMkLst>
        </pc:spChg>
        <pc:spChg chg="add mod">
          <ac:chgData name="Aurelien Domont" userId="6da7715ce44349b3" providerId="LiveId" clId="{AABA1416-4740-4FEA-A91C-A3DACBE38F86}" dt="2023-11-03T04:51:06.030" v="7839"/>
          <ac:spMkLst>
            <pc:docMk/>
            <pc:sldMk cId="1252826214" sldId="1711"/>
            <ac:spMk id="453" creationId="{03FA292F-3625-69BF-2DCE-D0C7DFDC470A}"/>
          </ac:spMkLst>
        </pc:spChg>
        <pc:spChg chg="add mod">
          <ac:chgData name="Aurelien Domont" userId="6da7715ce44349b3" providerId="LiveId" clId="{AABA1416-4740-4FEA-A91C-A3DACBE38F86}" dt="2023-11-03T04:51:06.034" v="7846"/>
          <ac:spMkLst>
            <pc:docMk/>
            <pc:sldMk cId="1252826214" sldId="1711"/>
            <ac:spMk id="454" creationId="{7B58C4E3-1512-BC1C-1437-2DA396DF395D}"/>
          </ac:spMkLst>
        </pc:spChg>
        <pc:spChg chg="add mod">
          <ac:chgData name="Aurelien Domont" userId="6da7715ce44349b3" providerId="LiveId" clId="{AABA1416-4740-4FEA-A91C-A3DACBE38F86}" dt="2023-11-03T04:51:06.039" v="7853"/>
          <ac:spMkLst>
            <pc:docMk/>
            <pc:sldMk cId="1252826214" sldId="1711"/>
            <ac:spMk id="455" creationId="{5C1497B3-7D9B-4A25-5EDD-545CFC34E607}"/>
          </ac:spMkLst>
        </pc:spChg>
        <pc:spChg chg="mod">
          <ac:chgData name="Aurelien Domont" userId="6da7715ce44349b3" providerId="LiveId" clId="{AABA1416-4740-4FEA-A91C-A3DACBE38F86}" dt="2023-11-03T04:51:06.051" v="7874"/>
          <ac:spMkLst>
            <pc:docMk/>
            <pc:sldMk cId="1252826214" sldId="1711"/>
            <ac:spMk id="457" creationId="{F2F2C43E-74E4-8772-B5EB-424041687F7E}"/>
          </ac:spMkLst>
        </pc:spChg>
        <pc:spChg chg="mod">
          <ac:chgData name="Aurelien Domont" userId="6da7715ce44349b3" providerId="LiveId" clId="{AABA1416-4740-4FEA-A91C-A3DACBE38F86}" dt="2023-11-03T04:51:06.051" v="7874"/>
          <ac:spMkLst>
            <pc:docMk/>
            <pc:sldMk cId="1252826214" sldId="1711"/>
            <ac:spMk id="458" creationId="{A6AD3D4E-C105-3757-4C30-C490AE0B34A3}"/>
          </ac:spMkLst>
        </pc:spChg>
        <pc:spChg chg="mod">
          <ac:chgData name="Aurelien Domont" userId="6da7715ce44349b3" providerId="LiveId" clId="{AABA1416-4740-4FEA-A91C-A3DACBE38F86}" dt="2023-11-03T04:51:06.051" v="7874"/>
          <ac:spMkLst>
            <pc:docMk/>
            <pc:sldMk cId="1252826214" sldId="1711"/>
            <ac:spMk id="459" creationId="{2532BC82-CB5F-58AF-A767-B49DF330C043}"/>
          </ac:spMkLst>
        </pc:spChg>
        <pc:spChg chg="add mod">
          <ac:chgData name="Aurelien Domont" userId="6da7715ce44349b3" providerId="LiveId" clId="{AABA1416-4740-4FEA-A91C-A3DACBE38F86}" dt="2023-11-03T04:51:06.056" v="7881"/>
          <ac:spMkLst>
            <pc:docMk/>
            <pc:sldMk cId="1252826214" sldId="1711"/>
            <ac:spMk id="460" creationId="{B5C2EC73-D928-E033-140A-DF93C91FAD45}"/>
          </ac:spMkLst>
        </pc:spChg>
        <pc:spChg chg="mod">
          <ac:chgData name="Aurelien Domont" userId="6da7715ce44349b3" providerId="LiveId" clId="{AABA1416-4740-4FEA-A91C-A3DACBE38F86}" dt="2023-11-03T04:51:06.065" v="7895"/>
          <ac:spMkLst>
            <pc:docMk/>
            <pc:sldMk cId="1252826214" sldId="1711"/>
            <ac:spMk id="462" creationId="{F6B85649-ABF2-2885-2B98-B8F20A2386EC}"/>
          </ac:spMkLst>
        </pc:spChg>
        <pc:spChg chg="mod">
          <ac:chgData name="Aurelien Domont" userId="6da7715ce44349b3" providerId="LiveId" clId="{AABA1416-4740-4FEA-A91C-A3DACBE38F86}" dt="2023-11-03T04:51:06.065" v="7895"/>
          <ac:spMkLst>
            <pc:docMk/>
            <pc:sldMk cId="1252826214" sldId="1711"/>
            <ac:spMk id="463" creationId="{3F0AE2FE-5D7E-C087-656A-72B55B84CE54}"/>
          </ac:spMkLst>
        </pc:spChg>
        <pc:spChg chg="add mod">
          <ac:chgData name="Aurelien Domont" userId="6da7715ce44349b3" providerId="LiveId" clId="{AABA1416-4740-4FEA-A91C-A3DACBE38F86}" dt="2023-11-03T04:51:06.069" v="7902"/>
          <ac:spMkLst>
            <pc:docMk/>
            <pc:sldMk cId="1252826214" sldId="1711"/>
            <ac:spMk id="464" creationId="{39021E7C-2EA9-4353-3B74-3D274C9A645E}"/>
          </ac:spMkLst>
        </pc:spChg>
        <pc:spChg chg="mod">
          <ac:chgData name="Aurelien Domont" userId="6da7715ce44349b3" providerId="LiveId" clId="{AABA1416-4740-4FEA-A91C-A3DACBE38F86}" dt="2023-11-03T04:51:06.078" v="7916"/>
          <ac:spMkLst>
            <pc:docMk/>
            <pc:sldMk cId="1252826214" sldId="1711"/>
            <ac:spMk id="466" creationId="{6D922B9E-0EA8-84A9-6D93-AE605B9A2A4D}"/>
          </ac:spMkLst>
        </pc:spChg>
        <pc:spChg chg="mod">
          <ac:chgData name="Aurelien Domont" userId="6da7715ce44349b3" providerId="LiveId" clId="{AABA1416-4740-4FEA-A91C-A3DACBE38F86}" dt="2023-11-03T04:51:06.078" v="7916"/>
          <ac:spMkLst>
            <pc:docMk/>
            <pc:sldMk cId="1252826214" sldId="1711"/>
            <ac:spMk id="467" creationId="{546BF6E1-83CE-A247-40FD-E8FDEC23B993}"/>
          </ac:spMkLst>
        </pc:spChg>
        <pc:spChg chg="add mod">
          <ac:chgData name="Aurelien Domont" userId="6da7715ce44349b3" providerId="LiveId" clId="{AABA1416-4740-4FEA-A91C-A3DACBE38F86}" dt="2023-11-03T04:51:06.082" v="7923"/>
          <ac:spMkLst>
            <pc:docMk/>
            <pc:sldMk cId="1252826214" sldId="1711"/>
            <ac:spMk id="468" creationId="{D741C466-49EC-8CAE-57D2-7DE127AB327D}"/>
          </ac:spMkLst>
        </pc:spChg>
        <pc:spChg chg="mod">
          <ac:chgData name="Aurelien Domont" userId="6da7715ce44349b3" providerId="LiveId" clId="{AABA1416-4740-4FEA-A91C-A3DACBE38F86}" dt="2023-11-03T04:51:06.096" v="7944"/>
          <ac:spMkLst>
            <pc:docMk/>
            <pc:sldMk cId="1252826214" sldId="1711"/>
            <ac:spMk id="470" creationId="{40E3898D-F1AC-E91A-9F91-9DF0A16BD5EA}"/>
          </ac:spMkLst>
        </pc:spChg>
        <pc:spChg chg="mod">
          <ac:chgData name="Aurelien Domont" userId="6da7715ce44349b3" providerId="LiveId" clId="{AABA1416-4740-4FEA-A91C-A3DACBE38F86}" dt="2023-11-03T04:51:06.096" v="7944"/>
          <ac:spMkLst>
            <pc:docMk/>
            <pc:sldMk cId="1252826214" sldId="1711"/>
            <ac:spMk id="471" creationId="{617B4F84-046A-1B8E-202A-F10B7CB03CBA}"/>
          </ac:spMkLst>
        </pc:spChg>
        <pc:spChg chg="mod">
          <ac:chgData name="Aurelien Domont" userId="6da7715ce44349b3" providerId="LiveId" clId="{AABA1416-4740-4FEA-A91C-A3DACBE38F86}" dt="2023-11-03T04:51:06.096" v="7944"/>
          <ac:spMkLst>
            <pc:docMk/>
            <pc:sldMk cId="1252826214" sldId="1711"/>
            <ac:spMk id="472" creationId="{263F40ED-DFEE-CDC7-AA1A-CADDAEB00F8B}"/>
          </ac:spMkLst>
        </pc:spChg>
        <pc:spChg chg="add mod">
          <ac:chgData name="Aurelien Domont" userId="6da7715ce44349b3" providerId="LiveId" clId="{AABA1416-4740-4FEA-A91C-A3DACBE38F86}" dt="2023-11-03T04:51:06.100" v="7951"/>
          <ac:spMkLst>
            <pc:docMk/>
            <pc:sldMk cId="1252826214" sldId="1711"/>
            <ac:spMk id="473" creationId="{13407038-6252-10CD-9793-064B51ED5F4A}"/>
          </ac:spMkLst>
        </pc:spChg>
        <pc:spChg chg="add mod">
          <ac:chgData name="Aurelien Domont" userId="6da7715ce44349b3" providerId="LiveId" clId="{AABA1416-4740-4FEA-A91C-A3DACBE38F86}" dt="2023-11-03T04:51:06.105" v="7958"/>
          <ac:spMkLst>
            <pc:docMk/>
            <pc:sldMk cId="1252826214" sldId="1711"/>
            <ac:spMk id="474" creationId="{0D8C3209-A9C4-CB3F-C112-E5CB1DD05E00}"/>
          </ac:spMkLst>
        </pc:spChg>
        <pc:spChg chg="add mod">
          <ac:chgData name="Aurelien Domont" userId="6da7715ce44349b3" providerId="LiveId" clId="{AABA1416-4740-4FEA-A91C-A3DACBE38F86}" dt="2023-11-03T04:51:06.109" v="7965"/>
          <ac:spMkLst>
            <pc:docMk/>
            <pc:sldMk cId="1252826214" sldId="1711"/>
            <ac:spMk id="475" creationId="{26B288BC-4DC4-B055-C199-2C43A22E8C8C}"/>
          </ac:spMkLst>
        </pc:spChg>
        <pc:spChg chg="add mod">
          <ac:chgData name="Aurelien Domont" userId="6da7715ce44349b3" providerId="LiveId" clId="{AABA1416-4740-4FEA-A91C-A3DACBE38F86}" dt="2023-11-03T04:51:06.113" v="7972"/>
          <ac:spMkLst>
            <pc:docMk/>
            <pc:sldMk cId="1252826214" sldId="1711"/>
            <ac:spMk id="476" creationId="{EB47C1E6-5D6A-2401-A270-B6789FC2D07E}"/>
          </ac:spMkLst>
        </pc:spChg>
        <pc:spChg chg="add mod">
          <ac:chgData name="Aurelien Domont" userId="6da7715ce44349b3" providerId="LiveId" clId="{AABA1416-4740-4FEA-A91C-A3DACBE38F86}" dt="2023-11-03T04:51:06.117" v="7979"/>
          <ac:spMkLst>
            <pc:docMk/>
            <pc:sldMk cId="1252826214" sldId="1711"/>
            <ac:spMk id="477" creationId="{D6B82462-101B-5567-A0CF-6CD34A0CAF71}"/>
          </ac:spMkLst>
        </pc:spChg>
        <pc:spChg chg="add mod">
          <ac:chgData name="Aurelien Domont" userId="6da7715ce44349b3" providerId="LiveId" clId="{AABA1416-4740-4FEA-A91C-A3DACBE38F86}" dt="2023-11-03T04:51:06.122" v="7986"/>
          <ac:spMkLst>
            <pc:docMk/>
            <pc:sldMk cId="1252826214" sldId="1711"/>
            <ac:spMk id="478" creationId="{4427F1DF-9E4D-0758-9013-AAFCC9A8CF25}"/>
          </ac:spMkLst>
        </pc:spChg>
        <pc:spChg chg="add mod">
          <ac:chgData name="Aurelien Domont" userId="6da7715ce44349b3" providerId="LiveId" clId="{AABA1416-4740-4FEA-A91C-A3DACBE38F86}" dt="2023-11-03T04:51:06.126" v="7993"/>
          <ac:spMkLst>
            <pc:docMk/>
            <pc:sldMk cId="1252826214" sldId="1711"/>
            <ac:spMk id="479" creationId="{4D7E7969-4319-094F-8748-241F16014D60}"/>
          </ac:spMkLst>
        </pc:spChg>
        <pc:spChg chg="add mod">
          <ac:chgData name="Aurelien Domont" userId="6da7715ce44349b3" providerId="LiveId" clId="{AABA1416-4740-4FEA-A91C-A3DACBE38F86}" dt="2023-11-03T04:51:06.131" v="8000"/>
          <ac:spMkLst>
            <pc:docMk/>
            <pc:sldMk cId="1252826214" sldId="1711"/>
            <ac:spMk id="480" creationId="{4C5A7C52-2F66-0A5C-4D76-766B431C080F}"/>
          </ac:spMkLst>
        </pc:spChg>
        <pc:spChg chg="add mod">
          <ac:chgData name="Aurelien Domont" userId="6da7715ce44349b3" providerId="LiveId" clId="{AABA1416-4740-4FEA-A91C-A3DACBE38F86}" dt="2023-11-03T04:51:06.136" v="8007"/>
          <ac:spMkLst>
            <pc:docMk/>
            <pc:sldMk cId="1252826214" sldId="1711"/>
            <ac:spMk id="481" creationId="{79A508F4-7F4C-FAA2-E2A3-1FAFF2F54A5F}"/>
          </ac:spMkLst>
        </pc:spChg>
        <pc:spChg chg="add mod">
          <ac:chgData name="Aurelien Domont" userId="6da7715ce44349b3" providerId="LiveId" clId="{AABA1416-4740-4FEA-A91C-A3DACBE38F86}" dt="2023-11-03T04:51:06.140" v="8014"/>
          <ac:spMkLst>
            <pc:docMk/>
            <pc:sldMk cId="1252826214" sldId="1711"/>
            <ac:spMk id="482" creationId="{2A97A101-B320-97F0-8E39-344EFC275BB1}"/>
          </ac:spMkLst>
        </pc:spChg>
        <pc:spChg chg="mod">
          <ac:chgData name="Aurelien Domont" userId="6da7715ce44349b3" providerId="LiveId" clId="{AABA1416-4740-4FEA-A91C-A3DACBE38F86}" dt="2023-11-03T04:51:06.162" v="8049"/>
          <ac:spMkLst>
            <pc:docMk/>
            <pc:sldMk cId="1252826214" sldId="1711"/>
            <ac:spMk id="484" creationId="{9EFA969C-B316-02E7-0810-3978E48863DB}"/>
          </ac:spMkLst>
        </pc:spChg>
        <pc:spChg chg="mod">
          <ac:chgData name="Aurelien Domont" userId="6da7715ce44349b3" providerId="LiveId" clId="{AABA1416-4740-4FEA-A91C-A3DACBE38F86}" dt="2023-11-03T04:51:06.162" v="8049"/>
          <ac:spMkLst>
            <pc:docMk/>
            <pc:sldMk cId="1252826214" sldId="1711"/>
            <ac:spMk id="485" creationId="{B95BBB9D-AEF9-CC1B-03C8-8E90FEF5335C}"/>
          </ac:spMkLst>
        </pc:spChg>
        <pc:spChg chg="mod">
          <ac:chgData name="Aurelien Domont" userId="6da7715ce44349b3" providerId="LiveId" clId="{AABA1416-4740-4FEA-A91C-A3DACBE38F86}" dt="2023-11-03T04:51:06.162" v="8049"/>
          <ac:spMkLst>
            <pc:docMk/>
            <pc:sldMk cId="1252826214" sldId="1711"/>
            <ac:spMk id="486" creationId="{ADCDE10C-7B07-34A1-0C0B-A0717B40CEAA}"/>
          </ac:spMkLst>
        </pc:spChg>
        <pc:spChg chg="mod">
          <ac:chgData name="Aurelien Domont" userId="6da7715ce44349b3" providerId="LiveId" clId="{AABA1416-4740-4FEA-A91C-A3DACBE38F86}" dt="2023-11-03T04:51:06.162" v="8049"/>
          <ac:spMkLst>
            <pc:docMk/>
            <pc:sldMk cId="1252826214" sldId="1711"/>
            <ac:spMk id="487" creationId="{CEC1B599-9D71-72C7-7E3C-02793F132BB0}"/>
          </ac:spMkLst>
        </pc:spChg>
        <pc:spChg chg="mod">
          <ac:chgData name="Aurelien Domont" userId="6da7715ce44349b3" providerId="LiveId" clId="{AABA1416-4740-4FEA-A91C-A3DACBE38F86}" dt="2023-11-03T04:51:06.162" v="8049"/>
          <ac:spMkLst>
            <pc:docMk/>
            <pc:sldMk cId="1252826214" sldId="1711"/>
            <ac:spMk id="488" creationId="{03D503BB-2B10-AB81-AE40-8D9331EA3C82}"/>
          </ac:spMkLst>
        </pc:spChg>
        <pc:spChg chg="add mod">
          <ac:chgData name="Aurelien Domont" userId="6da7715ce44349b3" providerId="LiveId" clId="{AABA1416-4740-4FEA-A91C-A3DACBE38F86}" dt="2023-11-03T04:51:06.167" v="8056"/>
          <ac:spMkLst>
            <pc:docMk/>
            <pc:sldMk cId="1252826214" sldId="1711"/>
            <ac:spMk id="489" creationId="{A2075BEA-5E17-3A77-655E-8C439C0942E4}"/>
          </ac:spMkLst>
        </pc:spChg>
        <pc:spChg chg="add mod">
          <ac:chgData name="Aurelien Domont" userId="6da7715ce44349b3" providerId="LiveId" clId="{AABA1416-4740-4FEA-A91C-A3DACBE38F86}" dt="2023-11-03T04:51:06.171" v="8063"/>
          <ac:spMkLst>
            <pc:docMk/>
            <pc:sldMk cId="1252826214" sldId="1711"/>
            <ac:spMk id="490" creationId="{E76CE8C1-5CBB-3260-71B0-B8358A3315E3}"/>
          </ac:spMkLst>
        </pc:spChg>
        <pc:spChg chg="add mod">
          <ac:chgData name="Aurelien Domont" userId="6da7715ce44349b3" providerId="LiveId" clId="{AABA1416-4740-4FEA-A91C-A3DACBE38F86}" dt="2023-11-03T04:51:06.175" v="8070"/>
          <ac:spMkLst>
            <pc:docMk/>
            <pc:sldMk cId="1252826214" sldId="1711"/>
            <ac:spMk id="491" creationId="{768E24E4-1484-779A-74E8-8D54ABB365A9}"/>
          </ac:spMkLst>
        </pc:spChg>
        <pc:spChg chg="add mod">
          <ac:chgData name="Aurelien Domont" userId="6da7715ce44349b3" providerId="LiveId" clId="{AABA1416-4740-4FEA-A91C-A3DACBE38F86}" dt="2023-11-03T04:51:06.179" v="8077"/>
          <ac:spMkLst>
            <pc:docMk/>
            <pc:sldMk cId="1252826214" sldId="1711"/>
            <ac:spMk id="492" creationId="{04A3C6F5-D78A-7A58-7003-D78371C7794D}"/>
          </ac:spMkLst>
        </pc:spChg>
        <pc:spChg chg="add mod">
          <ac:chgData name="Aurelien Domont" userId="6da7715ce44349b3" providerId="LiveId" clId="{AABA1416-4740-4FEA-A91C-A3DACBE38F86}" dt="2023-11-03T04:51:06.184" v="8084"/>
          <ac:spMkLst>
            <pc:docMk/>
            <pc:sldMk cId="1252826214" sldId="1711"/>
            <ac:spMk id="493" creationId="{B183A038-E815-5CA7-7687-EF5371F62BBA}"/>
          </ac:spMkLst>
        </pc:spChg>
        <pc:spChg chg="add mod">
          <ac:chgData name="Aurelien Domont" userId="6da7715ce44349b3" providerId="LiveId" clId="{AABA1416-4740-4FEA-A91C-A3DACBE38F86}" dt="2023-11-03T04:51:06.188" v="8091"/>
          <ac:spMkLst>
            <pc:docMk/>
            <pc:sldMk cId="1252826214" sldId="1711"/>
            <ac:spMk id="494" creationId="{B715867E-3EC0-229F-AFF2-6247BCDBE529}"/>
          </ac:spMkLst>
        </pc:spChg>
        <pc:spChg chg="add mod">
          <ac:chgData name="Aurelien Domont" userId="6da7715ce44349b3" providerId="LiveId" clId="{AABA1416-4740-4FEA-A91C-A3DACBE38F86}" dt="2023-11-03T04:51:06.192" v="8098"/>
          <ac:spMkLst>
            <pc:docMk/>
            <pc:sldMk cId="1252826214" sldId="1711"/>
            <ac:spMk id="495" creationId="{310E38F3-23BE-2386-0819-C23B32EA3395}"/>
          </ac:spMkLst>
        </pc:spChg>
        <pc:spChg chg="add mod">
          <ac:chgData name="Aurelien Domont" userId="6da7715ce44349b3" providerId="LiveId" clId="{AABA1416-4740-4FEA-A91C-A3DACBE38F86}" dt="2023-11-03T04:51:06.197" v="8105"/>
          <ac:spMkLst>
            <pc:docMk/>
            <pc:sldMk cId="1252826214" sldId="1711"/>
            <ac:spMk id="496" creationId="{1C05361D-9F6F-5DCD-9D1B-3A519B1ED438}"/>
          </ac:spMkLst>
        </pc:spChg>
        <pc:spChg chg="add mod">
          <ac:chgData name="Aurelien Domont" userId="6da7715ce44349b3" providerId="LiveId" clId="{AABA1416-4740-4FEA-A91C-A3DACBE38F86}" dt="2023-11-03T04:51:06.201" v="8112"/>
          <ac:spMkLst>
            <pc:docMk/>
            <pc:sldMk cId="1252826214" sldId="1711"/>
            <ac:spMk id="497" creationId="{18688575-2C97-1AEB-E275-B315AC4E6F3D}"/>
          </ac:spMkLst>
        </pc:spChg>
        <pc:spChg chg="add mod">
          <ac:chgData name="Aurelien Domont" userId="6da7715ce44349b3" providerId="LiveId" clId="{AABA1416-4740-4FEA-A91C-A3DACBE38F86}" dt="2023-11-03T04:51:06.205" v="8119"/>
          <ac:spMkLst>
            <pc:docMk/>
            <pc:sldMk cId="1252826214" sldId="1711"/>
            <ac:spMk id="498" creationId="{78C45E6F-B7B1-9DCF-B4C2-584350625296}"/>
          </ac:spMkLst>
        </pc:spChg>
        <pc:spChg chg="add mod">
          <ac:chgData name="Aurelien Domont" userId="6da7715ce44349b3" providerId="LiveId" clId="{AABA1416-4740-4FEA-A91C-A3DACBE38F86}" dt="2023-11-03T04:51:06.209" v="8126"/>
          <ac:spMkLst>
            <pc:docMk/>
            <pc:sldMk cId="1252826214" sldId="1711"/>
            <ac:spMk id="499" creationId="{D4E10BB7-5D38-E103-8716-DEC981F4DE68}"/>
          </ac:spMkLst>
        </pc:spChg>
        <pc:spChg chg="add mod">
          <ac:chgData name="Aurelien Domont" userId="6da7715ce44349b3" providerId="LiveId" clId="{AABA1416-4740-4FEA-A91C-A3DACBE38F86}" dt="2023-11-03T04:51:06.213" v="8133"/>
          <ac:spMkLst>
            <pc:docMk/>
            <pc:sldMk cId="1252826214" sldId="1711"/>
            <ac:spMk id="500" creationId="{58050445-07FC-27BB-7BE2-88D8516C1C82}"/>
          </ac:spMkLst>
        </pc:spChg>
        <pc:spChg chg="add mod">
          <ac:chgData name="Aurelien Domont" userId="6da7715ce44349b3" providerId="LiveId" clId="{AABA1416-4740-4FEA-A91C-A3DACBE38F86}" dt="2023-11-03T04:51:06.218" v="8140"/>
          <ac:spMkLst>
            <pc:docMk/>
            <pc:sldMk cId="1252826214" sldId="1711"/>
            <ac:spMk id="501" creationId="{0F020BEF-D618-B90C-7BA1-4EC954A990B1}"/>
          </ac:spMkLst>
        </pc:spChg>
        <pc:spChg chg="add mod">
          <ac:chgData name="Aurelien Domont" userId="6da7715ce44349b3" providerId="LiveId" clId="{AABA1416-4740-4FEA-A91C-A3DACBE38F86}" dt="2023-11-03T04:51:06.222" v="8147"/>
          <ac:spMkLst>
            <pc:docMk/>
            <pc:sldMk cId="1252826214" sldId="1711"/>
            <ac:spMk id="502" creationId="{D83F0241-523E-AD3B-A9C8-B992F9C64454}"/>
          </ac:spMkLst>
        </pc:spChg>
        <pc:spChg chg="add mod">
          <ac:chgData name="Aurelien Domont" userId="6da7715ce44349b3" providerId="LiveId" clId="{AABA1416-4740-4FEA-A91C-A3DACBE38F86}" dt="2023-11-03T04:51:06.226" v="8154"/>
          <ac:spMkLst>
            <pc:docMk/>
            <pc:sldMk cId="1252826214" sldId="1711"/>
            <ac:spMk id="503" creationId="{91E74EED-837C-57F3-1436-1B1F6D2BEFAD}"/>
          </ac:spMkLst>
        </pc:spChg>
        <pc:spChg chg="add mod">
          <ac:chgData name="Aurelien Domont" userId="6da7715ce44349b3" providerId="LiveId" clId="{AABA1416-4740-4FEA-A91C-A3DACBE38F86}" dt="2023-11-03T04:51:06.233" v="8161"/>
          <ac:spMkLst>
            <pc:docMk/>
            <pc:sldMk cId="1252826214" sldId="1711"/>
            <ac:spMk id="504" creationId="{78E5F22F-E21C-4774-D39F-700855D7D291}"/>
          </ac:spMkLst>
        </pc:spChg>
        <pc:spChg chg="add mod">
          <ac:chgData name="Aurelien Domont" userId="6da7715ce44349b3" providerId="LiveId" clId="{AABA1416-4740-4FEA-A91C-A3DACBE38F86}" dt="2023-11-03T04:51:06.239" v="8168"/>
          <ac:spMkLst>
            <pc:docMk/>
            <pc:sldMk cId="1252826214" sldId="1711"/>
            <ac:spMk id="505" creationId="{2E314051-5A4C-E9DD-6EC3-237C33F4D4B8}"/>
          </ac:spMkLst>
        </pc:spChg>
        <pc:spChg chg="add mod">
          <ac:chgData name="Aurelien Domont" userId="6da7715ce44349b3" providerId="LiveId" clId="{AABA1416-4740-4FEA-A91C-A3DACBE38F86}" dt="2023-11-03T04:51:06.244" v="8175"/>
          <ac:spMkLst>
            <pc:docMk/>
            <pc:sldMk cId="1252826214" sldId="1711"/>
            <ac:spMk id="506" creationId="{408844A1-0974-6FB2-4242-B497DFF32EDB}"/>
          </ac:spMkLst>
        </pc:spChg>
        <pc:spChg chg="add mod">
          <ac:chgData name="Aurelien Domont" userId="6da7715ce44349b3" providerId="LiveId" clId="{AABA1416-4740-4FEA-A91C-A3DACBE38F86}" dt="2023-11-03T04:51:06.249" v="8182"/>
          <ac:spMkLst>
            <pc:docMk/>
            <pc:sldMk cId="1252826214" sldId="1711"/>
            <ac:spMk id="507" creationId="{75A97D65-0739-B53B-62FE-7FC1F8610083}"/>
          </ac:spMkLst>
        </pc:spChg>
        <pc:spChg chg="add mod">
          <ac:chgData name="Aurelien Domont" userId="6da7715ce44349b3" providerId="LiveId" clId="{AABA1416-4740-4FEA-A91C-A3DACBE38F86}" dt="2023-11-03T04:51:06.254" v="8189"/>
          <ac:spMkLst>
            <pc:docMk/>
            <pc:sldMk cId="1252826214" sldId="1711"/>
            <ac:spMk id="508" creationId="{2D71820E-397F-72C4-ABDB-637CD59CB291}"/>
          </ac:spMkLst>
        </pc:spChg>
        <pc:spChg chg="add mod">
          <ac:chgData name="Aurelien Domont" userId="6da7715ce44349b3" providerId="LiveId" clId="{AABA1416-4740-4FEA-A91C-A3DACBE38F86}" dt="2023-11-03T04:51:06.259" v="8196"/>
          <ac:spMkLst>
            <pc:docMk/>
            <pc:sldMk cId="1252826214" sldId="1711"/>
            <ac:spMk id="509" creationId="{196E1276-B5CC-AF6D-6A03-A6DC76637F5F}"/>
          </ac:spMkLst>
        </pc:spChg>
        <pc:spChg chg="add mod">
          <ac:chgData name="Aurelien Domont" userId="6da7715ce44349b3" providerId="LiveId" clId="{AABA1416-4740-4FEA-A91C-A3DACBE38F86}" dt="2023-11-03T04:51:06.264" v="8203"/>
          <ac:spMkLst>
            <pc:docMk/>
            <pc:sldMk cId="1252826214" sldId="1711"/>
            <ac:spMk id="510" creationId="{EF0096EF-ADB8-C135-3BF8-C5D5185CF040}"/>
          </ac:spMkLst>
        </pc:spChg>
        <pc:spChg chg="add mod">
          <ac:chgData name="Aurelien Domont" userId="6da7715ce44349b3" providerId="LiveId" clId="{AABA1416-4740-4FEA-A91C-A3DACBE38F86}" dt="2023-11-03T04:51:06.268" v="8210"/>
          <ac:spMkLst>
            <pc:docMk/>
            <pc:sldMk cId="1252826214" sldId="1711"/>
            <ac:spMk id="511" creationId="{FA902B3C-EF3D-BBF8-DE7D-4D84364B2CD7}"/>
          </ac:spMkLst>
        </pc:spChg>
        <pc:spChg chg="add mod">
          <ac:chgData name="Aurelien Domont" userId="6da7715ce44349b3" providerId="LiveId" clId="{AABA1416-4740-4FEA-A91C-A3DACBE38F86}" dt="2023-11-03T04:51:06.272" v="8217"/>
          <ac:spMkLst>
            <pc:docMk/>
            <pc:sldMk cId="1252826214" sldId="1711"/>
            <ac:spMk id="512" creationId="{6F03DE8D-7E9A-76F5-5B2C-DF8E138CF45C}"/>
          </ac:spMkLst>
        </pc:spChg>
        <pc:spChg chg="add mod">
          <ac:chgData name="Aurelien Domont" userId="6da7715ce44349b3" providerId="LiveId" clId="{AABA1416-4740-4FEA-A91C-A3DACBE38F86}" dt="2023-11-03T04:51:06.276" v="8224"/>
          <ac:spMkLst>
            <pc:docMk/>
            <pc:sldMk cId="1252826214" sldId="1711"/>
            <ac:spMk id="513" creationId="{43B294EC-1118-AFBE-936C-B6C05E0FBC02}"/>
          </ac:spMkLst>
        </pc:spChg>
        <pc:spChg chg="add mod">
          <ac:chgData name="Aurelien Domont" userId="6da7715ce44349b3" providerId="LiveId" clId="{AABA1416-4740-4FEA-A91C-A3DACBE38F86}" dt="2023-11-03T04:51:06.279" v="8227" actId="139"/>
          <ac:spMkLst>
            <pc:docMk/>
            <pc:sldMk cId="1252826214" sldId="1711"/>
            <ac:spMk id="514" creationId="{0E8F2058-854A-2ADB-7B63-3D843BEF4F21}"/>
          </ac:spMkLst>
        </pc:spChg>
        <pc:spChg chg="add mod">
          <ac:chgData name="Aurelien Domont" userId="6da7715ce44349b3" providerId="LiveId" clId="{AABA1416-4740-4FEA-A91C-A3DACBE38F86}" dt="2023-11-03T04:51:06.283" v="8234"/>
          <ac:spMkLst>
            <pc:docMk/>
            <pc:sldMk cId="1252826214" sldId="1711"/>
            <ac:spMk id="515" creationId="{7F5CF62C-29C7-4BCB-108A-829BA1B3C1D3}"/>
          </ac:spMkLst>
        </pc:spChg>
        <pc:spChg chg="add mod">
          <ac:chgData name="Aurelien Domont" userId="6da7715ce44349b3" providerId="LiveId" clId="{AABA1416-4740-4FEA-A91C-A3DACBE38F86}" dt="2023-11-03T04:51:06.287" v="8241"/>
          <ac:spMkLst>
            <pc:docMk/>
            <pc:sldMk cId="1252826214" sldId="1711"/>
            <ac:spMk id="516" creationId="{B75CE39D-8628-862C-201F-4C0CF83634DF}"/>
          </ac:spMkLst>
        </pc:spChg>
        <pc:spChg chg="add mod">
          <ac:chgData name="Aurelien Domont" userId="6da7715ce44349b3" providerId="LiveId" clId="{AABA1416-4740-4FEA-A91C-A3DACBE38F86}" dt="2023-11-03T04:51:06.292" v="8248"/>
          <ac:spMkLst>
            <pc:docMk/>
            <pc:sldMk cId="1252826214" sldId="1711"/>
            <ac:spMk id="517" creationId="{20462A77-9F6A-87E3-841D-A94B7F72043F}"/>
          </ac:spMkLst>
        </pc:spChg>
        <pc:spChg chg="add mod">
          <ac:chgData name="Aurelien Domont" userId="6da7715ce44349b3" providerId="LiveId" clId="{AABA1416-4740-4FEA-A91C-A3DACBE38F86}" dt="2023-11-03T04:51:06.296" v="8255"/>
          <ac:spMkLst>
            <pc:docMk/>
            <pc:sldMk cId="1252826214" sldId="1711"/>
            <ac:spMk id="518" creationId="{B2BD3A54-ED3C-7D48-35AA-66E7258A2940}"/>
          </ac:spMkLst>
        </pc:spChg>
        <pc:spChg chg="add mod">
          <ac:chgData name="Aurelien Domont" userId="6da7715ce44349b3" providerId="LiveId" clId="{AABA1416-4740-4FEA-A91C-A3DACBE38F86}" dt="2023-11-03T04:51:06.300" v="8262"/>
          <ac:spMkLst>
            <pc:docMk/>
            <pc:sldMk cId="1252826214" sldId="1711"/>
            <ac:spMk id="519" creationId="{F0657B02-43F4-9DCB-2370-92CC3342A5ED}"/>
          </ac:spMkLst>
        </pc:spChg>
        <pc:spChg chg="add mod">
          <ac:chgData name="Aurelien Domont" userId="6da7715ce44349b3" providerId="LiveId" clId="{AABA1416-4740-4FEA-A91C-A3DACBE38F86}" dt="2023-11-03T04:51:06.304" v="8269"/>
          <ac:spMkLst>
            <pc:docMk/>
            <pc:sldMk cId="1252826214" sldId="1711"/>
            <ac:spMk id="520" creationId="{B6ACE187-F838-5574-CBD9-C2063C157C19}"/>
          </ac:spMkLst>
        </pc:spChg>
        <pc:spChg chg="add mod">
          <ac:chgData name="Aurelien Domont" userId="6da7715ce44349b3" providerId="LiveId" clId="{AABA1416-4740-4FEA-A91C-A3DACBE38F86}" dt="2023-11-03T04:51:06.309" v="8276"/>
          <ac:spMkLst>
            <pc:docMk/>
            <pc:sldMk cId="1252826214" sldId="1711"/>
            <ac:spMk id="521" creationId="{6B1C8BB9-915E-1286-E694-A8B170B5ED2F}"/>
          </ac:spMkLst>
        </pc:spChg>
        <pc:spChg chg="add mod">
          <ac:chgData name="Aurelien Domont" userId="6da7715ce44349b3" providerId="LiveId" clId="{AABA1416-4740-4FEA-A91C-A3DACBE38F86}" dt="2023-11-03T04:51:06.313" v="8283"/>
          <ac:spMkLst>
            <pc:docMk/>
            <pc:sldMk cId="1252826214" sldId="1711"/>
            <ac:spMk id="522" creationId="{ED161848-A203-E01C-48D0-AC429E388EC6}"/>
          </ac:spMkLst>
        </pc:spChg>
        <pc:spChg chg="add mod">
          <ac:chgData name="Aurelien Domont" userId="6da7715ce44349b3" providerId="LiveId" clId="{AABA1416-4740-4FEA-A91C-A3DACBE38F86}" dt="2023-11-03T04:51:06.317" v="8290"/>
          <ac:spMkLst>
            <pc:docMk/>
            <pc:sldMk cId="1252826214" sldId="1711"/>
            <ac:spMk id="523" creationId="{18022971-03B1-6630-044C-3321B496DCCC}"/>
          </ac:spMkLst>
        </pc:spChg>
        <pc:spChg chg="add mod">
          <ac:chgData name="Aurelien Domont" userId="6da7715ce44349b3" providerId="LiveId" clId="{AABA1416-4740-4FEA-A91C-A3DACBE38F86}" dt="2023-11-03T04:51:06.321" v="8297"/>
          <ac:spMkLst>
            <pc:docMk/>
            <pc:sldMk cId="1252826214" sldId="1711"/>
            <ac:spMk id="524" creationId="{7BF679B4-E504-AF7A-3860-59888BB2B7B9}"/>
          </ac:spMkLst>
        </pc:spChg>
        <pc:spChg chg="add mod">
          <ac:chgData name="Aurelien Domont" userId="6da7715ce44349b3" providerId="LiveId" clId="{AABA1416-4740-4FEA-A91C-A3DACBE38F86}" dt="2023-11-03T04:51:06.326" v="8304"/>
          <ac:spMkLst>
            <pc:docMk/>
            <pc:sldMk cId="1252826214" sldId="1711"/>
            <ac:spMk id="525" creationId="{6EE99133-481D-8DF1-C2E9-B179E33CE540}"/>
          </ac:spMkLst>
        </pc:spChg>
        <pc:spChg chg="add mod">
          <ac:chgData name="Aurelien Domont" userId="6da7715ce44349b3" providerId="LiveId" clId="{AABA1416-4740-4FEA-A91C-A3DACBE38F86}" dt="2023-11-03T04:51:06.331" v="8311"/>
          <ac:spMkLst>
            <pc:docMk/>
            <pc:sldMk cId="1252826214" sldId="1711"/>
            <ac:spMk id="526" creationId="{D643C828-D00D-0CFF-C812-362325BDBDD0}"/>
          </ac:spMkLst>
        </pc:spChg>
        <pc:spChg chg="add mod">
          <ac:chgData name="Aurelien Domont" userId="6da7715ce44349b3" providerId="LiveId" clId="{AABA1416-4740-4FEA-A91C-A3DACBE38F86}" dt="2023-11-03T04:51:06.337" v="8318"/>
          <ac:spMkLst>
            <pc:docMk/>
            <pc:sldMk cId="1252826214" sldId="1711"/>
            <ac:spMk id="527" creationId="{7119885A-77FA-FA42-C8E0-48908853A908}"/>
          </ac:spMkLst>
        </pc:spChg>
        <pc:spChg chg="add mod">
          <ac:chgData name="Aurelien Domont" userId="6da7715ce44349b3" providerId="LiveId" clId="{AABA1416-4740-4FEA-A91C-A3DACBE38F86}" dt="2023-11-03T04:51:06.342" v="8325"/>
          <ac:spMkLst>
            <pc:docMk/>
            <pc:sldMk cId="1252826214" sldId="1711"/>
            <ac:spMk id="528" creationId="{461AE8C8-AD8D-4E74-EBCC-B12ADFA0FBFD}"/>
          </ac:spMkLst>
        </pc:spChg>
        <pc:spChg chg="add mod">
          <ac:chgData name="Aurelien Domont" userId="6da7715ce44349b3" providerId="LiveId" clId="{AABA1416-4740-4FEA-A91C-A3DACBE38F86}" dt="2023-11-03T04:51:06.346" v="8332"/>
          <ac:spMkLst>
            <pc:docMk/>
            <pc:sldMk cId="1252826214" sldId="1711"/>
            <ac:spMk id="529" creationId="{2CD4B987-5C14-E1BC-97BC-C410839E887D}"/>
          </ac:spMkLst>
        </pc:spChg>
        <pc:spChg chg="add mod">
          <ac:chgData name="Aurelien Domont" userId="6da7715ce44349b3" providerId="LiveId" clId="{AABA1416-4740-4FEA-A91C-A3DACBE38F86}" dt="2023-11-03T04:51:06.350" v="8339"/>
          <ac:spMkLst>
            <pc:docMk/>
            <pc:sldMk cId="1252826214" sldId="1711"/>
            <ac:spMk id="530" creationId="{6EAE06A1-7D62-9C60-32A8-1E73F1E6E27F}"/>
          </ac:spMkLst>
        </pc:spChg>
        <pc:spChg chg="add mod">
          <ac:chgData name="Aurelien Domont" userId="6da7715ce44349b3" providerId="LiveId" clId="{AABA1416-4740-4FEA-A91C-A3DACBE38F86}" dt="2023-11-03T04:51:06.354" v="8346"/>
          <ac:spMkLst>
            <pc:docMk/>
            <pc:sldMk cId="1252826214" sldId="1711"/>
            <ac:spMk id="531" creationId="{4077C6D6-F2BC-356B-7DF6-C6E42C386D1E}"/>
          </ac:spMkLst>
        </pc:spChg>
        <pc:spChg chg="add mod">
          <ac:chgData name="Aurelien Domont" userId="6da7715ce44349b3" providerId="LiveId" clId="{AABA1416-4740-4FEA-A91C-A3DACBE38F86}" dt="2023-11-03T04:51:06.359" v="8353"/>
          <ac:spMkLst>
            <pc:docMk/>
            <pc:sldMk cId="1252826214" sldId="1711"/>
            <ac:spMk id="532" creationId="{02582FEE-A4E3-01D1-D43A-B8B76E26E329}"/>
          </ac:spMkLst>
        </pc:spChg>
        <pc:spChg chg="add mod">
          <ac:chgData name="Aurelien Domont" userId="6da7715ce44349b3" providerId="LiveId" clId="{AABA1416-4740-4FEA-A91C-A3DACBE38F86}" dt="2023-11-03T04:51:06.363" v="8360"/>
          <ac:spMkLst>
            <pc:docMk/>
            <pc:sldMk cId="1252826214" sldId="1711"/>
            <ac:spMk id="533" creationId="{69A91BB2-D650-BABF-8E78-D9A360024D77}"/>
          </ac:spMkLst>
        </pc:spChg>
        <pc:spChg chg="add mod">
          <ac:chgData name="Aurelien Domont" userId="6da7715ce44349b3" providerId="LiveId" clId="{AABA1416-4740-4FEA-A91C-A3DACBE38F86}" dt="2023-11-03T04:51:06.368" v="8367"/>
          <ac:spMkLst>
            <pc:docMk/>
            <pc:sldMk cId="1252826214" sldId="1711"/>
            <ac:spMk id="534" creationId="{6EC060BF-27A1-E46C-D6D2-168DC427A00B}"/>
          </ac:spMkLst>
        </pc:spChg>
        <pc:spChg chg="add mod">
          <ac:chgData name="Aurelien Domont" userId="6da7715ce44349b3" providerId="LiveId" clId="{AABA1416-4740-4FEA-A91C-A3DACBE38F86}" dt="2023-11-03T04:51:06.372" v="8374"/>
          <ac:spMkLst>
            <pc:docMk/>
            <pc:sldMk cId="1252826214" sldId="1711"/>
            <ac:spMk id="535" creationId="{BC893739-E688-3732-84FF-E0336FC0C40C}"/>
          </ac:spMkLst>
        </pc:spChg>
        <pc:spChg chg="add mod">
          <ac:chgData name="Aurelien Domont" userId="6da7715ce44349b3" providerId="LiveId" clId="{AABA1416-4740-4FEA-A91C-A3DACBE38F86}" dt="2023-11-03T04:51:06.376" v="8381"/>
          <ac:spMkLst>
            <pc:docMk/>
            <pc:sldMk cId="1252826214" sldId="1711"/>
            <ac:spMk id="536" creationId="{BFD97853-1CD8-B0B1-EAB5-0697F6472B27}"/>
          </ac:spMkLst>
        </pc:spChg>
        <pc:spChg chg="add mod">
          <ac:chgData name="Aurelien Domont" userId="6da7715ce44349b3" providerId="LiveId" clId="{AABA1416-4740-4FEA-A91C-A3DACBE38F86}" dt="2023-11-03T04:51:06.382" v="8388"/>
          <ac:spMkLst>
            <pc:docMk/>
            <pc:sldMk cId="1252826214" sldId="1711"/>
            <ac:spMk id="537" creationId="{5AB65BD6-E822-AE8B-DA7A-7B9BB5DB8B08}"/>
          </ac:spMkLst>
        </pc:spChg>
        <pc:spChg chg="add mod">
          <ac:chgData name="Aurelien Domont" userId="6da7715ce44349b3" providerId="LiveId" clId="{AABA1416-4740-4FEA-A91C-A3DACBE38F86}" dt="2023-11-03T04:51:06.387" v="8395"/>
          <ac:spMkLst>
            <pc:docMk/>
            <pc:sldMk cId="1252826214" sldId="1711"/>
            <ac:spMk id="538" creationId="{CB636195-3801-136E-1654-A5F3107859A0}"/>
          </ac:spMkLst>
        </pc:spChg>
        <pc:spChg chg="add mod">
          <ac:chgData name="Aurelien Domont" userId="6da7715ce44349b3" providerId="LiveId" clId="{AABA1416-4740-4FEA-A91C-A3DACBE38F86}" dt="2023-11-03T04:51:06.393" v="8402"/>
          <ac:spMkLst>
            <pc:docMk/>
            <pc:sldMk cId="1252826214" sldId="1711"/>
            <ac:spMk id="539" creationId="{B20D3879-0966-4944-0D6E-660F0168AAA6}"/>
          </ac:spMkLst>
        </pc:spChg>
        <pc:spChg chg="add mod">
          <ac:chgData name="Aurelien Domont" userId="6da7715ce44349b3" providerId="LiveId" clId="{AABA1416-4740-4FEA-A91C-A3DACBE38F86}" dt="2023-11-03T04:51:06.397" v="8409"/>
          <ac:spMkLst>
            <pc:docMk/>
            <pc:sldMk cId="1252826214" sldId="1711"/>
            <ac:spMk id="540" creationId="{DCA07B9D-C53F-E082-74AB-3DC1F00331C3}"/>
          </ac:spMkLst>
        </pc:spChg>
        <pc:spChg chg="add mod">
          <ac:chgData name="Aurelien Domont" userId="6da7715ce44349b3" providerId="LiveId" clId="{AABA1416-4740-4FEA-A91C-A3DACBE38F86}" dt="2023-11-03T04:51:06.402" v="8416"/>
          <ac:spMkLst>
            <pc:docMk/>
            <pc:sldMk cId="1252826214" sldId="1711"/>
            <ac:spMk id="541" creationId="{D79988F2-1192-B296-A9A4-8E2F31ED1185}"/>
          </ac:spMkLst>
        </pc:spChg>
        <pc:spChg chg="add mod">
          <ac:chgData name="Aurelien Domont" userId="6da7715ce44349b3" providerId="LiveId" clId="{AABA1416-4740-4FEA-A91C-A3DACBE38F86}" dt="2023-11-03T04:51:06.406" v="8423"/>
          <ac:spMkLst>
            <pc:docMk/>
            <pc:sldMk cId="1252826214" sldId="1711"/>
            <ac:spMk id="542" creationId="{13EC2BD2-53CC-79EA-D2EA-78F17856AEE0}"/>
          </ac:spMkLst>
        </pc:spChg>
        <pc:spChg chg="add mod">
          <ac:chgData name="Aurelien Domont" userId="6da7715ce44349b3" providerId="LiveId" clId="{AABA1416-4740-4FEA-A91C-A3DACBE38F86}" dt="2023-11-03T04:51:06.410" v="8430"/>
          <ac:spMkLst>
            <pc:docMk/>
            <pc:sldMk cId="1252826214" sldId="1711"/>
            <ac:spMk id="543" creationId="{9D708CC0-645E-D14B-5D77-0EDFBCDE76F3}"/>
          </ac:spMkLst>
        </pc:spChg>
        <pc:spChg chg="add mod">
          <ac:chgData name="Aurelien Domont" userId="6da7715ce44349b3" providerId="LiveId" clId="{AABA1416-4740-4FEA-A91C-A3DACBE38F86}" dt="2023-11-03T04:51:06.415" v="8437"/>
          <ac:spMkLst>
            <pc:docMk/>
            <pc:sldMk cId="1252826214" sldId="1711"/>
            <ac:spMk id="544" creationId="{79049593-B127-A26A-775F-DE1674852210}"/>
          </ac:spMkLst>
        </pc:spChg>
        <pc:spChg chg="add mod">
          <ac:chgData name="Aurelien Domont" userId="6da7715ce44349b3" providerId="LiveId" clId="{AABA1416-4740-4FEA-A91C-A3DACBE38F86}" dt="2023-11-03T04:51:06.420" v="8444"/>
          <ac:spMkLst>
            <pc:docMk/>
            <pc:sldMk cId="1252826214" sldId="1711"/>
            <ac:spMk id="545" creationId="{C7FF3F06-9455-B1A3-B92C-BBBD5A5D7435}"/>
          </ac:spMkLst>
        </pc:spChg>
        <pc:spChg chg="add mod">
          <ac:chgData name="Aurelien Domont" userId="6da7715ce44349b3" providerId="LiveId" clId="{AABA1416-4740-4FEA-A91C-A3DACBE38F86}" dt="2023-11-03T04:51:06.424" v="8451"/>
          <ac:spMkLst>
            <pc:docMk/>
            <pc:sldMk cId="1252826214" sldId="1711"/>
            <ac:spMk id="546" creationId="{756EC49E-A875-DD98-8D52-4C68402AE3E6}"/>
          </ac:spMkLst>
        </pc:spChg>
        <pc:spChg chg="add mod">
          <ac:chgData name="Aurelien Domont" userId="6da7715ce44349b3" providerId="LiveId" clId="{AABA1416-4740-4FEA-A91C-A3DACBE38F86}" dt="2023-11-03T04:51:06.428" v="8458"/>
          <ac:spMkLst>
            <pc:docMk/>
            <pc:sldMk cId="1252826214" sldId="1711"/>
            <ac:spMk id="547" creationId="{7C586E9E-BE9C-E29C-476B-96BD12EDC6EE}"/>
          </ac:spMkLst>
        </pc:spChg>
        <pc:spChg chg="add mod">
          <ac:chgData name="Aurelien Domont" userId="6da7715ce44349b3" providerId="LiveId" clId="{AABA1416-4740-4FEA-A91C-A3DACBE38F86}" dt="2023-11-03T04:51:06.432" v="8465"/>
          <ac:spMkLst>
            <pc:docMk/>
            <pc:sldMk cId="1252826214" sldId="1711"/>
            <ac:spMk id="548" creationId="{30045734-39C8-46F4-BEC5-366C45377553}"/>
          </ac:spMkLst>
        </pc:spChg>
        <pc:spChg chg="add mod">
          <ac:chgData name="Aurelien Domont" userId="6da7715ce44349b3" providerId="LiveId" clId="{AABA1416-4740-4FEA-A91C-A3DACBE38F86}" dt="2023-11-03T04:51:06.437" v="8472"/>
          <ac:spMkLst>
            <pc:docMk/>
            <pc:sldMk cId="1252826214" sldId="1711"/>
            <ac:spMk id="549" creationId="{DFF24CD1-56F1-2D05-C3F7-853369762573}"/>
          </ac:spMkLst>
        </pc:spChg>
        <pc:spChg chg="add mod">
          <ac:chgData name="Aurelien Domont" userId="6da7715ce44349b3" providerId="LiveId" clId="{AABA1416-4740-4FEA-A91C-A3DACBE38F86}" dt="2023-11-03T04:51:06.441" v="8479"/>
          <ac:spMkLst>
            <pc:docMk/>
            <pc:sldMk cId="1252826214" sldId="1711"/>
            <ac:spMk id="550" creationId="{EC725152-5619-83B5-11B6-6D0D96105DC8}"/>
          </ac:spMkLst>
        </pc:spChg>
        <pc:spChg chg="add mod">
          <ac:chgData name="Aurelien Domont" userId="6da7715ce44349b3" providerId="LiveId" clId="{AABA1416-4740-4FEA-A91C-A3DACBE38F86}" dt="2023-11-03T04:51:06.445" v="8486"/>
          <ac:spMkLst>
            <pc:docMk/>
            <pc:sldMk cId="1252826214" sldId="1711"/>
            <ac:spMk id="551" creationId="{2900421A-1574-33C5-4B90-DEED82242D91}"/>
          </ac:spMkLst>
        </pc:spChg>
        <pc:spChg chg="add mod">
          <ac:chgData name="Aurelien Domont" userId="6da7715ce44349b3" providerId="LiveId" clId="{AABA1416-4740-4FEA-A91C-A3DACBE38F86}" dt="2023-11-03T04:51:06.450" v="8493"/>
          <ac:spMkLst>
            <pc:docMk/>
            <pc:sldMk cId="1252826214" sldId="1711"/>
            <ac:spMk id="552" creationId="{6CB09A1A-E174-1C20-54ED-E35FF7D8130C}"/>
          </ac:spMkLst>
        </pc:spChg>
        <pc:spChg chg="add mod">
          <ac:chgData name="Aurelien Domont" userId="6da7715ce44349b3" providerId="LiveId" clId="{AABA1416-4740-4FEA-A91C-A3DACBE38F86}" dt="2023-11-03T04:51:06.454" v="8500"/>
          <ac:spMkLst>
            <pc:docMk/>
            <pc:sldMk cId="1252826214" sldId="1711"/>
            <ac:spMk id="553" creationId="{BAFEA5D4-39C2-9613-4732-CC6034005E10}"/>
          </ac:spMkLst>
        </pc:spChg>
        <pc:spChg chg="add mod">
          <ac:chgData name="Aurelien Domont" userId="6da7715ce44349b3" providerId="LiveId" clId="{AABA1416-4740-4FEA-A91C-A3DACBE38F86}" dt="2023-11-03T04:51:06.458" v="8507"/>
          <ac:spMkLst>
            <pc:docMk/>
            <pc:sldMk cId="1252826214" sldId="1711"/>
            <ac:spMk id="554" creationId="{0B80EB94-192C-ECCE-AB4A-2E11B11B95A9}"/>
          </ac:spMkLst>
        </pc:spChg>
        <pc:spChg chg="add mod">
          <ac:chgData name="Aurelien Domont" userId="6da7715ce44349b3" providerId="LiveId" clId="{AABA1416-4740-4FEA-A91C-A3DACBE38F86}" dt="2023-11-03T04:51:06.462" v="8514"/>
          <ac:spMkLst>
            <pc:docMk/>
            <pc:sldMk cId="1252826214" sldId="1711"/>
            <ac:spMk id="555" creationId="{5FDE5548-5988-E0D2-5535-BFE10AD0D4C8}"/>
          </ac:spMkLst>
        </pc:spChg>
        <pc:spChg chg="add mod">
          <ac:chgData name="Aurelien Domont" userId="6da7715ce44349b3" providerId="LiveId" clId="{AABA1416-4740-4FEA-A91C-A3DACBE38F86}" dt="2023-11-03T04:51:06.467" v="8521"/>
          <ac:spMkLst>
            <pc:docMk/>
            <pc:sldMk cId="1252826214" sldId="1711"/>
            <ac:spMk id="556" creationId="{34177691-D0FC-50C2-9C16-8B6C1C4DBE46}"/>
          </ac:spMkLst>
        </pc:spChg>
        <pc:spChg chg="add mod">
          <ac:chgData name="Aurelien Domont" userId="6da7715ce44349b3" providerId="LiveId" clId="{AABA1416-4740-4FEA-A91C-A3DACBE38F86}" dt="2023-11-03T04:51:06.472" v="8528"/>
          <ac:spMkLst>
            <pc:docMk/>
            <pc:sldMk cId="1252826214" sldId="1711"/>
            <ac:spMk id="557" creationId="{61FDF46B-8AFC-BE4A-481D-06BC8B0D08AA}"/>
          </ac:spMkLst>
        </pc:spChg>
        <pc:spChg chg="add mod">
          <ac:chgData name="Aurelien Domont" userId="6da7715ce44349b3" providerId="LiveId" clId="{AABA1416-4740-4FEA-A91C-A3DACBE38F86}" dt="2023-11-03T04:51:06.476" v="8535"/>
          <ac:spMkLst>
            <pc:docMk/>
            <pc:sldMk cId="1252826214" sldId="1711"/>
            <ac:spMk id="558" creationId="{F1880FDC-379D-F69A-2653-24A42BA7806C}"/>
          </ac:spMkLst>
        </pc:spChg>
        <pc:spChg chg="add mod">
          <ac:chgData name="Aurelien Domont" userId="6da7715ce44349b3" providerId="LiveId" clId="{AABA1416-4740-4FEA-A91C-A3DACBE38F86}" dt="2023-11-03T04:51:06.481" v="8542"/>
          <ac:spMkLst>
            <pc:docMk/>
            <pc:sldMk cId="1252826214" sldId="1711"/>
            <ac:spMk id="559" creationId="{F53A971C-4AED-F01E-CCC9-3E6E39E0E790}"/>
          </ac:spMkLst>
        </pc:spChg>
        <pc:spChg chg="add mod">
          <ac:chgData name="Aurelien Domont" userId="6da7715ce44349b3" providerId="LiveId" clId="{AABA1416-4740-4FEA-A91C-A3DACBE38F86}" dt="2023-11-03T04:51:06.485" v="8549"/>
          <ac:spMkLst>
            <pc:docMk/>
            <pc:sldMk cId="1252826214" sldId="1711"/>
            <ac:spMk id="560" creationId="{9C833643-6B7C-0DB5-ED1F-B5CBA19EE974}"/>
          </ac:spMkLst>
        </pc:spChg>
        <pc:spChg chg="add mod">
          <ac:chgData name="Aurelien Domont" userId="6da7715ce44349b3" providerId="LiveId" clId="{AABA1416-4740-4FEA-A91C-A3DACBE38F86}" dt="2023-11-03T04:51:06.489" v="8556"/>
          <ac:spMkLst>
            <pc:docMk/>
            <pc:sldMk cId="1252826214" sldId="1711"/>
            <ac:spMk id="561" creationId="{B11A021E-269F-6E7A-78C7-5F5FC1886926}"/>
          </ac:spMkLst>
        </pc:spChg>
        <pc:spChg chg="add mod">
          <ac:chgData name="Aurelien Domont" userId="6da7715ce44349b3" providerId="LiveId" clId="{AABA1416-4740-4FEA-A91C-A3DACBE38F86}" dt="2023-11-03T04:51:06.493" v="8563"/>
          <ac:spMkLst>
            <pc:docMk/>
            <pc:sldMk cId="1252826214" sldId="1711"/>
            <ac:spMk id="562" creationId="{E886CF63-194E-FF30-1742-948B1E5086D7}"/>
          </ac:spMkLst>
        </pc:spChg>
        <pc:spChg chg="add mod">
          <ac:chgData name="Aurelien Domont" userId="6da7715ce44349b3" providerId="LiveId" clId="{AABA1416-4740-4FEA-A91C-A3DACBE38F86}" dt="2023-11-03T04:51:06.498" v="8570"/>
          <ac:spMkLst>
            <pc:docMk/>
            <pc:sldMk cId="1252826214" sldId="1711"/>
            <ac:spMk id="563" creationId="{54EE71DE-07AD-80E3-B719-3FFF3AF8330A}"/>
          </ac:spMkLst>
        </pc:spChg>
        <pc:spChg chg="add mod">
          <ac:chgData name="Aurelien Domont" userId="6da7715ce44349b3" providerId="LiveId" clId="{AABA1416-4740-4FEA-A91C-A3DACBE38F86}" dt="2023-11-03T04:51:06.502" v="8577"/>
          <ac:spMkLst>
            <pc:docMk/>
            <pc:sldMk cId="1252826214" sldId="1711"/>
            <ac:spMk id="564" creationId="{BE35B9C7-6643-3215-12A1-A3C779782E6F}"/>
          </ac:spMkLst>
        </pc:spChg>
        <pc:spChg chg="add mod">
          <ac:chgData name="Aurelien Domont" userId="6da7715ce44349b3" providerId="LiveId" clId="{AABA1416-4740-4FEA-A91C-A3DACBE38F86}" dt="2023-11-03T04:51:06.506" v="8584"/>
          <ac:spMkLst>
            <pc:docMk/>
            <pc:sldMk cId="1252826214" sldId="1711"/>
            <ac:spMk id="565" creationId="{FAD2C4EA-E673-F15C-735F-5692626EB020}"/>
          </ac:spMkLst>
        </pc:spChg>
        <pc:spChg chg="add mod">
          <ac:chgData name="Aurelien Domont" userId="6da7715ce44349b3" providerId="LiveId" clId="{AABA1416-4740-4FEA-A91C-A3DACBE38F86}" dt="2023-11-03T04:51:06.507" v="8585" actId="790"/>
          <ac:spMkLst>
            <pc:docMk/>
            <pc:sldMk cId="1252826214" sldId="1711"/>
            <ac:spMk id="566" creationId="{BAEE8E90-080B-56DE-2616-B6ED509D6571}"/>
          </ac:spMkLst>
        </pc:spChg>
        <pc:spChg chg="add mod">
          <ac:chgData name="Aurelien Domont" userId="6da7715ce44349b3" providerId="LiveId" clId="{AABA1416-4740-4FEA-A91C-A3DACBE38F86}" dt="2023-11-03T04:51:06.508" v="8586" actId="790"/>
          <ac:spMkLst>
            <pc:docMk/>
            <pc:sldMk cId="1252826214" sldId="1711"/>
            <ac:spMk id="567" creationId="{8AC3B36B-CF5E-312D-55CA-01E0F01F8ECC}"/>
          </ac:spMkLst>
        </pc:spChg>
        <pc:spChg chg="add mod">
          <ac:chgData name="Aurelien Domont" userId="6da7715ce44349b3" providerId="LiveId" clId="{AABA1416-4740-4FEA-A91C-A3DACBE38F86}" dt="2023-11-03T04:51:06.510" v="8589" actId="139"/>
          <ac:spMkLst>
            <pc:docMk/>
            <pc:sldMk cId="1252826214" sldId="1711"/>
            <ac:spMk id="569" creationId="{894644BF-7457-4906-915E-015E8CD61AEB}"/>
          </ac:spMkLst>
        </pc:spChg>
        <pc:spChg chg="add mod">
          <ac:chgData name="Aurelien Domont" userId="6da7715ce44349b3" providerId="LiveId" clId="{AABA1416-4740-4FEA-A91C-A3DACBE38F86}" dt="2023-11-03T04:51:06.511" v="8590" actId="790"/>
          <ac:spMkLst>
            <pc:docMk/>
            <pc:sldMk cId="1252826214" sldId="1711"/>
            <ac:spMk id="571" creationId="{92CE8EE8-C441-045E-9008-8C8CEE38D358}"/>
          </ac:spMkLst>
        </pc:spChg>
        <pc:spChg chg="add mod">
          <ac:chgData name="Aurelien Domont" userId="6da7715ce44349b3" providerId="LiveId" clId="{AABA1416-4740-4FEA-A91C-A3DACBE38F86}" dt="2023-11-03T04:51:06.515" v="8593" actId="139"/>
          <ac:spMkLst>
            <pc:docMk/>
            <pc:sldMk cId="1252826214" sldId="1711"/>
            <ac:spMk id="572" creationId="{8E26409F-B4E6-F678-DD1F-B4908504EB12}"/>
          </ac:spMkLst>
        </pc:spChg>
        <pc:spChg chg="add mod">
          <ac:chgData name="Aurelien Domont" userId="6da7715ce44349b3" providerId="LiveId" clId="{AABA1416-4740-4FEA-A91C-A3DACBE38F86}" dt="2023-11-03T02:43:06.944" v="3873" actId="571"/>
          <ac:spMkLst>
            <pc:docMk/>
            <pc:sldMk cId="1252826214" sldId="1711"/>
            <ac:spMk id="573" creationId="{DF29C746-3FA3-12CF-304A-BDC70C873943}"/>
          </ac:spMkLst>
        </pc:spChg>
        <pc:spChg chg="add del">
          <ac:chgData name="Aurelien Domont" userId="6da7715ce44349b3" providerId="LiveId" clId="{AABA1416-4740-4FEA-A91C-A3DACBE38F86}" dt="2023-11-03T02:47:35.742" v="4016"/>
          <ac:spMkLst>
            <pc:docMk/>
            <pc:sldMk cId="1252826214" sldId="1711"/>
            <ac:spMk id="574" creationId="{E481C4B0-9315-2DDA-B97E-53CB6B9C01C5}"/>
          </ac:spMkLst>
        </pc:spChg>
        <pc:spChg chg="add del">
          <ac:chgData name="Aurelien Domont" userId="6da7715ce44349b3" providerId="LiveId" clId="{AABA1416-4740-4FEA-A91C-A3DACBE38F86}" dt="2023-11-03T02:47:38.271" v="4018" actId="478"/>
          <ac:spMkLst>
            <pc:docMk/>
            <pc:sldMk cId="1252826214" sldId="1711"/>
            <ac:spMk id="575" creationId="{510F6685-5A42-FD87-4E95-7ABD861FB5CC}"/>
          </ac:spMkLst>
        </pc:spChg>
        <pc:spChg chg="add del">
          <ac:chgData name="Aurelien Domont" userId="6da7715ce44349b3" providerId="LiveId" clId="{AABA1416-4740-4FEA-A91C-A3DACBE38F86}" dt="2023-11-03T02:47:44.249" v="4020"/>
          <ac:spMkLst>
            <pc:docMk/>
            <pc:sldMk cId="1252826214" sldId="1711"/>
            <ac:spMk id="1024" creationId="{8B554F99-950A-9D73-8EA6-8F14457F6169}"/>
          </ac:spMkLst>
        </pc:spChg>
        <pc:spChg chg="add del mod">
          <ac:chgData name="Aurelien Domont" userId="6da7715ce44349b3" providerId="LiveId" clId="{AABA1416-4740-4FEA-A91C-A3DACBE38F86}" dt="2023-11-03T02:47:50.601" v="4024"/>
          <ac:spMkLst>
            <pc:docMk/>
            <pc:sldMk cId="1252826214" sldId="1711"/>
            <ac:spMk id="1025" creationId="{1E0D0D27-9D97-EC6F-A7E6-9197A901BB29}"/>
          </ac:spMkLst>
        </pc:spChg>
        <pc:spChg chg="add del">
          <ac:chgData name="Aurelien Domont" userId="6da7715ce44349b3" providerId="LiveId" clId="{AABA1416-4740-4FEA-A91C-A3DACBE38F86}" dt="2023-11-03T02:47:58.507" v="4026"/>
          <ac:spMkLst>
            <pc:docMk/>
            <pc:sldMk cId="1252826214" sldId="1711"/>
            <ac:spMk id="1027" creationId="{2C6A34C9-94CA-3E01-55BF-3D45411FA7FC}"/>
          </ac:spMkLst>
        </pc:spChg>
        <pc:spChg chg="add del">
          <ac:chgData name="Aurelien Domont" userId="6da7715ce44349b3" providerId="LiveId" clId="{AABA1416-4740-4FEA-A91C-A3DACBE38F86}" dt="2023-11-03T02:48:18.620" v="4034"/>
          <ac:spMkLst>
            <pc:docMk/>
            <pc:sldMk cId="1252826214" sldId="1711"/>
            <ac:spMk id="1029" creationId="{08C9E9DB-4C58-270C-65C1-637022C2F87A}"/>
          </ac:spMkLst>
        </pc:spChg>
        <pc:spChg chg="add del">
          <ac:chgData name="Aurelien Domont" userId="6da7715ce44349b3" providerId="LiveId" clId="{AABA1416-4740-4FEA-A91C-A3DACBE38F86}" dt="2023-11-03T02:48:36.671" v="4041"/>
          <ac:spMkLst>
            <pc:docMk/>
            <pc:sldMk cId="1252826214" sldId="1711"/>
            <ac:spMk id="1031" creationId="{61B5EA45-B7B1-7903-DCD7-6EC43916352C}"/>
          </ac:spMkLst>
        </pc:spChg>
        <pc:spChg chg="add del">
          <ac:chgData name="Aurelien Domont" userId="6da7715ce44349b3" providerId="LiveId" clId="{AABA1416-4740-4FEA-A91C-A3DACBE38F86}" dt="2023-11-03T02:48:52.832" v="4049"/>
          <ac:spMkLst>
            <pc:docMk/>
            <pc:sldMk cId="1252826214" sldId="1711"/>
            <ac:spMk id="1033" creationId="{7C394401-0C37-BC8A-092F-46C8E4E9B848}"/>
          </ac:spMkLst>
        </pc:spChg>
        <pc:grpChg chg="add mod">
          <ac:chgData name="Aurelien Domont" userId="6da7715ce44349b3" providerId="LiveId" clId="{AABA1416-4740-4FEA-A91C-A3DACBE38F86}" dt="2023-11-03T04:51:05.329" v="6844"/>
          <ac:grpSpMkLst>
            <pc:docMk/>
            <pc:sldMk cId="1252826214" sldId="1711"/>
            <ac:grpSpMk id="14" creationId="{732D0F89-CF30-4FD0-1C26-882D37E55FA9}"/>
          </ac:grpSpMkLst>
        </pc:grpChg>
        <pc:grpChg chg="add mod">
          <ac:chgData name="Aurelien Domont" userId="6da7715ce44349b3" providerId="LiveId" clId="{AABA1416-4740-4FEA-A91C-A3DACBE38F86}" dt="2023-11-03T04:51:05.377" v="6914"/>
          <ac:grpSpMkLst>
            <pc:docMk/>
            <pc:sldMk cId="1252826214" sldId="1711"/>
            <ac:grpSpMk id="17" creationId="{2F3936FA-DE12-3B0E-D82E-7D19FCFE9E8A}"/>
          </ac:grpSpMkLst>
        </pc:grpChg>
        <pc:grpChg chg="add mod">
          <ac:chgData name="Aurelien Domont" userId="6da7715ce44349b3" providerId="LiveId" clId="{AABA1416-4740-4FEA-A91C-A3DACBE38F86}" dt="2023-11-03T04:51:05.392" v="6935"/>
          <ac:grpSpMkLst>
            <pc:docMk/>
            <pc:sldMk cId="1252826214" sldId="1711"/>
            <ac:grpSpMk id="32" creationId="{B98620B0-3B82-51D5-7559-BED04A04E0FE}"/>
          </ac:grpSpMkLst>
        </pc:grpChg>
        <pc:grpChg chg="add mod">
          <ac:chgData name="Aurelien Domont" userId="6da7715ce44349b3" providerId="LiveId" clId="{AABA1416-4740-4FEA-A91C-A3DACBE38F86}" dt="2023-11-03T04:51:05.429" v="6987"/>
          <ac:grpSpMkLst>
            <pc:docMk/>
            <pc:sldMk cId="1252826214" sldId="1711"/>
            <ac:grpSpMk id="46" creationId="{23906095-DBD1-0C8F-578A-9081EA447830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47" creationId="{D5D4B5DC-3DE6-4CEF-A50A-EB4214B0D845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48" creationId="{8B8C279D-E2F4-4798-8175-CEB06BFC314D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50" creationId="{AFEC8AB4-05F2-43B8-8A6C-7730F04CFC06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57" creationId="{012B866A-76DE-480D-B8A6-60E2A070C914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61" creationId="{3284F7B8-57FE-4081-8B8F-001F664C8474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65" creationId="{F77E394B-8C62-4B0F-B274-008D38043D9A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72" creationId="{A36B7DC4-1B53-4416-8305-AD78F046273A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74" creationId="{9BD7B3BD-D790-4305-84E7-5A72B29158D7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75" creationId="{794F3FAD-552B-4F54-B292-3C9EFB594DE8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90" creationId="{9CCE8B22-9644-4C67-9A90-6B439FFBAE2D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153" creationId="{DE3B1FBB-4F24-4945-9D06-9819C9B568DC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155" creationId="{ACD6C047-D92B-451C-881A-8F071319D4E8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157" creationId="{1E8CE4FC-8542-4C58-AEAC-96EB4CD31F91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159" creationId="{155A94F1-B6C3-4A95-9ED1-AF256CBD2141}"/>
          </ac:grpSpMkLst>
        </pc:grpChg>
        <pc:grpChg chg="del">
          <ac:chgData name="Aurelien Domont" userId="6da7715ce44349b3" providerId="LiveId" clId="{AABA1416-4740-4FEA-A91C-A3DACBE38F86}" dt="2023-11-03T02:32:46.729" v="3317" actId="478"/>
          <ac:grpSpMkLst>
            <pc:docMk/>
            <pc:sldMk cId="1252826214" sldId="1711"/>
            <ac:grpSpMk id="170" creationId="{80B637A0-BA7C-425C-A0AF-B3E80B4AEC83}"/>
          </ac:grpSpMkLst>
        </pc:grpChg>
        <pc:grpChg chg="add mod">
          <ac:chgData name="Aurelien Domont" userId="6da7715ce44349b3" providerId="LiveId" clId="{AABA1416-4740-4FEA-A91C-A3DACBE38F86}" dt="2023-11-03T04:51:05.463" v="7036"/>
          <ac:grpSpMkLst>
            <pc:docMk/>
            <pc:sldMk cId="1252826214" sldId="1711"/>
            <ac:grpSpMk id="327" creationId="{640A791E-361B-F7F4-1FC2-A21FFD5F8C52}"/>
          </ac:grpSpMkLst>
        </pc:grpChg>
        <pc:grpChg chg="add mod">
          <ac:chgData name="Aurelien Domont" userId="6da7715ce44349b3" providerId="LiveId" clId="{AABA1416-4740-4FEA-A91C-A3DACBE38F86}" dt="2023-11-03T04:51:05.596" v="7190"/>
          <ac:grpSpMkLst>
            <pc:docMk/>
            <pc:sldMk cId="1252826214" sldId="1711"/>
            <ac:grpSpMk id="335" creationId="{91F25DDA-B566-91C7-FB46-B5C2DB41C902}"/>
          </ac:grpSpMkLst>
        </pc:grpChg>
        <pc:grpChg chg="add mod">
          <ac:chgData name="Aurelien Domont" userId="6da7715ce44349b3" providerId="LiveId" clId="{AABA1416-4740-4FEA-A91C-A3DACBE38F86}" dt="2023-11-03T04:51:05.645" v="7242"/>
          <ac:grpSpMkLst>
            <pc:docMk/>
            <pc:sldMk cId="1252826214" sldId="1711"/>
            <ac:grpSpMk id="361" creationId="{D7DDE97D-3C71-7366-905B-BFA4526C5EBA}"/>
          </ac:grpSpMkLst>
        </pc:grpChg>
        <pc:grpChg chg="add mod">
          <ac:chgData name="Aurelien Domont" userId="6da7715ce44349b3" providerId="LiveId" clId="{AABA1416-4740-4FEA-A91C-A3DACBE38F86}" dt="2023-11-03T04:51:05.669" v="7270"/>
          <ac:grpSpMkLst>
            <pc:docMk/>
            <pc:sldMk cId="1252826214" sldId="1711"/>
            <ac:grpSpMk id="365" creationId="{505DAE09-D070-FFAC-FB5C-9008E5600B5C}"/>
          </ac:grpSpMkLst>
        </pc:grpChg>
        <pc:grpChg chg="add mod">
          <ac:chgData name="Aurelien Domont" userId="6da7715ce44349b3" providerId="LiveId" clId="{AABA1416-4740-4FEA-A91C-A3DACBE38F86}" dt="2023-11-03T04:51:05.705" v="7312"/>
          <ac:grpSpMkLst>
            <pc:docMk/>
            <pc:sldMk cId="1252826214" sldId="1711"/>
            <ac:grpSpMk id="369" creationId="{568F9563-647E-E0F3-CDD2-F06BD9CF5BBB}"/>
          </ac:grpSpMkLst>
        </pc:grpChg>
        <pc:grpChg chg="add mod">
          <ac:chgData name="Aurelien Domont" userId="6da7715ce44349b3" providerId="LiveId" clId="{AABA1416-4740-4FEA-A91C-A3DACBE38F86}" dt="2023-11-03T04:51:05.780" v="7431"/>
          <ac:grpSpMkLst>
            <pc:docMk/>
            <pc:sldMk cId="1252826214" sldId="1711"/>
            <ac:grpSpMk id="390" creationId="{F0C12FF1-0495-462A-16D2-B3E6D623D6AE}"/>
          </ac:grpSpMkLst>
        </pc:grpChg>
        <pc:grpChg chg="add mod">
          <ac:chgData name="Aurelien Domont" userId="6da7715ce44349b3" providerId="LiveId" clId="{AABA1416-4740-4FEA-A91C-A3DACBE38F86}" dt="2023-11-03T04:51:06.051" v="7874"/>
          <ac:grpSpMkLst>
            <pc:docMk/>
            <pc:sldMk cId="1252826214" sldId="1711"/>
            <ac:grpSpMk id="456" creationId="{217990CB-97C2-D05F-769E-BE73C4F63439}"/>
          </ac:grpSpMkLst>
        </pc:grpChg>
        <pc:grpChg chg="add mod">
          <ac:chgData name="Aurelien Domont" userId="6da7715ce44349b3" providerId="LiveId" clId="{AABA1416-4740-4FEA-A91C-A3DACBE38F86}" dt="2023-11-03T04:51:06.065" v="7895"/>
          <ac:grpSpMkLst>
            <pc:docMk/>
            <pc:sldMk cId="1252826214" sldId="1711"/>
            <ac:grpSpMk id="461" creationId="{203F29B0-8999-796A-1CED-B84C5F8B2928}"/>
          </ac:grpSpMkLst>
        </pc:grpChg>
        <pc:grpChg chg="add mod">
          <ac:chgData name="Aurelien Domont" userId="6da7715ce44349b3" providerId="LiveId" clId="{AABA1416-4740-4FEA-A91C-A3DACBE38F86}" dt="2023-11-03T04:51:06.078" v="7916"/>
          <ac:grpSpMkLst>
            <pc:docMk/>
            <pc:sldMk cId="1252826214" sldId="1711"/>
            <ac:grpSpMk id="465" creationId="{02347C0F-0E19-7E20-BA29-6EE98FE85130}"/>
          </ac:grpSpMkLst>
        </pc:grpChg>
        <pc:grpChg chg="add mod">
          <ac:chgData name="Aurelien Domont" userId="6da7715ce44349b3" providerId="LiveId" clId="{AABA1416-4740-4FEA-A91C-A3DACBE38F86}" dt="2023-11-03T04:51:06.096" v="7944"/>
          <ac:grpSpMkLst>
            <pc:docMk/>
            <pc:sldMk cId="1252826214" sldId="1711"/>
            <ac:grpSpMk id="469" creationId="{C6B58DD0-DFF8-EF1E-0E79-50115E89239B}"/>
          </ac:grpSpMkLst>
        </pc:grpChg>
        <pc:grpChg chg="add mod">
          <ac:chgData name="Aurelien Domont" userId="6da7715ce44349b3" providerId="LiveId" clId="{AABA1416-4740-4FEA-A91C-A3DACBE38F86}" dt="2023-11-03T04:51:06.162" v="8049"/>
          <ac:grpSpMkLst>
            <pc:docMk/>
            <pc:sldMk cId="1252826214" sldId="1711"/>
            <ac:grpSpMk id="483" creationId="{8886BB6F-AD8D-0121-5EA3-09415193E2B5}"/>
          </ac:grpSpMkLst>
        </pc:grpChg>
        <pc:graphicFrameChg chg="mod">
          <ac:chgData name="Aurelien Domont" userId="6da7715ce44349b3" providerId="LiveId" clId="{AABA1416-4740-4FEA-A91C-A3DACBE38F86}" dt="2023-11-03T04:51:06.833" v="8818"/>
          <ac:graphicFrameMkLst>
            <pc:docMk/>
            <pc:sldMk cId="1252826214" sldId="1711"/>
            <ac:graphicFrameMk id="13" creationId="{A073AF91-5325-42B9-A31A-3D179304022A}"/>
          </ac:graphicFrameMkLst>
        </pc:graphicFrameChg>
        <pc:picChg chg="del">
          <ac:chgData name="Aurelien Domont" userId="6da7715ce44349b3" providerId="LiveId" clId="{AABA1416-4740-4FEA-A91C-A3DACBE38F86}" dt="2023-11-03T02:32:46.729" v="3317" actId="478"/>
          <ac:picMkLst>
            <pc:docMk/>
            <pc:sldMk cId="1252826214" sldId="1711"/>
            <ac:picMk id="10" creationId="{A0DB830C-4F68-4EF8-8A4E-2C8D67FD264F}"/>
          </ac:picMkLst>
        </pc:picChg>
        <pc:picChg chg="del">
          <ac:chgData name="Aurelien Domont" userId="6da7715ce44349b3" providerId="LiveId" clId="{AABA1416-4740-4FEA-A91C-A3DACBE38F86}" dt="2023-11-03T02:32:46.729" v="3317" actId="478"/>
          <ac:picMkLst>
            <pc:docMk/>
            <pc:sldMk cId="1252826214" sldId="1711"/>
            <ac:picMk id="320" creationId="{CA5C0783-F7AB-4755-937B-E03E5BC4DC33}"/>
          </ac:picMkLst>
        </pc:picChg>
        <pc:picChg chg="add mod">
          <ac:chgData name="Aurelien Domont" userId="6da7715ce44349b3" providerId="LiveId" clId="{AABA1416-4740-4FEA-A91C-A3DACBE38F86}" dt="2023-11-03T02:37:41.994" v="3697"/>
          <ac:picMkLst>
            <pc:docMk/>
            <pc:sldMk cId="1252826214" sldId="1711"/>
            <ac:picMk id="568" creationId="{A9D6EC4A-7F10-8764-EFB7-5813EA3D022A}"/>
          </ac:picMkLst>
        </pc:picChg>
        <pc:picChg chg="add del mod">
          <ac:chgData name="Aurelien Domont" userId="6da7715ce44349b3" providerId="LiveId" clId="{AABA1416-4740-4FEA-A91C-A3DACBE38F86}" dt="2023-11-03T02:39:32.189" v="3786" actId="478"/>
          <ac:picMkLst>
            <pc:docMk/>
            <pc:sldMk cId="1252826214" sldId="1711"/>
            <ac:picMk id="570" creationId="{0CE2CF7D-6E9A-A1E5-65E3-E3E6FE0C50FB}"/>
          </ac:picMkLst>
        </pc:picChg>
        <pc:picChg chg="add mod">
          <ac:chgData name="Aurelien Domont" userId="6da7715ce44349b3" providerId="LiveId" clId="{AABA1416-4740-4FEA-A91C-A3DACBE38F86}" dt="2023-11-03T02:49:34.091" v="4065" actId="1035"/>
          <ac:picMkLst>
            <pc:docMk/>
            <pc:sldMk cId="1252826214" sldId="1711"/>
            <ac:picMk id="1026" creationId="{93760E12-26B1-B7A6-15B8-F42EC2BA983B}"/>
          </ac:picMkLst>
        </pc:picChg>
        <pc:picChg chg="add mod">
          <ac:chgData name="Aurelien Domont" userId="6da7715ce44349b3" providerId="LiveId" clId="{AABA1416-4740-4FEA-A91C-A3DACBE38F86}" dt="2023-11-03T02:49:46.786" v="4077" actId="1037"/>
          <ac:picMkLst>
            <pc:docMk/>
            <pc:sldMk cId="1252826214" sldId="1711"/>
            <ac:picMk id="1028" creationId="{366D1FBC-C366-71B7-F1FC-78416F83739D}"/>
          </ac:picMkLst>
        </pc:picChg>
        <pc:picChg chg="add mod">
          <ac:chgData name="Aurelien Domont" userId="6da7715ce44349b3" providerId="LiveId" clId="{AABA1416-4740-4FEA-A91C-A3DACBE38F86}" dt="2023-11-03T02:49:44.622" v="4071" actId="1037"/>
          <ac:picMkLst>
            <pc:docMk/>
            <pc:sldMk cId="1252826214" sldId="1711"/>
            <ac:picMk id="1030" creationId="{CADE705D-B24A-3DD6-5C9A-EC96EA421BC4}"/>
          </ac:picMkLst>
        </pc:picChg>
        <pc:picChg chg="add mod modCrop">
          <ac:chgData name="Aurelien Domont" userId="6da7715ce44349b3" providerId="LiveId" clId="{AABA1416-4740-4FEA-A91C-A3DACBE38F86}" dt="2023-11-03T02:49:47.619" v="4079" actId="1037"/>
          <ac:picMkLst>
            <pc:docMk/>
            <pc:sldMk cId="1252826214" sldId="1711"/>
            <ac:picMk id="1032" creationId="{CBC58040-A790-1F95-53F6-EF6AB3D18F41}"/>
          </ac:picMkLst>
        </pc:picChg>
        <pc:picChg chg="add mod">
          <ac:chgData name="Aurelien Domont" userId="6da7715ce44349b3" providerId="LiveId" clId="{AABA1416-4740-4FEA-A91C-A3DACBE38F86}" dt="2023-11-03T02:48:59.404" v="4053" actId="14100"/>
          <ac:picMkLst>
            <pc:docMk/>
            <pc:sldMk cId="1252826214" sldId="1711"/>
            <ac:picMk id="1034" creationId="{BDB422D2-615F-CE40-00E8-08E03C7CB77B}"/>
          </ac:picMkLst>
        </pc:picChg>
      </pc:sldChg>
      <pc:sldChg chg="modSp add del mod modClrScheme chgLayout">
        <pc:chgData name="Aurelien Domont" userId="6da7715ce44349b3" providerId="LiveId" clId="{AABA1416-4740-4FEA-A91C-A3DACBE38F86}" dt="2023-11-03T01:44:01.342" v="1028" actId="47"/>
        <pc:sldMkLst>
          <pc:docMk/>
          <pc:sldMk cId="317099162" sldId="1749"/>
        </pc:sldMkLst>
        <pc:spChg chg="mod ord">
          <ac:chgData name="Aurelien Domont" userId="6da7715ce44349b3" providerId="LiveId" clId="{AABA1416-4740-4FEA-A91C-A3DACBE38F86}" dt="2023-11-03T00:15:42.248" v="57"/>
          <ac:spMkLst>
            <pc:docMk/>
            <pc:sldMk cId="317099162" sldId="1749"/>
            <ac:spMk id="5" creationId="{3AA7B8AD-E6F9-4E25-A3A4-71D021032612}"/>
          </ac:spMkLst>
        </pc:spChg>
        <pc:spChg chg="mod ord">
          <ac:chgData name="Aurelien Domont" userId="6da7715ce44349b3" providerId="LiveId" clId="{AABA1416-4740-4FEA-A91C-A3DACBE38F86}" dt="2023-11-03T01:27:37.297" v="148" actId="115"/>
          <ac:spMkLst>
            <pc:docMk/>
            <pc:sldMk cId="317099162" sldId="1749"/>
            <ac:spMk id="16" creationId="{6C2BB713-9637-4B9B-938F-E9768876782A}"/>
          </ac:spMkLst>
        </pc:spChg>
        <pc:spChg chg="mod">
          <ac:chgData name="Aurelien Domont" userId="6da7715ce44349b3" providerId="LiveId" clId="{AABA1416-4740-4FEA-A91C-A3DACBE38F86}" dt="2023-11-03T00:16:58.113" v="93" actId="207"/>
          <ac:spMkLst>
            <pc:docMk/>
            <pc:sldMk cId="317099162" sldId="1749"/>
            <ac:spMk id="26" creationId="{626A743B-E42B-485A-BA62-DB037C0E1E9F}"/>
          </ac:spMkLst>
        </pc:spChg>
        <pc:spChg chg="mod">
          <ac:chgData name="Aurelien Domont" userId="6da7715ce44349b3" providerId="LiveId" clId="{AABA1416-4740-4FEA-A91C-A3DACBE38F86}" dt="2023-11-03T00:16:16.252" v="90" actId="1037"/>
          <ac:spMkLst>
            <pc:docMk/>
            <pc:sldMk cId="317099162" sldId="1749"/>
            <ac:spMk id="30" creationId="{A3A42F54-587B-4C2E-93F0-14AB9DDD5309}"/>
          </ac:spMkLst>
        </pc:spChg>
        <pc:spChg chg="mod">
          <ac:chgData name="Aurelien Domont" userId="6da7715ce44349b3" providerId="LiveId" clId="{AABA1416-4740-4FEA-A91C-A3DACBE38F86}" dt="2023-11-03T00:16:49.993" v="92" actId="207"/>
          <ac:spMkLst>
            <pc:docMk/>
            <pc:sldMk cId="317099162" sldId="1749"/>
            <ac:spMk id="32" creationId="{EE6F0BF2-DC75-49E9-A69A-A91D25E3574E}"/>
          </ac:spMkLst>
        </pc:spChg>
        <pc:graphicFrameChg chg="mod">
          <ac:chgData name="Aurelien Domont" userId="6da7715ce44349b3" providerId="LiveId" clId="{AABA1416-4740-4FEA-A91C-A3DACBE38F86}" dt="2023-11-03T01:27:37.784" v="152"/>
          <ac:graphicFrameMkLst>
            <pc:docMk/>
            <pc:sldMk cId="317099162" sldId="1749"/>
            <ac:graphicFrameMk id="13" creationId="{A073AF91-5325-42B9-A31A-3D179304022A}"/>
          </ac:graphicFrameMkLst>
        </pc:graphicFrameChg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264366395" sldId="1955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045459513" sldId="1956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026744296" sldId="1986"/>
        </pc:sldMkLst>
      </pc:sldChg>
      <pc:sldChg chg="addSp delSp modSp add mod modClrScheme chgLayout modNotes">
        <pc:chgData name="Aurelien Domont" userId="6da7715ce44349b3" providerId="LiveId" clId="{AABA1416-4740-4FEA-A91C-A3DACBE38F86}" dt="2023-11-03T04:51:06.562" v="8630" actId="790"/>
        <pc:sldMkLst>
          <pc:docMk/>
          <pc:sldMk cId="3938337455" sldId="2034"/>
        </pc:sldMkLst>
        <pc:spChg chg="mod ord">
          <ac:chgData name="Aurelien Domont" userId="6da7715ce44349b3" providerId="LiveId" clId="{AABA1416-4740-4FEA-A91C-A3DACBE38F86}" dt="2023-11-03T04:51:05.214" v="6771" actId="790"/>
          <ac:spMkLst>
            <pc:docMk/>
            <pc:sldMk cId="3938337455" sldId="2034"/>
            <ac:spMk id="2" creationId="{406113FD-AA7D-4249-90D7-70AF85BE48E1}"/>
          </ac:spMkLst>
        </pc:spChg>
        <pc:spChg chg="add del mod modVis">
          <ac:chgData name="Aurelien Domont" userId="6da7715ce44349b3" providerId="LiveId" clId="{AABA1416-4740-4FEA-A91C-A3DACBE38F86}" dt="2023-11-03T02:31:37.192" v="3221"/>
          <ac:spMkLst>
            <pc:docMk/>
            <pc:sldMk cId="3938337455" sldId="2034"/>
            <ac:spMk id="5" creationId="{193AF69E-49C6-25D5-E780-A487F0DC2EE5}"/>
          </ac:spMkLst>
        </pc:spChg>
        <pc:spChg chg="mod">
          <ac:chgData name="Aurelien Domont" userId="6da7715ce44349b3" providerId="LiveId" clId="{AABA1416-4740-4FEA-A91C-A3DACBE38F86}" dt="2023-11-03T04:51:05.294" v="6808" actId="790"/>
          <ac:spMkLst>
            <pc:docMk/>
            <pc:sldMk cId="3938337455" sldId="2034"/>
            <ac:spMk id="5" creationId="{488AF95F-BE9D-7824-C799-1B5318D797C8}"/>
          </ac:spMkLst>
        </pc:spChg>
        <pc:spChg chg="add del mod modVis">
          <ac:chgData name="Aurelien Domont" userId="6da7715ce44349b3" providerId="LiveId" clId="{AABA1416-4740-4FEA-A91C-A3DACBE38F86}" dt="2023-11-03T02:31:41.589" v="3268"/>
          <ac:spMkLst>
            <pc:docMk/>
            <pc:sldMk cId="3938337455" sldId="2034"/>
            <ac:spMk id="6" creationId="{969BBE52-0DFE-9308-DC06-C405CD73825E}"/>
          </ac:spMkLst>
        </pc:spChg>
        <pc:spChg chg="mod">
          <ac:chgData name="Aurelien Domont" userId="6da7715ce44349b3" providerId="LiveId" clId="{AABA1416-4740-4FEA-A91C-A3DACBE38F86}" dt="2023-11-03T04:51:05.215" v="6772" actId="790"/>
          <ac:spMkLst>
            <pc:docMk/>
            <pc:sldMk cId="3938337455" sldId="2034"/>
            <ac:spMk id="7" creationId="{E0995E6E-91BA-B0E7-4827-A68EC447770B}"/>
          </ac:spMkLst>
        </pc:spChg>
        <pc:spChg chg="mod">
          <ac:chgData name="Aurelien Domont" userId="6da7715ce44349b3" providerId="LiveId" clId="{AABA1416-4740-4FEA-A91C-A3DACBE38F86}" dt="2023-11-03T04:51:05.217" v="6773" actId="790"/>
          <ac:spMkLst>
            <pc:docMk/>
            <pc:sldMk cId="3938337455" sldId="2034"/>
            <ac:spMk id="8" creationId="{C760E3F4-FD20-38EA-1420-4623364ED51E}"/>
          </ac:spMkLst>
        </pc:spChg>
        <pc:spChg chg="mod ord">
          <ac:chgData name="Aurelien Domont" userId="6da7715ce44349b3" providerId="LiveId" clId="{AABA1416-4740-4FEA-A91C-A3DACBE38F86}" dt="2023-11-03T02:28:33.028" v="3018"/>
          <ac:spMkLst>
            <pc:docMk/>
            <pc:sldMk cId="3938337455" sldId="2034"/>
            <ac:spMk id="9" creationId="{A4C0187A-3E85-4C87-AB6B-7D4F4276FE07}"/>
          </ac:spMkLst>
        </pc:spChg>
        <pc:spChg chg="mod">
          <ac:chgData name="Aurelien Domont" userId="6da7715ce44349b3" providerId="LiveId" clId="{AABA1416-4740-4FEA-A91C-A3DACBE38F86}" dt="2023-11-03T04:51:05.218" v="6774" actId="790"/>
          <ac:spMkLst>
            <pc:docMk/>
            <pc:sldMk cId="3938337455" sldId="2034"/>
            <ac:spMk id="10" creationId="{771454E6-A047-784E-7613-20D7CCDFF33E}"/>
          </ac:spMkLst>
        </pc:spChg>
        <pc:spChg chg="mod">
          <ac:chgData name="Aurelien Domont" userId="6da7715ce44349b3" providerId="LiveId" clId="{AABA1416-4740-4FEA-A91C-A3DACBE38F86}" dt="2023-11-03T04:51:05.219" v="6775" actId="790"/>
          <ac:spMkLst>
            <pc:docMk/>
            <pc:sldMk cId="3938337455" sldId="2034"/>
            <ac:spMk id="11" creationId="{0B011522-144C-50E9-7C59-75376D78C1B7}"/>
          </ac:spMkLst>
        </pc:spChg>
        <pc:spChg chg="mod">
          <ac:chgData name="Aurelien Domont" userId="6da7715ce44349b3" providerId="LiveId" clId="{AABA1416-4740-4FEA-A91C-A3DACBE38F86}" dt="2023-11-03T04:51:05.220" v="6776" actId="790"/>
          <ac:spMkLst>
            <pc:docMk/>
            <pc:sldMk cId="3938337455" sldId="2034"/>
            <ac:spMk id="12" creationId="{E33AC3B5-B093-8FC2-5B92-E7096884A7EF}"/>
          </ac:spMkLst>
        </pc:spChg>
        <pc:spChg chg="mod">
          <ac:chgData name="Aurelien Domont" userId="6da7715ce44349b3" providerId="LiveId" clId="{AABA1416-4740-4FEA-A91C-A3DACBE38F86}" dt="2023-11-03T04:51:05.221" v="6777" actId="790"/>
          <ac:spMkLst>
            <pc:docMk/>
            <pc:sldMk cId="3938337455" sldId="2034"/>
            <ac:spMk id="13" creationId="{1B207AFA-900A-08C9-C601-047F9B971411}"/>
          </ac:spMkLst>
        </pc:spChg>
        <pc:spChg chg="add del mod modVis">
          <ac:chgData name="Aurelien Domont" userId="6da7715ce44349b3" providerId="LiveId" clId="{AABA1416-4740-4FEA-A91C-A3DACBE38F86}" dt="2023-11-03T02:31:44.761" v="3312"/>
          <ac:spMkLst>
            <pc:docMk/>
            <pc:sldMk cId="3938337455" sldId="2034"/>
            <ac:spMk id="14" creationId="{426A430E-6360-C544-509D-F84D22412BB2}"/>
          </ac:spMkLst>
        </pc:spChg>
        <pc:spChg chg="mod">
          <ac:chgData name="Aurelien Domont" userId="6da7715ce44349b3" providerId="LiveId" clId="{AABA1416-4740-4FEA-A91C-A3DACBE38F86}" dt="2023-11-03T04:51:05.222" v="6778" actId="790"/>
          <ac:spMkLst>
            <pc:docMk/>
            <pc:sldMk cId="3938337455" sldId="2034"/>
            <ac:spMk id="15" creationId="{FEF5CC02-D203-B520-C5B5-7DC6DED93266}"/>
          </ac:spMkLst>
        </pc:spChg>
        <pc:spChg chg="mod">
          <ac:chgData name="Aurelien Domont" userId="6da7715ce44349b3" providerId="LiveId" clId="{AABA1416-4740-4FEA-A91C-A3DACBE38F86}" dt="2023-11-03T04:51:05.223" v="6779" actId="790"/>
          <ac:spMkLst>
            <pc:docMk/>
            <pc:sldMk cId="3938337455" sldId="2034"/>
            <ac:spMk id="17" creationId="{C938A4F5-5450-BF24-707B-85666AD593E9}"/>
          </ac:spMkLst>
        </pc:spChg>
        <pc:spChg chg="mod">
          <ac:chgData name="Aurelien Domont" userId="6da7715ce44349b3" providerId="LiveId" clId="{AABA1416-4740-4FEA-A91C-A3DACBE38F86}" dt="2023-11-03T04:51:05.224" v="6780" actId="790"/>
          <ac:spMkLst>
            <pc:docMk/>
            <pc:sldMk cId="3938337455" sldId="2034"/>
            <ac:spMk id="19" creationId="{FEFADB5E-4C81-33E2-D634-A1839CEA8691}"/>
          </ac:spMkLst>
        </pc:spChg>
        <pc:spChg chg="mod">
          <ac:chgData name="Aurelien Domont" userId="6da7715ce44349b3" providerId="LiveId" clId="{AABA1416-4740-4FEA-A91C-A3DACBE38F86}" dt="2023-11-03T04:51:05.234" v="6783" actId="139"/>
          <ac:spMkLst>
            <pc:docMk/>
            <pc:sldMk cId="3938337455" sldId="2034"/>
            <ac:spMk id="22" creationId="{F664C8EF-D253-2803-0178-09A2F1F96CDD}"/>
          </ac:spMkLst>
        </pc:spChg>
        <pc:spChg chg="mod">
          <ac:chgData name="Aurelien Domont" userId="6da7715ce44349b3" providerId="LiveId" clId="{AABA1416-4740-4FEA-A91C-A3DACBE38F86}" dt="2023-11-03T04:51:05.244" v="6786" actId="139"/>
          <ac:spMkLst>
            <pc:docMk/>
            <pc:sldMk cId="3938337455" sldId="2034"/>
            <ac:spMk id="23" creationId="{B1D380C4-C6FD-13A7-39CE-E277C9BF1645}"/>
          </ac:spMkLst>
        </pc:spChg>
        <pc:spChg chg="mod">
          <ac:chgData name="Aurelien Domont" userId="6da7715ce44349b3" providerId="LiveId" clId="{AABA1416-4740-4FEA-A91C-A3DACBE38F86}" dt="2023-11-03T04:51:05.255" v="6789" actId="139"/>
          <ac:spMkLst>
            <pc:docMk/>
            <pc:sldMk cId="3938337455" sldId="2034"/>
            <ac:spMk id="26" creationId="{28E73549-6EA8-6C56-AB0D-394D25DB4EFE}"/>
          </ac:spMkLst>
        </pc:spChg>
        <pc:spChg chg="mod">
          <ac:chgData name="Aurelien Domont" userId="6da7715ce44349b3" providerId="LiveId" clId="{AABA1416-4740-4FEA-A91C-A3DACBE38F86}" dt="2023-11-03T04:51:05.264" v="6792" actId="139"/>
          <ac:spMkLst>
            <pc:docMk/>
            <pc:sldMk cId="3938337455" sldId="2034"/>
            <ac:spMk id="27" creationId="{812424AD-450E-927F-1233-1544347BC47F}"/>
          </ac:spMkLst>
        </pc:spChg>
        <pc:spChg chg="mod">
          <ac:chgData name="Aurelien Domont" userId="6da7715ce44349b3" providerId="LiveId" clId="{AABA1416-4740-4FEA-A91C-A3DACBE38F86}" dt="2023-11-03T04:51:05.271" v="6795" actId="139"/>
          <ac:spMkLst>
            <pc:docMk/>
            <pc:sldMk cId="3938337455" sldId="2034"/>
            <ac:spMk id="28" creationId="{A2EC5241-F3A8-F265-3E22-EB43ABE1A1C6}"/>
          </ac:spMkLst>
        </pc:spChg>
        <pc:spChg chg="mod">
          <ac:chgData name="Aurelien Domont" userId="6da7715ce44349b3" providerId="LiveId" clId="{AABA1416-4740-4FEA-A91C-A3DACBE38F86}" dt="2023-11-03T04:51:05.275" v="6798" actId="139"/>
          <ac:spMkLst>
            <pc:docMk/>
            <pc:sldMk cId="3938337455" sldId="2034"/>
            <ac:spMk id="29" creationId="{9D88DB97-7C34-0A0C-2DED-7A5380022445}"/>
          </ac:spMkLst>
        </pc:spChg>
        <pc:spChg chg="mod">
          <ac:chgData name="Aurelien Domont" userId="6da7715ce44349b3" providerId="LiveId" clId="{AABA1416-4740-4FEA-A91C-A3DACBE38F86}" dt="2023-11-03T04:51:05.282" v="6801" actId="139"/>
          <ac:spMkLst>
            <pc:docMk/>
            <pc:sldMk cId="3938337455" sldId="2034"/>
            <ac:spMk id="30" creationId="{B9DBF249-EEFB-86E5-1410-2D72D5445CAB}"/>
          </ac:spMkLst>
        </pc:spChg>
        <pc:spChg chg="mod">
          <ac:chgData name="Aurelien Domont" userId="6da7715ce44349b3" providerId="LiveId" clId="{AABA1416-4740-4FEA-A91C-A3DACBE38F86}" dt="2023-11-03T04:51:05.287" v="6804" actId="139"/>
          <ac:spMkLst>
            <pc:docMk/>
            <pc:sldMk cId="3938337455" sldId="2034"/>
            <ac:spMk id="31" creationId="{C074EF3D-1813-7902-A555-08D7A6C23019}"/>
          </ac:spMkLst>
        </pc:spChg>
        <pc:spChg chg="mod">
          <ac:chgData name="Aurelien Domont" userId="6da7715ce44349b3" providerId="LiveId" clId="{AABA1416-4740-4FEA-A91C-A3DACBE38F86}" dt="2023-11-03T04:51:05.293" v="6807" actId="139"/>
          <ac:spMkLst>
            <pc:docMk/>
            <pc:sldMk cId="3938337455" sldId="2034"/>
            <ac:spMk id="43" creationId="{35773859-1551-24FA-766B-DEBA9384247B}"/>
          </ac:spMkLst>
        </pc:spChg>
        <pc:graphicFrameChg chg="mod">
          <ac:chgData name="Aurelien Domont" userId="6da7715ce44349b3" providerId="LiveId" clId="{AABA1416-4740-4FEA-A91C-A3DACBE38F86}" dt="2023-11-03T02:31:44.761" v="3314"/>
          <ac:graphicFrameMkLst>
            <pc:docMk/>
            <pc:sldMk cId="3938337455" sldId="2034"/>
            <ac:graphicFrameMk id="4" creationId="{1F394E08-585B-4505-9747-167D67881D89}"/>
          </ac:graphicFrameMkLst>
        </pc:graphicFrameChg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346025138" sldId="2155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479295029" sldId="2156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678382071" sldId="2160"/>
        </pc:sldMkLst>
      </pc:sldChg>
      <pc:sldChg chg="modSp add del mod modClrScheme chgLayout">
        <pc:chgData name="Aurelien Domont" userId="6da7715ce44349b3" providerId="LiveId" clId="{AABA1416-4740-4FEA-A91C-A3DACBE38F86}" dt="2023-11-03T01:52:25.391" v="1851" actId="47"/>
        <pc:sldMkLst>
          <pc:docMk/>
          <pc:sldMk cId="62308209" sldId="2161"/>
        </pc:sldMkLst>
        <pc:spChg chg="mod ord">
          <ac:chgData name="Aurelien Domont" userId="6da7715ce44349b3" providerId="LiveId" clId="{AABA1416-4740-4FEA-A91C-A3DACBE38F86}" dt="2023-11-03T00:15:42.248" v="57"/>
          <ac:spMkLst>
            <pc:docMk/>
            <pc:sldMk cId="62308209" sldId="2161"/>
            <ac:spMk id="5" creationId="{3AA7B8AD-E6F9-4E25-A3A4-71D021032612}"/>
          </ac:spMkLst>
        </pc:spChg>
        <pc:spChg chg="mod ord">
          <ac:chgData name="Aurelien Domont" userId="6da7715ce44349b3" providerId="LiveId" clId="{AABA1416-4740-4FEA-A91C-A3DACBE38F86}" dt="2023-11-03T00:15:42.248" v="57"/>
          <ac:spMkLst>
            <pc:docMk/>
            <pc:sldMk cId="62308209" sldId="2161"/>
            <ac:spMk id="16" creationId="{6C2BB713-9637-4B9B-938F-E9768876782A}"/>
          </ac:spMkLst>
        </pc:spChg>
      </pc:sldChg>
      <pc:sldChg chg="addSp delSp modSp add mod modClrScheme chgLayout modNotes">
        <pc:chgData name="Aurelien Domont" userId="6da7715ce44349b3" providerId="LiveId" clId="{AABA1416-4740-4FEA-A91C-A3DACBE38F86}" dt="2023-11-05T23:26:54.286" v="12697" actId="20577"/>
        <pc:sldMkLst>
          <pc:docMk/>
          <pc:sldMk cId="3272444503" sldId="2162"/>
        </pc:sldMkLst>
        <pc:spChg chg="add del mod">
          <ac:chgData name="Aurelien Domont" userId="6da7715ce44349b3" providerId="LiveId" clId="{AABA1416-4740-4FEA-A91C-A3DACBE38F86}" dt="2023-11-03T03:32:09.276" v="5271" actId="478"/>
          <ac:spMkLst>
            <pc:docMk/>
            <pc:sldMk cId="3272444503" sldId="2162"/>
            <ac:spMk id="2" creationId="{48D311F0-7EF9-8BD7-FFE8-285C6BD759BA}"/>
          </ac:spMkLst>
        </pc:spChg>
        <pc:spChg chg="mod">
          <ac:chgData name="Aurelien Domont" userId="6da7715ce44349b3" providerId="LiveId" clId="{AABA1416-4740-4FEA-A91C-A3DACBE38F86}" dt="2023-11-03T04:51:05.060" v="6681" actId="790"/>
          <ac:spMkLst>
            <pc:docMk/>
            <pc:sldMk cId="3272444503" sldId="2162"/>
            <ac:spMk id="2" creationId="{68598359-A790-5A1A-C0EF-62C08A905B8E}"/>
          </ac:spMkLst>
        </pc:spChg>
        <pc:spChg chg="mod ord">
          <ac:chgData name="Aurelien Domont" userId="6da7715ce44349b3" providerId="LiveId" clId="{AABA1416-4740-4FEA-A91C-A3DACBE38F86}" dt="2023-11-03T02:22:16.329" v="2568" actId="947"/>
          <ac:spMkLst>
            <pc:docMk/>
            <pc:sldMk cId="3272444503" sldId="2162"/>
            <ac:spMk id="5" creationId="{3AA7B8AD-E6F9-4E25-A3A4-71D021032612}"/>
          </ac:spMkLst>
        </pc:spChg>
        <pc:spChg chg="mod">
          <ac:chgData name="Aurelien Domont" userId="6da7715ce44349b3" providerId="LiveId" clId="{AABA1416-4740-4FEA-A91C-A3DACBE38F86}" dt="2023-11-05T23:26:54.286" v="12697" actId="20577"/>
          <ac:spMkLst>
            <pc:docMk/>
            <pc:sldMk cId="3272444503" sldId="2162"/>
            <ac:spMk id="6" creationId="{22D27BA3-CC85-4DD2-AEDB-C22AC367D60A}"/>
          </ac:spMkLst>
        </pc:spChg>
        <pc:spChg chg="mod ord">
          <ac:chgData name="Aurelien Domont" userId="6da7715ce44349b3" providerId="LiveId" clId="{AABA1416-4740-4FEA-A91C-A3DACBE38F86}" dt="2023-11-03T04:51:05.034" v="6677" actId="790"/>
          <ac:spMkLst>
            <pc:docMk/>
            <pc:sldMk cId="3272444503" sldId="2162"/>
            <ac:spMk id="16" creationId="{6C2BB713-9637-4B9B-938F-E9768876782A}"/>
          </ac:spMkLst>
        </pc:spChg>
        <pc:graphicFrameChg chg="mod">
          <ac:chgData name="Aurelien Domont" userId="6da7715ce44349b3" providerId="LiveId" clId="{AABA1416-4740-4FEA-A91C-A3DACBE38F86}" dt="2023-11-03T02:22:17.527" v="2856"/>
          <ac:graphicFrameMkLst>
            <pc:docMk/>
            <pc:sldMk cId="3272444503" sldId="2162"/>
            <ac:graphicFrameMk id="13" creationId="{A073AF91-5325-42B9-A31A-3D179304022A}"/>
          </ac:graphicFrameMkLst>
        </pc:graphicFrameChg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929697781" sldId="2171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4258618140" sldId="2187"/>
        </pc:sldMkLst>
      </pc:sldChg>
      <pc:sldChg chg="addSp delSp modSp add mod modClrScheme chgLayout modNotes">
        <pc:chgData name="Aurelien Domont" userId="6da7715ce44349b3" providerId="LiveId" clId="{AABA1416-4740-4FEA-A91C-A3DACBE38F86}" dt="2023-11-03T05:37:21.291" v="11569" actId="14861"/>
        <pc:sldMkLst>
          <pc:docMk/>
          <pc:sldMk cId="1534399825" sldId="2240"/>
        </pc:sldMkLst>
        <pc:spChg chg="mod ord">
          <ac:chgData name="Aurelien Domont" userId="6da7715ce44349b3" providerId="LiveId" clId="{AABA1416-4740-4FEA-A91C-A3DACBE38F86}" dt="2023-11-03T04:51:06.521" v="8599" actId="790"/>
          <ac:spMkLst>
            <pc:docMk/>
            <pc:sldMk cId="1534399825" sldId="2240"/>
            <ac:spMk id="2" creationId="{406113FD-AA7D-4249-90D7-70AF85BE48E1}"/>
          </ac:spMkLst>
        </pc:spChg>
        <pc:spChg chg="add del mod modVis">
          <ac:chgData name="Aurelien Domont" userId="6da7715ce44349b3" providerId="LiveId" clId="{AABA1416-4740-4FEA-A91C-A3DACBE38F86}" dt="2023-11-03T02:36:33.999" v="3499"/>
          <ac:spMkLst>
            <pc:docMk/>
            <pc:sldMk cId="1534399825" sldId="2240"/>
            <ac:spMk id="3" creationId="{529FF2BD-0CEE-B4E4-178E-F90EE8CF39E4}"/>
          </ac:spMkLst>
        </pc:spChg>
        <pc:spChg chg="mod">
          <ac:chgData name="Aurelien Domont" userId="6da7715ce44349b3" providerId="LiveId" clId="{AABA1416-4740-4FEA-A91C-A3DACBE38F86}" dt="2023-11-03T04:51:06.523" v="8601" actId="790"/>
          <ac:spMkLst>
            <pc:docMk/>
            <pc:sldMk cId="1534399825" sldId="2240"/>
            <ac:spMk id="3" creationId="{E18632CD-BEF6-4E61-7DE4-44B8F8E84B19}"/>
          </ac:spMkLst>
        </pc:spChg>
        <pc:spChg chg="mod ord">
          <ac:chgData name="Aurelien Domont" userId="6da7715ce44349b3" providerId="LiveId" clId="{AABA1416-4740-4FEA-A91C-A3DACBE38F86}" dt="2023-11-03T02:28:33.028" v="3018"/>
          <ac:spMkLst>
            <pc:docMk/>
            <pc:sldMk cId="1534399825" sldId="2240"/>
            <ac:spMk id="6" creationId="{461FCE6B-D7D6-49AF-83FE-4C16649B34CE}"/>
          </ac:spMkLst>
        </pc:spChg>
        <pc:spChg chg="mod">
          <ac:chgData name="Aurelien Domont" userId="6da7715ce44349b3" providerId="LiveId" clId="{AABA1416-4740-4FEA-A91C-A3DACBE38F86}" dt="2023-11-03T05:37:21.291" v="11569" actId="14861"/>
          <ac:spMkLst>
            <pc:docMk/>
            <pc:sldMk cId="1534399825" sldId="2240"/>
            <ac:spMk id="7" creationId="{FCF3B6F5-0780-4160-979E-CDC4B2E2F5EC}"/>
          </ac:spMkLst>
        </pc:spChg>
        <pc:spChg chg="add del mod modVis">
          <ac:chgData name="Aurelien Domont" userId="6da7715ce44349b3" providerId="LiveId" clId="{AABA1416-4740-4FEA-A91C-A3DACBE38F86}" dt="2023-11-03T02:36:35.035" v="3535"/>
          <ac:spMkLst>
            <pc:docMk/>
            <pc:sldMk cId="1534399825" sldId="2240"/>
            <ac:spMk id="8" creationId="{3154B7A5-3918-A324-024B-67D98B9EBC9F}"/>
          </ac:spMkLst>
        </pc:spChg>
        <pc:spChg chg="add del mod modVis">
          <ac:chgData name="Aurelien Domont" userId="6da7715ce44349b3" providerId="LiveId" clId="{AABA1416-4740-4FEA-A91C-A3DACBE38F86}" dt="2023-11-03T02:36:38.067" v="3570"/>
          <ac:spMkLst>
            <pc:docMk/>
            <pc:sldMk cId="1534399825" sldId="2240"/>
            <ac:spMk id="9" creationId="{132B292F-5FCB-8454-1FAF-D21F60E067DA}"/>
          </ac:spMkLst>
        </pc:spChg>
        <pc:spChg chg="add del mod modVis">
          <ac:chgData name="Aurelien Domont" userId="6da7715ce44349b3" providerId="LiveId" clId="{AABA1416-4740-4FEA-A91C-A3DACBE38F86}" dt="2023-11-03T02:36:44.238" v="3612"/>
          <ac:spMkLst>
            <pc:docMk/>
            <pc:sldMk cId="1534399825" sldId="2240"/>
            <ac:spMk id="10" creationId="{CA28F022-36E1-E122-F851-E102EA5D3062}"/>
          </ac:spMkLst>
        </pc:spChg>
        <pc:spChg chg="add del mod modVis">
          <ac:chgData name="Aurelien Domont" userId="6da7715ce44349b3" providerId="LiveId" clId="{AABA1416-4740-4FEA-A91C-A3DACBE38F86}" dt="2023-11-03T02:36:49.677" v="3654"/>
          <ac:spMkLst>
            <pc:docMk/>
            <pc:sldMk cId="1534399825" sldId="2240"/>
            <ac:spMk id="11" creationId="{9D42A36C-7B61-43DA-53B7-C153D7F5000C}"/>
          </ac:spMkLst>
        </pc:spChg>
        <pc:spChg chg="add del mod modVis">
          <ac:chgData name="Aurelien Domont" userId="6da7715ce44349b3" providerId="LiveId" clId="{AABA1416-4740-4FEA-A91C-A3DACBE38F86}" dt="2023-11-03T02:36:53.669" v="3689"/>
          <ac:spMkLst>
            <pc:docMk/>
            <pc:sldMk cId="1534399825" sldId="2240"/>
            <ac:spMk id="12" creationId="{1C98CBE9-C0B9-5629-EB2B-784D62592F90}"/>
          </ac:spMkLst>
        </pc:spChg>
        <pc:spChg chg="add del mod modVis">
          <ac:chgData name="Aurelien Domont" userId="6da7715ce44349b3" providerId="LiveId" clId="{AABA1416-4740-4FEA-A91C-A3DACBE38F86}" dt="2023-11-03T02:38:54.533" v="3729"/>
          <ac:spMkLst>
            <pc:docMk/>
            <pc:sldMk cId="1534399825" sldId="2240"/>
            <ac:spMk id="13" creationId="{7D000043-FF69-D7AA-C508-CE9624306130}"/>
          </ac:spMkLst>
        </pc:spChg>
        <pc:spChg chg="add del mod modVis">
          <ac:chgData name="Aurelien Domont" userId="6da7715ce44349b3" providerId="LiveId" clId="{AABA1416-4740-4FEA-A91C-A3DACBE38F86}" dt="2023-11-03T02:43:38.870" v="3901"/>
          <ac:spMkLst>
            <pc:docMk/>
            <pc:sldMk cId="1534399825" sldId="2240"/>
            <ac:spMk id="14" creationId="{3B142DDC-6DB7-DBDB-FB04-3A4203C5115D}"/>
          </ac:spMkLst>
        </pc:spChg>
        <pc:spChg chg="add del mod modVis">
          <ac:chgData name="Aurelien Domont" userId="6da7715ce44349b3" providerId="LiveId" clId="{AABA1416-4740-4FEA-A91C-A3DACBE38F86}" dt="2023-11-03T02:58:41.074" v="4140"/>
          <ac:spMkLst>
            <pc:docMk/>
            <pc:sldMk cId="1534399825" sldId="2240"/>
            <ac:spMk id="15" creationId="{D35812E7-1EF2-0AEE-2632-FE20456D4AF4}"/>
          </ac:spMkLst>
        </pc:spChg>
        <pc:graphicFrameChg chg="mod">
          <ac:chgData name="Aurelien Domont" userId="6da7715ce44349b3" providerId="LiveId" clId="{AABA1416-4740-4FEA-A91C-A3DACBE38F86}" dt="2023-11-03T02:58:41.090" v="4142"/>
          <ac:graphicFrameMkLst>
            <pc:docMk/>
            <pc:sldMk cId="1534399825" sldId="2240"/>
            <ac:graphicFrameMk id="4" creationId="{EA4BA662-CDE2-4A20-B082-F06179C98F07}"/>
          </ac:graphicFrameMkLst>
        </pc:graphicFrameChg>
        <pc:picChg chg="mod modCrop">
          <ac:chgData name="Aurelien Domont" userId="6da7715ce44349b3" providerId="LiveId" clId="{AABA1416-4740-4FEA-A91C-A3DACBE38F86}" dt="2023-11-03T02:44:56.465" v="3905" actId="732"/>
          <ac:picMkLst>
            <pc:docMk/>
            <pc:sldMk cId="1534399825" sldId="2240"/>
            <ac:picMk id="22" creationId="{72DEE20F-275F-C091-1F85-E12BC455C0BA}"/>
          </ac:picMkLst>
        </pc:picChg>
      </pc:sldChg>
      <pc:sldChg chg="modSp add del mod modClrScheme chgLayout modNotes">
        <pc:chgData name="Aurelien Domont" userId="6da7715ce44349b3" providerId="LiveId" clId="{AABA1416-4740-4FEA-A91C-A3DACBE38F86}" dt="2023-11-03T02:26:47.793" v="3014" actId="47"/>
        <pc:sldMkLst>
          <pc:docMk/>
          <pc:sldMk cId="938037913" sldId="2244"/>
        </pc:sldMkLst>
        <pc:spChg chg="mod">
          <ac:chgData name="Aurelien Domont" userId="6da7715ce44349b3" providerId="LiveId" clId="{AABA1416-4740-4FEA-A91C-A3DACBE38F86}" dt="2023-11-03T02:22:16.439" v="2618" actId="947"/>
          <ac:spMkLst>
            <pc:docMk/>
            <pc:sldMk cId="938037913" sldId="2244"/>
            <ac:spMk id="2" creationId="{9822FBF0-3E4C-03F0-8E80-DBADFCF64272}"/>
          </ac:spMkLst>
        </pc:spChg>
        <pc:spChg chg="mod ord">
          <ac:chgData name="Aurelien Domont" userId="6da7715ce44349b3" providerId="LiveId" clId="{AABA1416-4740-4FEA-A91C-A3DACBE38F86}" dt="2023-11-03T02:22:16.408" v="2606" actId="947"/>
          <ac:spMkLst>
            <pc:docMk/>
            <pc:sldMk cId="938037913" sldId="2244"/>
            <ac:spMk id="5" creationId="{3AA7B8AD-E6F9-4E25-A3A4-71D021032612}"/>
          </ac:spMkLst>
        </pc:spChg>
        <pc:spChg chg="mod">
          <ac:chgData name="Aurelien Domont" userId="6da7715ce44349b3" providerId="LiveId" clId="{AABA1416-4740-4FEA-A91C-A3DACBE38F86}" dt="2023-11-03T02:22:16.408" v="2608" actId="947"/>
          <ac:spMkLst>
            <pc:docMk/>
            <pc:sldMk cId="938037913" sldId="2244"/>
            <ac:spMk id="15" creationId="{90395AB4-AE8D-9B3B-ACDF-DFD0ED6E815C}"/>
          </ac:spMkLst>
        </pc:spChg>
        <pc:spChg chg="mod ord">
          <ac:chgData name="Aurelien Domont" userId="6da7715ce44349b3" providerId="LiveId" clId="{AABA1416-4740-4FEA-A91C-A3DACBE38F86}" dt="2023-11-03T02:22:16.408" v="2604" actId="947"/>
          <ac:spMkLst>
            <pc:docMk/>
            <pc:sldMk cId="938037913" sldId="2244"/>
            <ac:spMk id="16" creationId="{6C2BB713-9637-4B9B-938F-E9768876782A}"/>
          </ac:spMkLst>
        </pc:spChg>
        <pc:spChg chg="mod">
          <ac:chgData name="Aurelien Domont" userId="6da7715ce44349b3" providerId="LiveId" clId="{AABA1416-4740-4FEA-A91C-A3DACBE38F86}" dt="2023-11-03T02:22:16.408" v="2610" actId="947"/>
          <ac:spMkLst>
            <pc:docMk/>
            <pc:sldMk cId="938037913" sldId="2244"/>
            <ac:spMk id="17" creationId="{3484814C-A4A0-0A7D-84E9-01E98185923C}"/>
          </ac:spMkLst>
        </pc:spChg>
        <pc:spChg chg="mod">
          <ac:chgData name="Aurelien Domont" userId="6da7715ce44349b3" providerId="LiveId" clId="{AABA1416-4740-4FEA-A91C-A3DACBE38F86}" dt="2023-11-03T02:22:16.439" v="2620" actId="947"/>
          <ac:spMkLst>
            <pc:docMk/>
            <pc:sldMk cId="938037913" sldId="2244"/>
            <ac:spMk id="28" creationId="{ED404E32-1DCF-0C2A-754D-74F848FA3485}"/>
          </ac:spMkLst>
        </pc:spChg>
        <pc:spChg chg="mod">
          <ac:chgData name="Aurelien Domont" userId="6da7715ce44349b3" providerId="LiveId" clId="{AABA1416-4740-4FEA-A91C-A3DACBE38F86}" dt="2023-11-03T02:22:16.439" v="2622" actId="947"/>
          <ac:spMkLst>
            <pc:docMk/>
            <pc:sldMk cId="938037913" sldId="2244"/>
            <ac:spMk id="29" creationId="{B783031B-5127-F11D-86F6-517C577B1E8F}"/>
          </ac:spMkLst>
        </pc:spChg>
        <pc:spChg chg="mod">
          <ac:chgData name="Aurelien Domont" userId="6da7715ce44349b3" providerId="LiveId" clId="{AABA1416-4740-4FEA-A91C-A3DACBE38F86}" dt="2023-11-03T02:22:16.424" v="2612" actId="947"/>
          <ac:spMkLst>
            <pc:docMk/>
            <pc:sldMk cId="938037913" sldId="2244"/>
            <ac:spMk id="33" creationId="{C50DAF67-2147-61BE-3752-2E80D4C65FD9}"/>
          </ac:spMkLst>
        </pc:spChg>
        <pc:spChg chg="mod">
          <ac:chgData name="Aurelien Domont" userId="6da7715ce44349b3" providerId="LiveId" clId="{AABA1416-4740-4FEA-A91C-A3DACBE38F86}" dt="2023-11-03T02:22:16.424" v="2614" actId="947"/>
          <ac:spMkLst>
            <pc:docMk/>
            <pc:sldMk cId="938037913" sldId="2244"/>
            <ac:spMk id="44" creationId="{2B909B00-32B3-C4D9-7930-CE63AC459AE4}"/>
          </ac:spMkLst>
        </pc:spChg>
        <pc:spChg chg="mod">
          <ac:chgData name="Aurelien Domont" userId="6da7715ce44349b3" providerId="LiveId" clId="{AABA1416-4740-4FEA-A91C-A3DACBE38F86}" dt="2023-11-03T02:22:16.439" v="2616" actId="947"/>
          <ac:spMkLst>
            <pc:docMk/>
            <pc:sldMk cId="938037913" sldId="2244"/>
            <ac:spMk id="48" creationId="{4E0A0C74-1892-6824-403E-7177D82F785E}"/>
          </ac:spMkLst>
        </pc:spChg>
        <pc:graphicFrameChg chg="mod">
          <ac:chgData name="Aurelien Domont" userId="6da7715ce44349b3" providerId="LiveId" clId="{AABA1416-4740-4FEA-A91C-A3DACBE38F86}" dt="2023-11-03T02:22:17.538" v="2860"/>
          <ac:graphicFrameMkLst>
            <pc:docMk/>
            <pc:sldMk cId="938037913" sldId="2244"/>
            <ac:graphicFrameMk id="13" creationId="{A073AF91-5325-42B9-A31A-3D179304022A}"/>
          </ac:graphicFrameMkLst>
        </pc:graphicFrameChg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763423627" sldId="2298"/>
        </pc:sldMkLst>
      </pc:sldChg>
      <pc:sldChg chg="modSp add mod modClrScheme chgLayout modNotes">
        <pc:chgData name="Aurelien Domont" userId="6da7715ce44349b3" providerId="LiveId" clId="{AABA1416-4740-4FEA-A91C-A3DACBE38F86}" dt="2023-11-05T23:12:02.770" v="12683" actId="207"/>
        <pc:sldMkLst>
          <pc:docMk/>
          <pc:sldMk cId="1209091634" sldId="2338"/>
        </pc:sldMkLst>
        <pc:spChg chg="mod">
          <ac:chgData name="Aurelien Domont" userId="6da7715ce44349b3" providerId="LiveId" clId="{AABA1416-4740-4FEA-A91C-A3DACBE38F86}" dt="2023-11-03T04:51:05.213" v="6770" actId="790"/>
          <ac:spMkLst>
            <pc:docMk/>
            <pc:sldMk cId="1209091634" sldId="2338"/>
            <ac:spMk id="2" creationId="{CA8FE628-6425-E95D-ED95-BAB110874AF0}"/>
          </ac:spMkLst>
        </pc:spChg>
        <pc:spChg chg="mod ord">
          <ac:chgData name="Aurelien Domont" userId="6da7715ce44349b3" providerId="LiveId" clId="{AABA1416-4740-4FEA-A91C-A3DACBE38F86}" dt="2023-11-03T02:28:33.028" v="3018"/>
          <ac:spMkLst>
            <pc:docMk/>
            <pc:sldMk cId="1209091634" sldId="2338"/>
            <ac:spMk id="5" creationId="{3AA7B8AD-E6F9-4E25-A3A4-71D021032612}"/>
          </ac:spMkLst>
        </pc:spChg>
        <pc:spChg chg="mod">
          <ac:chgData name="Aurelien Domont" userId="6da7715ce44349b3" providerId="LiveId" clId="{AABA1416-4740-4FEA-A91C-A3DACBE38F86}" dt="2023-11-05T23:12:02.770" v="12683" actId="207"/>
          <ac:spMkLst>
            <pc:docMk/>
            <pc:sldMk cId="1209091634" sldId="2338"/>
            <ac:spMk id="6" creationId="{E1C86821-54CE-8A1B-CBED-54B7AF9E8611}"/>
          </ac:spMkLst>
        </pc:spChg>
        <pc:spChg chg="mod">
          <ac:chgData name="Aurelien Domont" userId="6da7715ce44349b3" providerId="LiveId" clId="{AABA1416-4740-4FEA-A91C-A3DACBE38F86}" dt="2023-11-05T23:12:02.770" v="12683" actId="207"/>
          <ac:spMkLst>
            <pc:docMk/>
            <pc:sldMk cId="1209091634" sldId="2338"/>
            <ac:spMk id="7" creationId="{1B22B2CC-25AA-263D-1020-C20A807B7EB8}"/>
          </ac:spMkLst>
        </pc:spChg>
        <pc:spChg chg="mod">
          <ac:chgData name="Aurelien Domont" userId="6da7715ce44349b3" providerId="LiveId" clId="{AABA1416-4740-4FEA-A91C-A3DACBE38F86}" dt="2023-11-05T23:12:02.770" v="12683" actId="207"/>
          <ac:spMkLst>
            <pc:docMk/>
            <pc:sldMk cId="1209091634" sldId="2338"/>
            <ac:spMk id="8" creationId="{D0572104-6430-3E61-5813-3590A3CFE972}"/>
          </ac:spMkLst>
        </pc:spChg>
        <pc:spChg chg="mod">
          <ac:chgData name="Aurelien Domont" userId="6da7715ce44349b3" providerId="LiveId" clId="{AABA1416-4740-4FEA-A91C-A3DACBE38F86}" dt="2023-11-05T23:12:02.770" v="12683" actId="207"/>
          <ac:spMkLst>
            <pc:docMk/>
            <pc:sldMk cId="1209091634" sldId="2338"/>
            <ac:spMk id="9" creationId="{D6B23995-4475-E84D-EF57-7992732496E4}"/>
          </ac:spMkLst>
        </pc:spChg>
        <pc:spChg chg="mod">
          <ac:chgData name="Aurelien Domont" userId="6da7715ce44349b3" providerId="LiveId" clId="{AABA1416-4740-4FEA-A91C-A3DACBE38F86}" dt="2023-11-05T23:11:34.064" v="12676" actId="20577"/>
          <ac:spMkLst>
            <pc:docMk/>
            <pc:sldMk cId="1209091634" sldId="2338"/>
            <ac:spMk id="14" creationId="{4A437ECF-467E-1AD6-2C2E-4087FF953203}"/>
          </ac:spMkLst>
        </pc:spChg>
        <pc:spChg chg="mod">
          <ac:chgData name="Aurelien Domont" userId="6da7715ce44349b3" providerId="LiveId" clId="{AABA1416-4740-4FEA-A91C-A3DACBE38F86}" dt="2023-11-05T23:11:36.594" v="12678" actId="20577"/>
          <ac:spMkLst>
            <pc:docMk/>
            <pc:sldMk cId="1209091634" sldId="2338"/>
            <ac:spMk id="15" creationId="{777600B6-F58C-3E6A-BB6D-D47C974412BF}"/>
          </ac:spMkLst>
        </pc:spChg>
        <pc:spChg chg="mod ord">
          <ac:chgData name="Aurelien Domont" userId="6da7715ce44349b3" providerId="LiveId" clId="{AABA1416-4740-4FEA-A91C-A3DACBE38F86}" dt="2023-11-03T04:51:05.177" v="6748" actId="790"/>
          <ac:spMkLst>
            <pc:docMk/>
            <pc:sldMk cId="1209091634" sldId="2338"/>
            <ac:spMk id="16" creationId="{6C2BB713-9637-4B9B-938F-E9768876782A}"/>
          </ac:spMkLst>
        </pc:spChg>
        <pc:spChg chg="mod">
          <ac:chgData name="Aurelien Domont" userId="6da7715ce44349b3" providerId="LiveId" clId="{AABA1416-4740-4FEA-A91C-A3DACBE38F86}" dt="2023-11-05T23:11:39.028" v="12682" actId="20577"/>
          <ac:spMkLst>
            <pc:docMk/>
            <pc:sldMk cId="1209091634" sldId="2338"/>
            <ac:spMk id="17" creationId="{FE597C27-D46E-623C-682B-08389CD25348}"/>
          </ac:spMkLst>
        </pc:spChg>
        <pc:spChg chg="mod">
          <ac:chgData name="Aurelien Domont" userId="6da7715ce44349b3" providerId="LiveId" clId="{AABA1416-4740-4FEA-A91C-A3DACBE38F86}" dt="2023-11-03T04:51:05.204" v="6762" actId="790"/>
          <ac:spMkLst>
            <pc:docMk/>
            <pc:sldMk cId="1209091634" sldId="2338"/>
            <ac:spMk id="18" creationId="{4D320F2E-6201-9947-D452-66AFE8B758E1}"/>
          </ac:spMkLst>
        </pc:spChg>
        <pc:spChg chg="mod">
          <ac:chgData name="Aurelien Domont" userId="6da7715ce44349b3" providerId="LiveId" clId="{AABA1416-4740-4FEA-A91C-A3DACBE38F86}" dt="2023-11-03T04:51:05.205" v="6763" actId="790"/>
          <ac:spMkLst>
            <pc:docMk/>
            <pc:sldMk cId="1209091634" sldId="2338"/>
            <ac:spMk id="19" creationId="{58B932BA-CA7A-E3C4-9CC0-B95F841B1AA1}"/>
          </ac:spMkLst>
        </pc:spChg>
        <pc:spChg chg="mod">
          <ac:chgData name="Aurelien Domont" userId="6da7715ce44349b3" providerId="LiveId" clId="{AABA1416-4740-4FEA-A91C-A3DACBE38F86}" dt="2023-11-03T04:51:05.206" v="6764" actId="790"/>
          <ac:spMkLst>
            <pc:docMk/>
            <pc:sldMk cId="1209091634" sldId="2338"/>
            <ac:spMk id="20" creationId="{F0FE0B1D-EED1-17BD-8FCD-7A8076B46A80}"/>
          </ac:spMkLst>
        </pc:spChg>
        <pc:spChg chg="mod">
          <ac:chgData name="Aurelien Domont" userId="6da7715ce44349b3" providerId="LiveId" clId="{AABA1416-4740-4FEA-A91C-A3DACBE38F86}" dt="2023-11-03T04:51:05.207" v="6765" actId="790"/>
          <ac:spMkLst>
            <pc:docMk/>
            <pc:sldMk cId="1209091634" sldId="2338"/>
            <ac:spMk id="21" creationId="{EA0FC0FE-A163-ED1A-A296-D87A1C3FBA71}"/>
          </ac:spMkLst>
        </pc:spChg>
        <pc:spChg chg="mod">
          <ac:chgData name="Aurelien Domont" userId="6da7715ce44349b3" providerId="LiveId" clId="{AABA1416-4740-4FEA-A91C-A3DACBE38F86}" dt="2023-11-03T04:51:05.208" v="6766" actId="790"/>
          <ac:spMkLst>
            <pc:docMk/>
            <pc:sldMk cId="1209091634" sldId="2338"/>
            <ac:spMk id="22" creationId="{299470BB-701E-9F9B-5EED-CC4D40F693E5}"/>
          </ac:spMkLst>
        </pc:spChg>
        <pc:spChg chg="mod">
          <ac:chgData name="Aurelien Domont" userId="6da7715ce44349b3" providerId="LiveId" clId="{AABA1416-4740-4FEA-A91C-A3DACBE38F86}" dt="2023-11-03T04:51:05.212" v="6769" actId="139"/>
          <ac:spMkLst>
            <pc:docMk/>
            <pc:sldMk cId="1209091634" sldId="2338"/>
            <ac:spMk id="24" creationId="{BAA9348D-3B76-CAB3-5A04-7493B1BF62D0}"/>
          </ac:spMkLst>
        </pc:spChg>
        <pc:graphicFrameChg chg="mod">
          <ac:chgData name="Aurelien Domont" userId="6da7715ce44349b3" providerId="LiveId" clId="{AABA1416-4740-4FEA-A91C-A3DACBE38F86}" dt="2023-11-03T04:51:06.862" v="8836"/>
          <ac:graphicFrameMkLst>
            <pc:docMk/>
            <pc:sldMk cId="1209091634" sldId="2338"/>
            <ac:graphicFrameMk id="13" creationId="{A073AF91-5325-42B9-A31A-3D179304022A}"/>
          </ac:graphicFrameMkLst>
        </pc:graphicFrameChg>
      </pc:sldChg>
      <pc:sldChg chg="addSp delSp modSp add del mod modClrScheme chgLayout modNotes">
        <pc:chgData name="Aurelien Domont" userId="6da7715ce44349b3" providerId="LiveId" clId="{AABA1416-4740-4FEA-A91C-A3DACBE38F86}" dt="2023-11-03T05:25:18.059" v="11070" actId="47"/>
        <pc:sldMkLst>
          <pc:docMk/>
          <pc:sldMk cId="2995647837" sldId="2340"/>
        </pc:sldMkLst>
        <pc:spChg chg="mod ord">
          <ac:chgData name="Aurelien Domont" userId="6da7715ce44349b3" providerId="LiveId" clId="{AABA1416-4740-4FEA-A91C-A3DACBE38F86}" dt="2023-11-03T05:19:16.164" v="10963"/>
          <ac:spMkLst>
            <pc:docMk/>
            <pc:sldMk cId="2995647837" sldId="2340"/>
            <ac:spMk id="2" creationId="{ED3A24D5-DB93-B4E4-75C8-2727EF45168D}"/>
          </ac:spMkLst>
        </pc:spChg>
        <pc:spChg chg="mod ord">
          <ac:chgData name="Aurelien Domont" userId="6da7715ce44349b3" providerId="LiveId" clId="{AABA1416-4740-4FEA-A91C-A3DACBE38F86}" dt="2023-11-03T02:22:16.141" v="2464" actId="947"/>
          <ac:spMkLst>
            <pc:docMk/>
            <pc:sldMk cId="2995647837" sldId="2340"/>
            <ac:spMk id="3" creationId="{CE2529A3-BA97-486F-9E02-8DFAAA7D8D38}"/>
          </ac:spMkLst>
        </pc:spChg>
        <pc:spChg chg="add mod">
          <ac:chgData name="Aurelien Domont" userId="6da7715ce44349b3" providerId="LiveId" clId="{AABA1416-4740-4FEA-A91C-A3DACBE38F86}" dt="2023-11-03T05:24:08.753" v="11060" actId="113"/>
          <ac:spMkLst>
            <pc:docMk/>
            <pc:sldMk cId="2995647837" sldId="2340"/>
            <ac:spMk id="5" creationId="{DC054480-D828-7B59-3328-48D130C91ED1}"/>
          </ac:spMkLst>
        </pc:spChg>
        <pc:spChg chg="add mod">
          <ac:chgData name="Aurelien Domont" userId="6da7715ce44349b3" providerId="LiveId" clId="{AABA1416-4740-4FEA-A91C-A3DACBE38F86}" dt="2023-11-03T05:23:15.400" v="11053"/>
          <ac:spMkLst>
            <pc:docMk/>
            <pc:sldMk cId="2995647837" sldId="2340"/>
            <ac:spMk id="7" creationId="{DA49D4D5-98E8-7870-FF2C-81E5593F9580}"/>
          </ac:spMkLst>
        </pc:spChg>
        <pc:spChg chg="del">
          <ac:chgData name="Aurelien Domont" userId="6da7715ce44349b3" providerId="LiveId" clId="{AABA1416-4740-4FEA-A91C-A3DACBE38F86}" dt="2023-11-03T02:16:21.306" v="2366" actId="478"/>
          <ac:spMkLst>
            <pc:docMk/>
            <pc:sldMk cId="2995647837" sldId="2340"/>
            <ac:spMk id="8" creationId="{4165C724-0F42-4853-AC91-842B9A95FB6C}"/>
          </ac:spMkLst>
        </pc:spChg>
        <pc:spChg chg="mod ord">
          <ac:chgData name="Aurelien Domont" userId="6da7715ce44349b3" providerId="LiveId" clId="{AABA1416-4740-4FEA-A91C-A3DACBE38F86}" dt="2023-11-03T05:23:06.069" v="11048" actId="20577"/>
          <ac:spMkLst>
            <pc:docMk/>
            <pc:sldMk cId="2995647837" sldId="2340"/>
            <ac:spMk id="16" creationId="{6C2BB713-9637-4B9B-938F-E9768876782A}"/>
          </ac:spMkLst>
        </pc:spChg>
        <pc:spChg chg="del mod">
          <ac:chgData name="Aurelien Domont" userId="6da7715ce44349b3" providerId="LiveId" clId="{AABA1416-4740-4FEA-A91C-A3DACBE38F86}" dt="2023-11-03T05:21:03.613" v="11022" actId="478"/>
          <ac:spMkLst>
            <pc:docMk/>
            <pc:sldMk cId="2995647837" sldId="2340"/>
            <ac:spMk id="29" creationId="{8221B270-36B6-4108-B973-F2BFC4E4817D}"/>
          </ac:spMkLst>
        </pc:spChg>
        <pc:graphicFrameChg chg="mod">
          <ac:chgData name="Aurelien Domont" userId="6da7715ce44349b3" providerId="LiveId" clId="{AABA1416-4740-4FEA-A91C-A3DACBE38F86}" dt="2023-11-03T05:25:16.173" v="11069"/>
          <ac:graphicFrameMkLst>
            <pc:docMk/>
            <pc:sldMk cId="2995647837" sldId="2340"/>
            <ac:graphicFrameMk id="13" creationId="{A073AF91-5325-42B9-A31A-3D179304022A}"/>
          </ac:graphicFrameMkLst>
        </pc:graphicFrameChg>
        <pc:picChg chg="del mod">
          <ac:chgData name="Aurelien Domont" userId="6da7715ce44349b3" providerId="LiveId" clId="{AABA1416-4740-4FEA-A91C-A3DACBE38F86}" dt="2023-11-03T05:21:03.613" v="11022" actId="478"/>
          <ac:picMkLst>
            <pc:docMk/>
            <pc:sldMk cId="2995647837" sldId="2340"/>
            <ac:picMk id="4" creationId="{6773B650-0EC0-44CA-AC74-734437AD8C3F}"/>
          </ac:picMkLst>
        </pc:picChg>
        <pc:picChg chg="add mod">
          <ac:chgData name="Aurelien Domont" userId="6da7715ce44349b3" providerId="LiveId" clId="{AABA1416-4740-4FEA-A91C-A3DACBE38F86}" dt="2023-11-03T05:23:15.400" v="11053"/>
          <ac:picMkLst>
            <pc:docMk/>
            <pc:sldMk cId="2995647837" sldId="2340"/>
            <ac:picMk id="6" creationId="{7CE27B58-4E64-2C1A-172E-FF737A503B72}"/>
          </ac:picMkLst>
        </pc:picChg>
        <pc:picChg chg="add mod">
          <ac:chgData name="Aurelien Domont" userId="6da7715ce44349b3" providerId="LiveId" clId="{AABA1416-4740-4FEA-A91C-A3DACBE38F86}" dt="2023-11-03T05:24:54.232" v="11065" actId="1076"/>
          <ac:picMkLst>
            <pc:docMk/>
            <pc:sldMk cId="2995647837" sldId="2340"/>
            <ac:picMk id="8" creationId="{268E509B-2278-9C53-3AC5-C1C08EBA20F9}"/>
          </ac:picMkLst>
        </pc:picChg>
        <pc:picChg chg="add mod">
          <ac:chgData name="Aurelien Domont" userId="6da7715ce44349b3" providerId="LiveId" clId="{AABA1416-4740-4FEA-A91C-A3DACBE38F86}" dt="2023-11-03T05:23:15.400" v="11053"/>
          <ac:picMkLst>
            <pc:docMk/>
            <pc:sldMk cId="2995647837" sldId="2340"/>
            <ac:picMk id="9" creationId="{09402739-287F-B248-8F93-455BAF39FE3C}"/>
          </ac:picMkLst>
        </pc:picChg>
        <pc:picChg chg="del mod">
          <ac:chgData name="Aurelien Domont" userId="6da7715ce44349b3" providerId="LiveId" clId="{AABA1416-4740-4FEA-A91C-A3DACBE38F86}" dt="2023-11-03T02:16:51.202" v="2374" actId="478"/>
          <ac:picMkLst>
            <pc:docMk/>
            <pc:sldMk cId="2995647837" sldId="2340"/>
            <ac:picMk id="14" creationId="{5B754426-5C61-43CB-B563-7615286D2001}"/>
          </ac:picMkLst>
        </pc:picChg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929886259" sldId="2366"/>
        </pc:sldMkLst>
      </pc:sldChg>
      <pc:sldChg chg="modSp add del mod modClrScheme chgLayout modNotes">
        <pc:chgData name="Aurelien Domont" userId="6da7715ce44349b3" providerId="LiveId" clId="{AABA1416-4740-4FEA-A91C-A3DACBE38F86}" dt="2023-11-03T02:26:47.793" v="3014" actId="47"/>
        <pc:sldMkLst>
          <pc:docMk/>
          <pc:sldMk cId="1664956255" sldId="2433"/>
        </pc:sldMkLst>
        <pc:spChg chg="mod ord">
          <ac:chgData name="Aurelien Domont" userId="6da7715ce44349b3" providerId="LiveId" clId="{AABA1416-4740-4FEA-A91C-A3DACBE38F86}" dt="2023-11-03T02:22:16.345" v="2574" actId="947"/>
          <ac:spMkLst>
            <pc:docMk/>
            <pc:sldMk cId="1664956255" sldId="2433"/>
            <ac:spMk id="3" creationId="{CE2529A3-BA97-486F-9E02-8DFAAA7D8D38}"/>
          </ac:spMkLst>
        </pc:spChg>
        <pc:spChg chg="mod ord">
          <ac:chgData name="Aurelien Domont" userId="6da7715ce44349b3" providerId="LiveId" clId="{AABA1416-4740-4FEA-A91C-A3DACBE38F86}" dt="2023-11-03T02:22:16.345" v="2572" actId="947"/>
          <ac:spMkLst>
            <pc:docMk/>
            <pc:sldMk cId="1664956255" sldId="2433"/>
            <ac:spMk id="16" creationId="{6C2BB713-9637-4B9B-938F-E9768876782A}"/>
          </ac:spMkLst>
        </pc:spChg>
        <pc:spChg chg="mod">
          <ac:chgData name="Aurelien Domont" userId="6da7715ce44349b3" providerId="LiveId" clId="{AABA1416-4740-4FEA-A91C-A3DACBE38F86}" dt="2023-11-03T02:22:16.345" v="2576" actId="947"/>
          <ac:spMkLst>
            <pc:docMk/>
            <pc:sldMk cId="1664956255" sldId="2433"/>
            <ac:spMk id="86" creationId="{5C75F1A1-9E2A-AE1E-D773-A60996189B67}"/>
          </ac:spMkLst>
        </pc:spChg>
        <pc:spChg chg="mod">
          <ac:chgData name="Aurelien Domont" userId="6da7715ce44349b3" providerId="LiveId" clId="{AABA1416-4740-4FEA-A91C-A3DACBE38F86}" dt="2023-11-03T02:22:16.361" v="2578" actId="947"/>
          <ac:spMkLst>
            <pc:docMk/>
            <pc:sldMk cId="1664956255" sldId="2433"/>
            <ac:spMk id="90" creationId="{CCCBCB1F-4DC3-CB28-1228-F528071BC4A1}"/>
          </ac:spMkLst>
        </pc:spChg>
        <pc:spChg chg="mod">
          <ac:chgData name="Aurelien Domont" userId="6da7715ce44349b3" providerId="LiveId" clId="{AABA1416-4740-4FEA-A91C-A3DACBE38F86}" dt="2023-11-03T02:22:16.361" v="2580" actId="947"/>
          <ac:spMkLst>
            <pc:docMk/>
            <pc:sldMk cId="1664956255" sldId="2433"/>
            <ac:spMk id="92" creationId="{8D1212FC-8BE1-0C9E-66DA-4C4D8AD62642}"/>
          </ac:spMkLst>
        </pc:spChg>
        <pc:spChg chg="mod">
          <ac:chgData name="Aurelien Domont" userId="6da7715ce44349b3" providerId="LiveId" clId="{AABA1416-4740-4FEA-A91C-A3DACBE38F86}" dt="2023-11-03T02:22:16.361" v="2582" actId="947"/>
          <ac:spMkLst>
            <pc:docMk/>
            <pc:sldMk cId="1664956255" sldId="2433"/>
            <ac:spMk id="128" creationId="{12539EA7-2B6A-BBBE-BC25-60309C825C81}"/>
          </ac:spMkLst>
        </pc:spChg>
        <pc:spChg chg="mod">
          <ac:chgData name="Aurelien Domont" userId="6da7715ce44349b3" providerId="LiveId" clId="{AABA1416-4740-4FEA-A91C-A3DACBE38F86}" dt="2023-11-03T02:22:16.361" v="2584" actId="947"/>
          <ac:spMkLst>
            <pc:docMk/>
            <pc:sldMk cId="1664956255" sldId="2433"/>
            <ac:spMk id="132" creationId="{614065B5-9D46-ADE4-323D-5FAACF3BA152}"/>
          </ac:spMkLst>
        </pc:spChg>
        <pc:spChg chg="mod">
          <ac:chgData name="Aurelien Domont" userId="6da7715ce44349b3" providerId="LiveId" clId="{AABA1416-4740-4FEA-A91C-A3DACBE38F86}" dt="2023-11-03T02:22:16.361" v="2586" actId="947"/>
          <ac:spMkLst>
            <pc:docMk/>
            <pc:sldMk cId="1664956255" sldId="2433"/>
            <ac:spMk id="134" creationId="{77A1D7FC-21D5-B25D-04C8-3A07A101AA17}"/>
          </ac:spMkLst>
        </pc:spChg>
        <pc:spChg chg="mod">
          <ac:chgData name="Aurelien Domont" userId="6da7715ce44349b3" providerId="LiveId" clId="{AABA1416-4740-4FEA-A91C-A3DACBE38F86}" dt="2023-11-03T02:22:16.361" v="2588" actId="947"/>
          <ac:spMkLst>
            <pc:docMk/>
            <pc:sldMk cId="1664956255" sldId="2433"/>
            <ac:spMk id="136" creationId="{C9540AB9-D4A5-F285-34DF-641D2789E3A0}"/>
          </ac:spMkLst>
        </pc:spChg>
        <pc:spChg chg="mod">
          <ac:chgData name="Aurelien Domont" userId="6da7715ce44349b3" providerId="LiveId" clId="{AABA1416-4740-4FEA-A91C-A3DACBE38F86}" dt="2023-11-03T02:22:16.376" v="2590" actId="947"/>
          <ac:spMkLst>
            <pc:docMk/>
            <pc:sldMk cId="1664956255" sldId="2433"/>
            <ac:spMk id="138" creationId="{F9F63C2E-B8C6-6EB7-63E5-586F01EADB43}"/>
          </ac:spMkLst>
        </pc:spChg>
        <pc:spChg chg="mod">
          <ac:chgData name="Aurelien Domont" userId="6da7715ce44349b3" providerId="LiveId" clId="{AABA1416-4740-4FEA-A91C-A3DACBE38F86}" dt="2023-11-03T02:22:16.376" v="2592" actId="947"/>
          <ac:spMkLst>
            <pc:docMk/>
            <pc:sldMk cId="1664956255" sldId="2433"/>
            <ac:spMk id="176" creationId="{3A25781D-12B3-FB17-A1B4-6565D926826F}"/>
          </ac:spMkLst>
        </pc:spChg>
        <pc:spChg chg="mod">
          <ac:chgData name="Aurelien Domont" userId="6da7715ce44349b3" providerId="LiveId" clId="{AABA1416-4740-4FEA-A91C-A3DACBE38F86}" dt="2023-11-03T02:22:16.376" v="2594" actId="947"/>
          <ac:spMkLst>
            <pc:docMk/>
            <pc:sldMk cId="1664956255" sldId="2433"/>
            <ac:spMk id="178" creationId="{79064626-CF72-6B53-85D9-8C45D5ADDA7A}"/>
          </ac:spMkLst>
        </pc:spChg>
        <pc:spChg chg="mod">
          <ac:chgData name="Aurelien Domont" userId="6da7715ce44349b3" providerId="LiveId" clId="{AABA1416-4740-4FEA-A91C-A3DACBE38F86}" dt="2023-11-03T02:22:16.376" v="2596" actId="947"/>
          <ac:spMkLst>
            <pc:docMk/>
            <pc:sldMk cId="1664956255" sldId="2433"/>
            <ac:spMk id="180" creationId="{47542FBD-D5FC-9153-B078-9046325C4FFA}"/>
          </ac:spMkLst>
        </pc:spChg>
        <pc:spChg chg="mod">
          <ac:chgData name="Aurelien Domont" userId="6da7715ce44349b3" providerId="LiveId" clId="{AABA1416-4740-4FEA-A91C-A3DACBE38F86}" dt="2023-11-03T02:22:16.376" v="2598" actId="947"/>
          <ac:spMkLst>
            <pc:docMk/>
            <pc:sldMk cId="1664956255" sldId="2433"/>
            <ac:spMk id="182" creationId="{38B8D8AD-CE59-2501-9EE3-54059CF89E4C}"/>
          </ac:spMkLst>
        </pc:spChg>
        <pc:spChg chg="mod">
          <ac:chgData name="Aurelien Domont" userId="6da7715ce44349b3" providerId="LiveId" clId="{AABA1416-4740-4FEA-A91C-A3DACBE38F86}" dt="2023-11-03T02:22:16.392" v="2600" actId="947"/>
          <ac:spMkLst>
            <pc:docMk/>
            <pc:sldMk cId="1664956255" sldId="2433"/>
            <ac:spMk id="184" creationId="{AAE8D58D-0155-B6BD-E212-6FCE4773B9B6}"/>
          </ac:spMkLst>
        </pc:spChg>
        <pc:spChg chg="mod">
          <ac:chgData name="Aurelien Domont" userId="6da7715ce44349b3" providerId="LiveId" clId="{AABA1416-4740-4FEA-A91C-A3DACBE38F86}" dt="2023-11-03T02:22:16.392" v="2602" actId="947"/>
          <ac:spMkLst>
            <pc:docMk/>
            <pc:sldMk cId="1664956255" sldId="2433"/>
            <ac:spMk id="186" creationId="{8D9A7E80-2E41-395B-F661-0BDCAB809336}"/>
          </ac:spMkLst>
        </pc:spChg>
        <pc:graphicFrameChg chg="mod">
          <ac:chgData name="Aurelien Domont" userId="6da7715ce44349b3" providerId="LiveId" clId="{AABA1416-4740-4FEA-A91C-A3DACBE38F86}" dt="2023-11-03T02:22:17.527" v="2858"/>
          <ac:graphicFrameMkLst>
            <pc:docMk/>
            <pc:sldMk cId="1664956255" sldId="2433"/>
            <ac:graphicFrameMk id="13" creationId="{A073AF91-5325-42B9-A31A-3D179304022A}"/>
          </ac:graphicFrameMkLst>
        </pc:graphicFrameChg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873290227" sldId="2434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433141511" sldId="2435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729151380" sldId="2436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495242922" sldId="2437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18271412" sldId="2439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405034369" sldId="2440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594125012" sldId="2441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457987928" sldId="2442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154909907" sldId="2443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801254905" sldId="2445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967848613" sldId="2446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526972999" sldId="2447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51239133" sldId="2448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917879965" sldId="2449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554794133" sldId="2450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457909485" sldId="2451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397914777" sldId="2452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130875905" sldId="2453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143051604" sldId="2454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545824460" sldId="2455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190274426" sldId="2483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493024874" sldId="2484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959284277" sldId="2486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599046706" sldId="2487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266331645" sldId="2488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386949350" sldId="2489"/>
        </pc:sldMkLst>
      </pc:sldChg>
      <pc:sldChg chg="add del">
        <pc:chgData name="Aurelien Domont" userId="6da7715ce44349b3" providerId="LiveId" clId="{AABA1416-4740-4FEA-A91C-A3DACBE38F86}" dt="2023-11-03T04:38:23.171" v="6516" actId="47"/>
        <pc:sldMkLst>
          <pc:docMk/>
          <pc:sldMk cId="1365513723" sldId="2490"/>
        </pc:sldMkLst>
      </pc:sldChg>
      <pc:sldChg chg="add del">
        <pc:chgData name="Aurelien Domont" userId="6da7715ce44349b3" providerId="LiveId" clId="{AABA1416-4740-4FEA-A91C-A3DACBE38F86}" dt="2023-11-03T04:38:23.171" v="6516" actId="47"/>
        <pc:sldMkLst>
          <pc:docMk/>
          <pc:sldMk cId="3457892389" sldId="2496"/>
        </pc:sldMkLst>
      </pc:sldChg>
      <pc:sldChg chg="add del">
        <pc:chgData name="Aurelien Domont" userId="6da7715ce44349b3" providerId="LiveId" clId="{AABA1416-4740-4FEA-A91C-A3DACBE38F86}" dt="2023-11-03T01:30:47.273" v="536" actId="47"/>
        <pc:sldMkLst>
          <pc:docMk/>
          <pc:sldMk cId="920383389" sldId="2498"/>
        </pc:sldMkLst>
      </pc:sldChg>
      <pc:sldChg chg="add del">
        <pc:chgData name="Aurelien Domont" userId="6da7715ce44349b3" providerId="LiveId" clId="{AABA1416-4740-4FEA-A91C-A3DACBE38F86}" dt="2023-11-03T04:38:23.171" v="6516" actId="47"/>
        <pc:sldMkLst>
          <pc:docMk/>
          <pc:sldMk cId="3864691588" sldId="2498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548391786" sldId="2500"/>
        </pc:sldMkLst>
      </pc:sldChg>
      <pc:sldChg chg="add del">
        <pc:chgData name="Aurelien Domont" userId="6da7715ce44349b3" providerId="LiveId" clId="{AABA1416-4740-4FEA-A91C-A3DACBE38F86}" dt="2023-11-03T04:38:23.171" v="6516" actId="47"/>
        <pc:sldMkLst>
          <pc:docMk/>
          <pc:sldMk cId="330583714" sldId="2510"/>
        </pc:sldMkLst>
      </pc:sldChg>
      <pc:sldChg chg="add del">
        <pc:chgData name="Aurelien Domont" userId="6da7715ce44349b3" providerId="LiveId" clId="{AABA1416-4740-4FEA-A91C-A3DACBE38F86}" dt="2023-11-03T04:38:23.171" v="6516" actId="47"/>
        <pc:sldMkLst>
          <pc:docMk/>
          <pc:sldMk cId="1583963653" sldId="2511"/>
        </pc:sldMkLst>
      </pc:sldChg>
      <pc:sldChg chg="add del">
        <pc:chgData name="Aurelien Domont" userId="6da7715ce44349b3" providerId="LiveId" clId="{AABA1416-4740-4FEA-A91C-A3DACBE38F86}" dt="2023-11-03T04:38:23.171" v="6516" actId="47"/>
        <pc:sldMkLst>
          <pc:docMk/>
          <pc:sldMk cId="1378182528" sldId="2512"/>
        </pc:sldMkLst>
      </pc:sldChg>
      <pc:sldChg chg="add del">
        <pc:chgData name="Aurelien Domont" userId="6da7715ce44349b3" providerId="LiveId" clId="{AABA1416-4740-4FEA-A91C-A3DACBE38F86}" dt="2023-11-03T04:38:23.171" v="6516" actId="47"/>
        <pc:sldMkLst>
          <pc:docMk/>
          <pc:sldMk cId="1596498046" sldId="2513"/>
        </pc:sldMkLst>
      </pc:sldChg>
      <pc:sldChg chg="add del">
        <pc:chgData name="Aurelien Domont" userId="6da7715ce44349b3" providerId="LiveId" clId="{AABA1416-4740-4FEA-A91C-A3DACBE38F86}" dt="2023-11-03T04:38:23.171" v="6516" actId="47"/>
        <pc:sldMkLst>
          <pc:docMk/>
          <pc:sldMk cId="3898129810" sldId="2514"/>
        </pc:sldMkLst>
      </pc:sldChg>
      <pc:sldChg chg="add del">
        <pc:chgData name="Aurelien Domont" userId="6da7715ce44349b3" providerId="LiveId" clId="{AABA1416-4740-4FEA-A91C-A3DACBE38F86}" dt="2023-11-03T04:38:23.171" v="6516" actId="47"/>
        <pc:sldMkLst>
          <pc:docMk/>
          <pc:sldMk cId="1247299320" sldId="2515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148856858" sldId="2517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896093903" sldId="2518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91942563" sldId="2519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376456613" sldId="2520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139254451" sldId="2521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291360483" sldId="2523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276071411" sldId="2524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756767282" sldId="2525"/>
        </pc:sldMkLst>
      </pc:sldChg>
      <pc:sldChg chg="add del">
        <pc:chgData name="Aurelien Domont" userId="6da7715ce44349b3" providerId="LiveId" clId="{AABA1416-4740-4FEA-A91C-A3DACBE38F86}" dt="2023-11-03T05:44:35.787" v="11571" actId="2696"/>
        <pc:sldMkLst>
          <pc:docMk/>
          <pc:sldMk cId="1263786278" sldId="2557"/>
        </pc:sldMkLst>
      </pc:sldChg>
      <pc:sldChg chg="addSp delSp modSp add mod">
        <pc:chgData name="Aurelien Domont" userId="6da7715ce44349b3" providerId="LiveId" clId="{AABA1416-4740-4FEA-A91C-A3DACBE38F86}" dt="2023-11-03T05:53:01.939" v="11835" actId="14100"/>
        <pc:sldMkLst>
          <pc:docMk/>
          <pc:sldMk cId="4078591124" sldId="2557"/>
        </pc:sldMkLst>
        <pc:spChg chg="add del mod">
          <ac:chgData name="Aurelien Domont" userId="6da7715ce44349b3" providerId="LiveId" clId="{AABA1416-4740-4FEA-A91C-A3DACBE38F86}" dt="2023-11-03T05:51:00.721" v="11752" actId="478"/>
          <ac:spMkLst>
            <pc:docMk/>
            <pc:sldMk cId="4078591124" sldId="2557"/>
            <ac:spMk id="4" creationId="{E0A82194-9FA7-7FEB-BBA7-0B846108CED7}"/>
          </ac:spMkLst>
        </pc:spChg>
        <pc:spChg chg="mod">
          <ac:chgData name="Aurelien Domont" userId="6da7715ce44349b3" providerId="LiveId" clId="{AABA1416-4740-4FEA-A91C-A3DACBE38F86}" dt="2023-11-03T05:53:01.939" v="11835" actId="14100"/>
          <ac:spMkLst>
            <pc:docMk/>
            <pc:sldMk cId="4078591124" sldId="2557"/>
            <ac:spMk id="521" creationId="{14EE3188-976A-6282-90A1-7D6534A70E65}"/>
          </ac:spMkLst>
        </pc:spChg>
      </pc:sldChg>
      <pc:sldChg chg="addSp delSp modSp del mod modNotes">
        <pc:chgData name="Aurelien Domont" userId="6da7715ce44349b3" providerId="LiveId" clId="{AABA1416-4740-4FEA-A91C-A3DACBE38F86}" dt="2023-11-03T02:26:47.793" v="3014" actId="47"/>
        <pc:sldMkLst>
          <pc:docMk/>
          <pc:sldMk cId="1254545715" sldId="2558"/>
        </pc:sldMkLst>
        <pc:spChg chg="mod">
          <ac:chgData name="Aurelien Domont" userId="6da7715ce44349b3" providerId="LiveId" clId="{AABA1416-4740-4FEA-A91C-A3DACBE38F86}" dt="2023-11-03T02:22:17.350" v="2730" actId="948"/>
          <ac:spMkLst>
            <pc:docMk/>
            <pc:sldMk cId="1254545715" sldId="2558"/>
            <ac:spMk id="2" creationId="{162E6AA4-E82D-E19F-86E2-CC3A1F1C4289}"/>
          </ac:spMkLst>
        </pc:spChg>
        <pc:spChg chg="mod">
          <ac:chgData name="Aurelien Domont" userId="6da7715ce44349b3" providerId="LiveId" clId="{AABA1416-4740-4FEA-A91C-A3DACBE38F86}" dt="2023-11-03T02:22:16.203" v="2480" actId="947"/>
          <ac:spMkLst>
            <pc:docMk/>
            <pc:sldMk cId="1254545715" sldId="2558"/>
            <ac:spMk id="3" creationId="{7BC2ED5B-4F72-AE2F-0909-83D57A7256AA}"/>
          </ac:spMkLst>
        </pc:spChg>
        <pc:spChg chg="mod">
          <ac:chgData name="Aurelien Domont" userId="6da7715ce44349b3" providerId="LiveId" clId="{AABA1416-4740-4FEA-A91C-A3DACBE38F86}" dt="2023-11-03T02:22:16.203" v="2482" actId="947"/>
          <ac:spMkLst>
            <pc:docMk/>
            <pc:sldMk cId="1254545715" sldId="2558"/>
            <ac:spMk id="4" creationId="{5ADFEA55-C40E-1FAC-1ABD-7C839B52A1BD}"/>
          </ac:spMkLst>
        </pc:spChg>
        <pc:spChg chg="mod">
          <ac:chgData name="Aurelien Domont" userId="6da7715ce44349b3" providerId="LiveId" clId="{AABA1416-4740-4FEA-A91C-A3DACBE38F86}" dt="2023-11-03T02:22:16.203" v="2476" actId="947"/>
          <ac:spMkLst>
            <pc:docMk/>
            <pc:sldMk cId="1254545715" sldId="2558"/>
            <ac:spMk id="5" creationId="{6E3A841F-4AA9-EAB6-E496-B82E43DDAFD2}"/>
          </ac:spMkLst>
        </pc:spChg>
        <pc:spChg chg="mod">
          <ac:chgData name="Aurelien Domont" userId="6da7715ce44349b3" providerId="LiveId" clId="{AABA1416-4740-4FEA-A91C-A3DACBE38F86}" dt="2023-11-03T02:22:16.219" v="2484" actId="947"/>
          <ac:spMkLst>
            <pc:docMk/>
            <pc:sldMk cId="1254545715" sldId="2558"/>
            <ac:spMk id="6" creationId="{1BDEF8C0-D1F4-8939-D3BC-76A7FC69D54B}"/>
          </ac:spMkLst>
        </pc:spChg>
        <pc:spChg chg="mod">
          <ac:chgData name="Aurelien Domont" userId="6da7715ce44349b3" providerId="LiveId" clId="{AABA1416-4740-4FEA-A91C-A3DACBE38F86}" dt="2023-11-03T02:22:16.203" v="2478" actId="947"/>
          <ac:spMkLst>
            <pc:docMk/>
            <pc:sldMk cId="1254545715" sldId="2558"/>
            <ac:spMk id="7" creationId="{CD158289-31FD-5AB1-1CF9-5F970C603050}"/>
          </ac:spMkLst>
        </pc:spChg>
        <pc:spChg chg="mod">
          <ac:chgData name="Aurelien Domont" userId="6da7715ce44349b3" providerId="LiveId" clId="{AABA1416-4740-4FEA-A91C-A3DACBE38F86}" dt="2023-11-03T02:22:16.188" v="2474" actId="947"/>
          <ac:spMkLst>
            <pc:docMk/>
            <pc:sldMk cId="1254545715" sldId="2558"/>
            <ac:spMk id="8" creationId="{B29A3381-39F7-FBBC-1C79-49E856811E52}"/>
          </ac:spMkLst>
        </pc:spChg>
        <pc:spChg chg="mod">
          <ac:chgData name="Aurelien Domont" userId="6da7715ce44349b3" providerId="LiveId" clId="{AABA1416-4740-4FEA-A91C-A3DACBE38F86}" dt="2023-11-03T02:22:16.224" v="2486" actId="947"/>
          <ac:spMkLst>
            <pc:docMk/>
            <pc:sldMk cId="1254545715" sldId="2558"/>
            <ac:spMk id="9" creationId="{4C2CBFFA-9A37-3DB9-178E-668129470E32}"/>
          </ac:spMkLst>
        </pc:spChg>
        <pc:spChg chg="add del mod modVis">
          <ac:chgData name="Aurelien Domont" userId="6da7715ce44349b3" providerId="LiveId" clId="{AABA1416-4740-4FEA-A91C-A3DACBE38F86}" dt="2023-11-03T02:22:17.507" v="2848"/>
          <ac:spMkLst>
            <pc:docMk/>
            <pc:sldMk cId="1254545715" sldId="2558"/>
            <ac:spMk id="10" creationId="{6C988F67-28FE-1257-C163-367A3034DD2D}"/>
          </ac:spMkLst>
        </pc:spChg>
        <pc:spChg chg="mod">
          <ac:chgData name="Aurelien Domont" userId="6da7715ce44349b3" providerId="LiveId" clId="{AABA1416-4740-4FEA-A91C-A3DACBE38F86}" dt="2023-11-03T02:22:16.224" v="2488" actId="947"/>
          <ac:spMkLst>
            <pc:docMk/>
            <pc:sldMk cId="1254545715" sldId="2558"/>
            <ac:spMk id="15" creationId="{43E5D144-640A-88C6-B9EC-C62C008B9ACA}"/>
          </ac:spMkLst>
        </pc:spChg>
        <pc:spChg chg="mod">
          <ac:chgData name="Aurelien Domont" userId="6da7715ce44349b3" providerId="LiveId" clId="{AABA1416-4740-4FEA-A91C-A3DACBE38F86}" dt="2023-11-03T02:22:16.224" v="2490" actId="947"/>
          <ac:spMkLst>
            <pc:docMk/>
            <pc:sldMk cId="1254545715" sldId="2558"/>
            <ac:spMk id="16" creationId="{59C23C66-9773-5743-08DE-B71E89DFBD82}"/>
          </ac:spMkLst>
        </pc:spChg>
        <pc:spChg chg="mod">
          <ac:chgData name="Aurelien Domont" userId="6da7715ce44349b3" providerId="LiveId" clId="{AABA1416-4740-4FEA-A91C-A3DACBE38F86}" dt="2023-11-03T02:22:16.224" v="2492" actId="947"/>
          <ac:spMkLst>
            <pc:docMk/>
            <pc:sldMk cId="1254545715" sldId="2558"/>
            <ac:spMk id="17" creationId="{A7431C56-07AA-BA37-8FEE-B79D7B7DA94A}"/>
          </ac:spMkLst>
        </pc:spChg>
        <pc:spChg chg="mod">
          <ac:chgData name="Aurelien Domont" userId="6da7715ce44349b3" providerId="LiveId" clId="{AABA1416-4740-4FEA-A91C-A3DACBE38F86}" dt="2023-11-03T02:22:16.224" v="2494" actId="947"/>
          <ac:spMkLst>
            <pc:docMk/>
            <pc:sldMk cId="1254545715" sldId="2558"/>
            <ac:spMk id="18" creationId="{9A0B4CED-1963-39D3-0C80-2A62330D81DC}"/>
          </ac:spMkLst>
        </pc:spChg>
        <pc:spChg chg="mod">
          <ac:chgData name="Aurelien Domont" userId="6da7715ce44349b3" providerId="LiveId" clId="{AABA1416-4740-4FEA-A91C-A3DACBE38F86}" dt="2023-11-03T02:22:16.235" v="2496" actId="947"/>
          <ac:spMkLst>
            <pc:docMk/>
            <pc:sldMk cId="1254545715" sldId="2558"/>
            <ac:spMk id="21" creationId="{430560FE-21FD-A4BE-6EF6-0759CCAC3032}"/>
          </ac:spMkLst>
        </pc:spChg>
        <pc:spChg chg="mod">
          <ac:chgData name="Aurelien Domont" userId="6da7715ce44349b3" providerId="LiveId" clId="{AABA1416-4740-4FEA-A91C-A3DACBE38F86}" dt="2023-11-03T02:22:16.251" v="2500" actId="947"/>
          <ac:spMkLst>
            <pc:docMk/>
            <pc:sldMk cId="1254545715" sldId="2558"/>
            <ac:spMk id="23" creationId="{18C38E09-A653-684F-A079-C654CA292D0B}"/>
          </ac:spMkLst>
        </pc:spChg>
        <pc:spChg chg="mod">
          <ac:chgData name="Aurelien Domont" userId="6da7715ce44349b3" providerId="LiveId" clId="{AABA1416-4740-4FEA-A91C-A3DACBE38F86}" dt="2023-11-03T02:22:16.251" v="2498" actId="947"/>
          <ac:spMkLst>
            <pc:docMk/>
            <pc:sldMk cId="1254545715" sldId="2558"/>
            <ac:spMk id="25" creationId="{735AC304-9E4B-EFAE-956D-257C94F68E93}"/>
          </ac:spMkLst>
        </pc:spChg>
        <pc:spChg chg="mod">
          <ac:chgData name="Aurelien Domont" userId="6da7715ce44349b3" providerId="LiveId" clId="{AABA1416-4740-4FEA-A91C-A3DACBE38F86}" dt="2023-11-03T02:22:16.251" v="2502" actId="947"/>
          <ac:spMkLst>
            <pc:docMk/>
            <pc:sldMk cId="1254545715" sldId="2558"/>
            <ac:spMk id="29" creationId="{CC63E358-7FD9-CC02-6617-043B1391CD92}"/>
          </ac:spMkLst>
        </pc:spChg>
        <pc:graphicFrameChg chg="mod">
          <ac:chgData name="Aurelien Domont" userId="6da7715ce44349b3" providerId="LiveId" clId="{AABA1416-4740-4FEA-A91C-A3DACBE38F86}" dt="2023-11-03T02:22:17.522" v="2850"/>
          <ac:graphicFrameMkLst>
            <pc:docMk/>
            <pc:sldMk cId="1254545715" sldId="2558"/>
            <ac:graphicFrameMk id="39" creationId="{13AC63A7-844C-60F3-CDCF-CFEDAEF3CCD1}"/>
          </ac:graphicFrameMkLst>
        </pc:graphicFrameChg>
      </pc:sldChg>
      <pc:sldChg chg="addSp delSp modSp add mod">
        <pc:chgData name="Aurelien Domont" userId="6da7715ce44349b3" providerId="LiveId" clId="{AABA1416-4740-4FEA-A91C-A3DACBE38F86}" dt="2023-11-05T22:37:53.043" v="12155"/>
        <pc:sldMkLst>
          <pc:docMk/>
          <pc:sldMk cId="2304312946" sldId="2558"/>
        </pc:sldMkLst>
        <pc:spChg chg="mod">
          <ac:chgData name="Aurelien Domont" userId="6da7715ce44349b3" providerId="LiveId" clId="{AABA1416-4740-4FEA-A91C-A3DACBE38F86}" dt="2023-11-05T22:37:53.012" v="12129" actId="948"/>
          <ac:spMkLst>
            <pc:docMk/>
            <pc:sldMk cId="2304312946" sldId="2558"/>
            <ac:spMk id="2" creationId="{8A65590E-539F-014F-8D58-462B0C89CF48}"/>
          </ac:spMkLst>
        </pc:spChg>
        <pc:spChg chg="add del mod">
          <ac:chgData name="Aurelien Domont" userId="6da7715ce44349b3" providerId="LiveId" clId="{AABA1416-4740-4FEA-A91C-A3DACBE38F86}" dt="2023-11-03T05:48:26.812" v="11702"/>
          <ac:spMkLst>
            <pc:docMk/>
            <pc:sldMk cId="2304312946" sldId="2558"/>
            <ac:spMk id="4" creationId="{488C1E38-3282-2533-44ED-B88DAF89AB44}"/>
          </ac:spMkLst>
        </pc:spChg>
        <pc:spChg chg="add del mod modVis">
          <ac:chgData name="Aurelien Domont" userId="6da7715ce44349b3" providerId="LiveId" clId="{AABA1416-4740-4FEA-A91C-A3DACBE38F86}" dt="2023-11-05T22:37:53.043" v="12153"/>
          <ac:spMkLst>
            <pc:docMk/>
            <pc:sldMk cId="2304312946" sldId="2558"/>
            <ac:spMk id="4" creationId="{B80E2DFC-C598-5F4B-5725-42B56ACAA661}"/>
          </ac:spMkLst>
        </pc:spChg>
        <pc:spChg chg="add del mod">
          <ac:chgData name="Aurelien Domont" userId="6da7715ce44349b3" providerId="LiveId" clId="{AABA1416-4740-4FEA-A91C-A3DACBE38F86}" dt="2023-11-03T05:51:03.248" v="11753" actId="478"/>
          <ac:spMkLst>
            <pc:docMk/>
            <pc:sldMk cId="2304312946" sldId="2558"/>
            <ac:spMk id="5" creationId="{BDE43FFC-8A6B-693C-9928-BF8E09DE767A}"/>
          </ac:spMkLst>
        </pc:spChg>
        <pc:spChg chg="add mod">
          <ac:chgData name="Aurelien Domont" userId="6da7715ce44349b3" providerId="LiveId" clId="{AABA1416-4740-4FEA-A91C-A3DACBE38F86}" dt="2023-11-03T05:51:25.735" v="11779"/>
          <ac:spMkLst>
            <pc:docMk/>
            <pc:sldMk cId="2304312946" sldId="2558"/>
            <ac:spMk id="6" creationId="{6A04513A-9FD7-FCF3-8D06-40CCD589133F}"/>
          </ac:spMkLst>
        </pc:spChg>
        <pc:graphicFrameChg chg="mod">
          <ac:chgData name="Aurelien Domont" userId="6da7715ce44349b3" providerId="LiveId" clId="{AABA1416-4740-4FEA-A91C-A3DACBE38F86}" dt="2023-11-05T22:37:53.043" v="12155"/>
          <ac:graphicFrameMkLst>
            <pc:docMk/>
            <pc:sldMk cId="2304312946" sldId="2558"/>
            <ac:graphicFrameMk id="12" creationId="{328EFA89-FEEC-BE48-572A-F6A19D2B820C}"/>
          </ac:graphicFrameMkLst>
        </pc:graphicFrameChg>
      </pc:sldChg>
      <pc:sldChg chg="add del">
        <pc:chgData name="Aurelien Domont" userId="6da7715ce44349b3" providerId="LiveId" clId="{AABA1416-4740-4FEA-A91C-A3DACBE38F86}" dt="2023-11-03T05:44:35.787" v="11571" actId="2696"/>
        <pc:sldMkLst>
          <pc:docMk/>
          <pc:sldMk cId="4217109390" sldId="2558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556512680" sldId="2559"/>
        </pc:sldMkLst>
      </pc:sldChg>
      <pc:sldChg chg="addSp delSp modSp new add mod modNotes">
        <pc:chgData name="Aurelien Domont" userId="6da7715ce44349b3" providerId="LiveId" clId="{AABA1416-4740-4FEA-A91C-A3DACBE38F86}" dt="2023-11-03T05:19:10.274" v="10961"/>
        <pc:sldMkLst>
          <pc:docMk/>
          <pc:sldMk cId="3871908814" sldId="2559"/>
        </pc:sldMkLst>
        <pc:spChg chg="mod ord">
          <ac:chgData name="Aurelien Domont" userId="6da7715ce44349b3" providerId="LiveId" clId="{AABA1416-4740-4FEA-A91C-A3DACBE38F86}" dt="2023-11-03T05:19:10.226" v="10959" actId="20577"/>
          <ac:spMkLst>
            <pc:docMk/>
            <pc:sldMk cId="3871908814" sldId="2559"/>
            <ac:spMk id="2" creationId="{34A2542B-43BB-B3BF-4169-708E55855120}"/>
          </ac:spMkLst>
        </pc:spChg>
        <pc:spChg chg="mod ord">
          <ac:chgData name="Aurelien Domont" userId="6da7715ce44349b3" providerId="LiveId" clId="{AABA1416-4740-4FEA-A91C-A3DACBE38F86}" dt="2023-11-03T02:22:16.455" v="2626" actId="947"/>
          <ac:spMkLst>
            <pc:docMk/>
            <pc:sldMk cId="3871908814" sldId="2559"/>
            <ac:spMk id="3" creationId="{ABC71679-CB1F-0E4E-BF2A-BD7D1F2E0177}"/>
          </ac:spMkLst>
        </pc:spChg>
        <pc:spChg chg="mod ord">
          <ac:chgData name="Aurelien Domont" userId="6da7715ce44349b3" providerId="LiveId" clId="{AABA1416-4740-4FEA-A91C-A3DACBE38F86}" dt="2023-11-03T02:22:16.455" v="2628" actId="947"/>
          <ac:spMkLst>
            <pc:docMk/>
            <pc:sldMk cId="3871908814" sldId="2559"/>
            <ac:spMk id="4" creationId="{40A14EFC-0BE4-5C27-E8D7-0B73A644AEA6}"/>
          </ac:spMkLst>
        </pc:spChg>
        <pc:spChg chg="mod">
          <ac:chgData name="Aurelien Domont" userId="6da7715ce44349b3" providerId="LiveId" clId="{AABA1416-4740-4FEA-A91C-A3DACBE38F86}" dt="2023-11-03T04:51:04.964" v="6620" actId="790"/>
          <ac:spMkLst>
            <pc:docMk/>
            <pc:sldMk cId="3871908814" sldId="2559"/>
            <ac:spMk id="5" creationId="{82A54C4F-9068-279B-AFA3-55B418F52634}"/>
          </ac:spMkLst>
        </pc:spChg>
        <pc:spChg chg="add del mod modVis">
          <ac:chgData name="Aurelien Domont" userId="6da7715ce44349b3" providerId="LiveId" clId="{AABA1416-4740-4FEA-A91C-A3DACBE38F86}" dt="2023-11-03T01:28:32.287" v="180"/>
          <ac:spMkLst>
            <pc:docMk/>
            <pc:sldMk cId="3871908814" sldId="2559"/>
            <ac:spMk id="5" creationId="{AF282253-90C7-F12B-1E20-C8CA8E084C6D}"/>
          </ac:spMkLst>
        </pc:spChg>
        <pc:spChg chg="add del mod modVis">
          <ac:chgData name="Aurelien Domont" userId="6da7715ce44349b3" providerId="LiveId" clId="{AABA1416-4740-4FEA-A91C-A3DACBE38F86}" dt="2023-11-03T05:19:10.226" v="10957" actId="962"/>
          <ac:spMkLst>
            <pc:docMk/>
            <pc:sldMk cId="3871908814" sldId="2559"/>
            <ac:spMk id="7" creationId="{8856C89E-D744-8590-CDF7-CE49D548866B}"/>
          </ac:spMkLst>
        </pc:spChg>
        <pc:spChg chg="add del mod replST">
          <ac:chgData name="Aurelien Domont" userId="6da7715ce44349b3" providerId="LiveId" clId="{AABA1416-4740-4FEA-A91C-A3DACBE38F86}" dt="2023-11-03T01:31:18.624" v="554"/>
          <ac:spMkLst>
            <pc:docMk/>
            <pc:sldMk cId="3871908814" sldId="2559"/>
            <ac:spMk id="9" creationId="{C1470F9C-D2EE-B539-43A2-822D9E36A5B4}"/>
          </ac:spMkLst>
        </pc:spChg>
        <pc:spChg chg="add del mod replST">
          <ac:chgData name="Aurelien Domont" userId="6da7715ce44349b3" providerId="LiveId" clId="{AABA1416-4740-4FEA-A91C-A3DACBE38F86}" dt="2023-11-03T01:31:18.624" v="553"/>
          <ac:spMkLst>
            <pc:docMk/>
            <pc:sldMk cId="3871908814" sldId="2559"/>
            <ac:spMk id="10" creationId="{60A7F8A0-05FA-5147-4288-651A5643479A}"/>
          </ac:spMkLst>
        </pc:spChg>
        <pc:spChg chg="add del mod replST">
          <ac:chgData name="Aurelien Domont" userId="6da7715ce44349b3" providerId="LiveId" clId="{AABA1416-4740-4FEA-A91C-A3DACBE38F86}" dt="2023-11-03T01:31:18.624" v="552"/>
          <ac:spMkLst>
            <pc:docMk/>
            <pc:sldMk cId="3871908814" sldId="2559"/>
            <ac:spMk id="11" creationId="{2C51B0A1-0133-9A50-6CD0-80D688F2050D}"/>
          </ac:spMkLst>
        </pc:spChg>
        <pc:spChg chg="add del mod replST">
          <ac:chgData name="Aurelien Domont" userId="6da7715ce44349b3" providerId="LiveId" clId="{AABA1416-4740-4FEA-A91C-A3DACBE38F86}" dt="2023-11-03T01:31:18.624" v="551"/>
          <ac:spMkLst>
            <pc:docMk/>
            <pc:sldMk cId="3871908814" sldId="2559"/>
            <ac:spMk id="12" creationId="{C048DA42-79CE-98CE-5530-7E2E84B241EB}"/>
          </ac:spMkLst>
        </pc:spChg>
        <pc:spChg chg="add del mod replST">
          <ac:chgData name="Aurelien Domont" userId="6da7715ce44349b3" providerId="LiveId" clId="{AABA1416-4740-4FEA-A91C-A3DACBE38F86}" dt="2023-11-03T01:31:18.624" v="550"/>
          <ac:spMkLst>
            <pc:docMk/>
            <pc:sldMk cId="3871908814" sldId="2559"/>
            <ac:spMk id="13" creationId="{633B8BD0-610D-FAB4-9001-580E43FF1A8D}"/>
          </ac:spMkLst>
        </pc:spChg>
        <pc:spChg chg="add del mod replST">
          <ac:chgData name="Aurelien Domont" userId="6da7715ce44349b3" providerId="LiveId" clId="{AABA1416-4740-4FEA-A91C-A3DACBE38F86}" dt="2023-11-03T01:31:18.624" v="549"/>
          <ac:spMkLst>
            <pc:docMk/>
            <pc:sldMk cId="3871908814" sldId="2559"/>
            <ac:spMk id="14" creationId="{9DBA99CB-FFC7-C544-1193-CCF6406CC367}"/>
          </ac:spMkLst>
        </pc:spChg>
        <pc:spChg chg="add del mod replST">
          <ac:chgData name="Aurelien Domont" userId="6da7715ce44349b3" providerId="LiveId" clId="{AABA1416-4740-4FEA-A91C-A3DACBE38F86}" dt="2023-11-03T01:31:18.624" v="548"/>
          <ac:spMkLst>
            <pc:docMk/>
            <pc:sldMk cId="3871908814" sldId="2559"/>
            <ac:spMk id="15" creationId="{AAB9BC6B-164E-CC55-F12B-65A170E4B8F8}"/>
          </ac:spMkLst>
        </pc:spChg>
        <pc:spChg chg="add del mod replST">
          <ac:chgData name="Aurelien Domont" userId="6da7715ce44349b3" providerId="LiveId" clId="{AABA1416-4740-4FEA-A91C-A3DACBE38F86}" dt="2023-11-03T01:31:18.624" v="547"/>
          <ac:spMkLst>
            <pc:docMk/>
            <pc:sldMk cId="3871908814" sldId="2559"/>
            <ac:spMk id="16" creationId="{6DF99F64-2710-22F9-D389-978D5759D660}"/>
          </ac:spMkLst>
        </pc:spChg>
        <pc:spChg chg="add del mod replST">
          <ac:chgData name="Aurelien Domont" userId="6da7715ce44349b3" providerId="LiveId" clId="{AABA1416-4740-4FEA-A91C-A3DACBE38F86}" dt="2023-11-03T01:31:18.624" v="546"/>
          <ac:spMkLst>
            <pc:docMk/>
            <pc:sldMk cId="3871908814" sldId="2559"/>
            <ac:spMk id="17" creationId="{6F09977A-40C9-3E5B-0236-BB3BD1DA6502}"/>
          </ac:spMkLst>
        </pc:spChg>
        <pc:spChg chg="add del mod replST">
          <ac:chgData name="Aurelien Domont" userId="6da7715ce44349b3" providerId="LiveId" clId="{AABA1416-4740-4FEA-A91C-A3DACBE38F86}" dt="2023-11-03T01:31:18.608" v="545"/>
          <ac:spMkLst>
            <pc:docMk/>
            <pc:sldMk cId="3871908814" sldId="2559"/>
            <ac:spMk id="18" creationId="{512148DD-BFD2-114B-8661-ADCAF442B9A3}"/>
          </ac:spMkLst>
        </pc:spChg>
        <pc:spChg chg="add del mod ord replST">
          <ac:chgData name="Aurelien Domont" userId="6da7715ce44349b3" providerId="LiveId" clId="{AABA1416-4740-4FEA-A91C-A3DACBE38F86}" dt="2023-11-03T01:31:18.608" v="544"/>
          <ac:spMkLst>
            <pc:docMk/>
            <pc:sldMk cId="3871908814" sldId="2559"/>
            <ac:spMk id="19" creationId="{8D062BFE-C754-78F3-5CD9-BBD23422ECA8}"/>
          </ac:spMkLst>
        </pc:spChg>
        <pc:spChg chg="mod">
          <ac:chgData name="Aurelien Domont" userId="6da7715ce44349b3" providerId="LiveId" clId="{AABA1416-4740-4FEA-A91C-A3DACBE38F86}" dt="2023-11-03T04:51:04.935" v="6600" actId="139"/>
          <ac:spMkLst>
            <pc:docMk/>
            <pc:sldMk cId="3871908814" sldId="2559"/>
            <ac:spMk id="22" creationId="{67F58691-7CFA-2FA5-F2B6-769C682DB102}"/>
          </ac:spMkLst>
        </pc:spChg>
        <pc:spChg chg="mod">
          <ac:chgData name="Aurelien Domont" userId="6da7715ce44349b3" providerId="LiveId" clId="{AABA1416-4740-4FEA-A91C-A3DACBE38F86}" dt="2023-11-03T04:51:04.938" v="6603" actId="139"/>
          <ac:spMkLst>
            <pc:docMk/>
            <pc:sldMk cId="3871908814" sldId="2559"/>
            <ac:spMk id="25" creationId="{F6154472-D7ED-9B87-478B-97EDC93E23DA}"/>
          </ac:spMkLst>
        </pc:spChg>
        <pc:spChg chg="add mod ord">
          <ac:chgData name="Aurelien Domont" userId="6da7715ce44349b3" providerId="LiveId" clId="{AABA1416-4740-4FEA-A91C-A3DACBE38F86}" dt="2023-11-03T04:51:04.946" v="6606" actId="139"/>
          <ac:spMkLst>
            <pc:docMk/>
            <pc:sldMk cId="3871908814" sldId="2559"/>
            <ac:spMk id="27" creationId="{11297F6C-D1F5-9B4A-D4A1-3C545BEDB932}"/>
          </ac:spMkLst>
        </pc:spChg>
        <pc:spChg chg="add del mod modVis">
          <ac:chgData name="Aurelien Domont" userId="6da7715ce44349b3" providerId="LiveId" clId="{AABA1416-4740-4FEA-A91C-A3DACBE38F86}" dt="2023-11-03T01:30:45.468" v="533"/>
          <ac:spMkLst>
            <pc:docMk/>
            <pc:sldMk cId="3871908814" sldId="2559"/>
            <ac:spMk id="28" creationId="{4890AC3A-7146-8F26-A852-14D449972674}"/>
          </ac:spMkLst>
        </pc:spChg>
        <pc:spChg chg="del mod topLvl">
          <ac:chgData name="Aurelien Domont" userId="6da7715ce44349b3" providerId="LiveId" clId="{AABA1416-4740-4FEA-A91C-A3DACBE38F86}" dt="2023-11-03T01:33:36.690" v="587" actId="478"/>
          <ac:spMkLst>
            <pc:docMk/>
            <pc:sldMk cId="3871908814" sldId="2559"/>
            <ac:spMk id="31" creationId="{B14CBC29-F26B-C6C4-22C2-B201D1E7C94B}"/>
          </ac:spMkLst>
        </pc:spChg>
        <pc:spChg chg="del mod topLvl">
          <ac:chgData name="Aurelien Domont" userId="6da7715ce44349b3" providerId="LiveId" clId="{AABA1416-4740-4FEA-A91C-A3DACBE38F86}" dt="2023-11-03T01:33:36.690" v="587" actId="478"/>
          <ac:spMkLst>
            <pc:docMk/>
            <pc:sldMk cId="3871908814" sldId="2559"/>
            <ac:spMk id="32" creationId="{BE7141B0-3D9B-FA19-BD78-0E60C1F8D842}"/>
          </ac:spMkLst>
        </pc:spChg>
        <pc:spChg chg="del mod">
          <ac:chgData name="Aurelien Domont" userId="6da7715ce44349b3" providerId="LiveId" clId="{AABA1416-4740-4FEA-A91C-A3DACBE38F86}" dt="2023-11-03T01:31:38.616" v="563" actId="478"/>
          <ac:spMkLst>
            <pc:docMk/>
            <pc:sldMk cId="3871908814" sldId="2559"/>
            <ac:spMk id="33" creationId="{3772E831-D5C4-23D9-B93B-CC8A3ECF0EEF}"/>
          </ac:spMkLst>
        </pc:spChg>
        <pc:spChg chg="del mod topLvl">
          <ac:chgData name="Aurelien Domont" userId="6da7715ce44349b3" providerId="LiveId" clId="{AABA1416-4740-4FEA-A91C-A3DACBE38F86}" dt="2023-11-03T01:33:36.690" v="587" actId="478"/>
          <ac:spMkLst>
            <pc:docMk/>
            <pc:sldMk cId="3871908814" sldId="2559"/>
            <ac:spMk id="34" creationId="{F6AE1498-99FB-7A91-69D4-6D4BB1F44902}"/>
          </ac:spMkLst>
        </pc:spChg>
        <pc:spChg chg="del mod topLvl">
          <ac:chgData name="Aurelien Domont" userId="6da7715ce44349b3" providerId="LiveId" clId="{AABA1416-4740-4FEA-A91C-A3DACBE38F86}" dt="2023-11-03T01:33:36.690" v="587" actId="478"/>
          <ac:spMkLst>
            <pc:docMk/>
            <pc:sldMk cId="3871908814" sldId="2559"/>
            <ac:spMk id="35" creationId="{252AEF93-3F61-18C9-D105-0667793590C7}"/>
          </ac:spMkLst>
        </pc:spChg>
        <pc:spChg chg="del mod topLvl">
          <ac:chgData name="Aurelien Domont" userId="6da7715ce44349b3" providerId="LiveId" clId="{AABA1416-4740-4FEA-A91C-A3DACBE38F86}" dt="2023-11-03T01:33:36.690" v="587" actId="478"/>
          <ac:spMkLst>
            <pc:docMk/>
            <pc:sldMk cId="3871908814" sldId="2559"/>
            <ac:spMk id="36" creationId="{81E35A15-45C5-F6B2-38E3-354E71D7F5AE}"/>
          </ac:spMkLst>
        </pc:spChg>
        <pc:spChg chg="del mod topLvl">
          <ac:chgData name="Aurelien Domont" userId="6da7715ce44349b3" providerId="LiveId" clId="{AABA1416-4740-4FEA-A91C-A3DACBE38F86}" dt="2023-11-03T01:33:36.690" v="587" actId="478"/>
          <ac:spMkLst>
            <pc:docMk/>
            <pc:sldMk cId="3871908814" sldId="2559"/>
            <ac:spMk id="37" creationId="{B5CC4F7D-312A-1809-90F7-5458B50239DB}"/>
          </ac:spMkLst>
        </pc:spChg>
        <pc:spChg chg="del mod topLvl">
          <ac:chgData name="Aurelien Domont" userId="6da7715ce44349b3" providerId="LiveId" clId="{AABA1416-4740-4FEA-A91C-A3DACBE38F86}" dt="2023-11-03T01:33:36.690" v="587" actId="478"/>
          <ac:spMkLst>
            <pc:docMk/>
            <pc:sldMk cId="3871908814" sldId="2559"/>
            <ac:spMk id="38" creationId="{3F1D2F4A-8736-76EC-6879-30C50AFE98C3}"/>
          </ac:spMkLst>
        </pc:spChg>
        <pc:spChg chg="del mod topLvl">
          <ac:chgData name="Aurelien Domont" userId="6da7715ce44349b3" providerId="LiveId" clId="{AABA1416-4740-4FEA-A91C-A3DACBE38F86}" dt="2023-11-03T01:33:36.690" v="587" actId="478"/>
          <ac:spMkLst>
            <pc:docMk/>
            <pc:sldMk cId="3871908814" sldId="2559"/>
            <ac:spMk id="39" creationId="{489B6CAD-FFC9-6083-710D-13FAAFB517FE}"/>
          </ac:spMkLst>
        </pc:spChg>
        <pc:spChg chg="del mod topLvl">
          <ac:chgData name="Aurelien Domont" userId="6da7715ce44349b3" providerId="LiveId" clId="{AABA1416-4740-4FEA-A91C-A3DACBE38F86}" dt="2023-11-03T01:33:36.690" v="587" actId="478"/>
          <ac:spMkLst>
            <pc:docMk/>
            <pc:sldMk cId="3871908814" sldId="2559"/>
            <ac:spMk id="40" creationId="{436BC91A-5E25-6F3B-F7D6-6396FC94FDD6}"/>
          </ac:spMkLst>
        </pc:spChg>
        <pc:spChg chg="del mod topLvl">
          <ac:chgData name="Aurelien Domont" userId="6da7715ce44349b3" providerId="LiveId" clId="{AABA1416-4740-4FEA-A91C-A3DACBE38F86}" dt="2023-11-03T01:33:36.690" v="587" actId="478"/>
          <ac:spMkLst>
            <pc:docMk/>
            <pc:sldMk cId="3871908814" sldId="2559"/>
            <ac:spMk id="41" creationId="{B14E7E65-D08F-7728-2C0B-3F13D1810D69}"/>
          </ac:spMkLst>
        </pc:spChg>
        <pc:spChg chg="add mod">
          <ac:chgData name="Aurelien Domont" userId="6da7715ce44349b3" providerId="LiveId" clId="{AABA1416-4740-4FEA-A91C-A3DACBE38F86}" dt="2023-11-03T04:51:04.948" v="6607" actId="790"/>
          <ac:spMkLst>
            <pc:docMk/>
            <pc:sldMk cId="3871908814" sldId="2559"/>
            <ac:spMk id="42" creationId="{9CBDA2C3-EB05-A22E-4E9E-E27E1370CB1B}"/>
          </ac:spMkLst>
        </pc:spChg>
        <pc:spChg chg="add mod">
          <ac:chgData name="Aurelien Domont" userId="6da7715ce44349b3" providerId="LiveId" clId="{AABA1416-4740-4FEA-A91C-A3DACBE38F86}" dt="2023-11-03T04:51:04.950" v="6608" actId="790"/>
          <ac:spMkLst>
            <pc:docMk/>
            <pc:sldMk cId="3871908814" sldId="2559"/>
            <ac:spMk id="43" creationId="{48B7B85F-8811-E9CE-0D48-58E0E553B114}"/>
          </ac:spMkLst>
        </pc:spChg>
        <pc:spChg chg="add mod">
          <ac:chgData name="Aurelien Domont" userId="6da7715ce44349b3" providerId="LiveId" clId="{AABA1416-4740-4FEA-A91C-A3DACBE38F86}" dt="2023-11-03T04:51:04.951" v="6609" actId="790"/>
          <ac:spMkLst>
            <pc:docMk/>
            <pc:sldMk cId="3871908814" sldId="2559"/>
            <ac:spMk id="44" creationId="{BA6B0B1E-ACDC-4B47-CB9B-5A2EFB8AB65B}"/>
          </ac:spMkLst>
        </pc:spChg>
        <pc:spChg chg="add mod">
          <ac:chgData name="Aurelien Domont" userId="6da7715ce44349b3" providerId="LiveId" clId="{AABA1416-4740-4FEA-A91C-A3DACBE38F86}" dt="2023-11-03T04:51:04.952" v="6610" actId="790"/>
          <ac:spMkLst>
            <pc:docMk/>
            <pc:sldMk cId="3871908814" sldId="2559"/>
            <ac:spMk id="45" creationId="{8E80AF14-455F-E6E5-E9B7-7C7C245C8E95}"/>
          </ac:spMkLst>
        </pc:spChg>
        <pc:spChg chg="add mod">
          <ac:chgData name="Aurelien Domont" userId="6da7715ce44349b3" providerId="LiveId" clId="{AABA1416-4740-4FEA-A91C-A3DACBE38F86}" dt="2023-11-03T04:51:04.954" v="6611" actId="790"/>
          <ac:spMkLst>
            <pc:docMk/>
            <pc:sldMk cId="3871908814" sldId="2559"/>
            <ac:spMk id="46" creationId="{DB9BF63D-1C77-A5BF-975B-FDD6F927B76D}"/>
          </ac:spMkLst>
        </pc:spChg>
        <pc:spChg chg="add mod">
          <ac:chgData name="Aurelien Domont" userId="6da7715ce44349b3" providerId="LiveId" clId="{AABA1416-4740-4FEA-A91C-A3DACBE38F86}" dt="2023-11-03T04:51:04.955" v="6612" actId="790"/>
          <ac:spMkLst>
            <pc:docMk/>
            <pc:sldMk cId="3871908814" sldId="2559"/>
            <ac:spMk id="47" creationId="{29EFB477-B352-6809-2940-0A1C7AA83BFB}"/>
          </ac:spMkLst>
        </pc:spChg>
        <pc:spChg chg="add mod">
          <ac:chgData name="Aurelien Domont" userId="6da7715ce44349b3" providerId="LiveId" clId="{AABA1416-4740-4FEA-A91C-A3DACBE38F86}" dt="2023-11-03T04:51:04.956" v="6613" actId="790"/>
          <ac:spMkLst>
            <pc:docMk/>
            <pc:sldMk cId="3871908814" sldId="2559"/>
            <ac:spMk id="48" creationId="{DFEBF05B-CA8E-74E9-DCFB-6D9F37636EE2}"/>
          </ac:spMkLst>
        </pc:spChg>
        <pc:spChg chg="add mod">
          <ac:chgData name="Aurelien Domont" userId="6da7715ce44349b3" providerId="LiveId" clId="{AABA1416-4740-4FEA-A91C-A3DACBE38F86}" dt="2023-11-03T04:51:04.957" v="6614" actId="790"/>
          <ac:spMkLst>
            <pc:docMk/>
            <pc:sldMk cId="3871908814" sldId="2559"/>
            <ac:spMk id="49" creationId="{0CEF9C05-260A-5E8E-627D-D59E2819E7F0}"/>
          </ac:spMkLst>
        </pc:spChg>
        <pc:spChg chg="add mod">
          <ac:chgData name="Aurelien Domont" userId="6da7715ce44349b3" providerId="LiveId" clId="{AABA1416-4740-4FEA-A91C-A3DACBE38F86}" dt="2023-11-03T04:51:04.958" v="6615" actId="790"/>
          <ac:spMkLst>
            <pc:docMk/>
            <pc:sldMk cId="3871908814" sldId="2559"/>
            <ac:spMk id="50" creationId="{C0000968-055A-1E02-E6DE-54FD8132B19D}"/>
          </ac:spMkLst>
        </pc:spChg>
        <pc:spChg chg="add mod">
          <ac:chgData name="Aurelien Domont" userId="6da7715ce44349b3" providerId="LiveId" clId="{AABA1416-4740-4FEA-A91C-A3DACBE38F86}" dt="2023-11-03T04:51:04.959" v="6616" actId="790"/>
          <ac:spMkLst>
            <pc:docMk/>
            <pc:sldMk cId="3871908814" sldId="2559"/>
            <ac:spMk id="51" creationId="{B9E1C5D4-2371-B762-88DC-871DBD07BAF8}"/>
          </ac:spMkLst>
        </pc:spChg>
        <pc:spChg chg="add mod">
          <ac:chgData name="Aurelien Domont" userId="6da7715ce44349b3" providerId="LiveId" clId="{AABA1416-4740-4FEA-A91C-A3DACBE38F86}" dt="2023-11-03T04:51:04.963" v="6619" actId="139"/>
          <ac:spMkLst>
            <pc:docMk/>
            <pc:sldMk cId="3871908814" sldId="2559"/>
            <ac:spMk id="52" creationId="{E68E3337-3CAB-5867-805E-B494A4F01F7C}"/>
          </ac:spMkLst>
        </pc:spChg>
        <pc:spChg chg="add del mod modVis">
          <ac:chgData name="Aurelien Domont" userId="6da7715ce44349b3" providerId="LiveId" clId="{AABA1416-4740-4FEA-A91C-A3DACBE38F86}" dt="2023-11-03T01:43:50.392" v="955"/>
          <ac:spMkLst>
            <pc:docMk/>
            <pc:sldMk cId="3871908814" sldId="2559"/>
            <ac:spMk id="53" creationId="{CAFB3F9F-2352-308E-4062-5103680AA743}"/>
          </ac:spMkLst>
        </pc:spChg>
        <pc:spChg chg="add del mod modVis">
          <ac:chgData name="Aurelien Domont" userId="6da7715ce44349b3" providerId="LiveId" clId="{AABA1416-4740-4FEA-A91C-A3DACBE38F86}" dt="2023-11-03T01:43:51.917" v="988"/>
          <ac:spMkLst>
            <pc:docMk/>
            <pc:sldMk cId="3871908814" sldId="2559"/>
            <ac:spMk id="54" creationId="{F7C84C6C-9134-0F15-6AE7-2D152EAD1D1B}"/>
          </ac:spMkLst>
        </pc:spChg>
        <pc:spChg chg="add del mod modVis">
          <ac:chgData name="Aurelien Domont" userId="6da7715ce44349b3" providerId="LiveId" clId="{AABA1416-4740-4FEA-A91C-A3DACBE38F86}" dt="2023-11-03T01:43:53.945" v="1025"/>
          <ac:spMkLst>
            <pc:docMk/>
            <pc:sldMk cId="3871908814" sldId="2559"/>
            <ac:spMk id="55" creationId="{5DD41D60-56B6-9191-C7DF-156B38CDD424}"/>
          </ac:spMkLst>
        </pc:spChg>
        <pc:spChg chg="add del mod modVis">
          <ac:chgData name="Aurelien Domont" userId="6da7715ce44349b3" providerId="LiveId" clId="{AABA1416-4740-4FEA-A91C-A3DACBE38F86}" dt="2023-11-03T02:22:17.538" v="2862"/>
          <ac:spMkLst>
            <pc:docMk/>
            <pc:sldMk cId="3871908814" sldId="2559"/>
            <ac:spMk id="56" creationId="{4D6DAF76-649F-3CBD-9A54-A2ECE09B74AB}"/>
          </ac:spMkLst>
        </pc:spChg>
        <pc:spChg chg="add del mod modVis">
          <ac:chgData name="Aurelien Domont" userId="6da7715ce44349b3" providerId="LiveId" clId="{AABA1416-4740-4FEA-A91C-A3DACBE38F86}" dt="2023-11-03T03:22:51.911" v="4767"/>
          <ac:spMkLst>
            <pc:docMk/>
            <pc:sldMk cId="3871908814" sldId="2559"/>
            <ac:spMk id="57" creationId="{9B88AF3B-0D36-DBD2-B64D-9E3B276184B1}"/>
          </ac:spMkLst>
        </pc:spChg>
        <pc:spChg chg="add del mod modVis">
          <ac:chgData name="Aurelien Domont" userId="6da7715ce44349b3" providerId="LiveId" clId="{AABA1416-4740-4FEA-A91C-A3DACBE38F86}" dt="2023-11-03T03:22:52.775" v="4796"/>
          <ac:spMkLst>
            <pc:docMk/>
            <pc:sldMk cId="3871908814" sldId="2559"/>
            <ac:spMk id="58" creationId="{5C27D74B-9DD4-D77B-6526-EF264A4FF1C0}"/>
          </ac:spMkLst>
        </pc:spChg>
        <pc:spChg chg="add del mod modVis">
          <ac:chgData name="Aurelien Domont" userId="6da7715ce44349b3" providerId="LiveId" clId="{AABA1416-4740-4FEA-A91C-A3DACBE38F86}" dt="2023-11-03T03:22:54.863" v="4824"/>
          <ac:spMkLst>
            <pc:docMk/>
            <pc:sldMk cId="3871908814" sldId="2559"/>
            <ac:spMk id="59" creationId="{9893478E-670D-CBB8-5F3C-866860F28477}"/>
          </ac:spMkLst>
        </pc:spChg>
        <pc:grpChg chg="add mod ord">
          <ac:chgData name="Aurelien Domont" userId="6da7715ce44349b3" providerId="LiveId" clId="{AABA1416-4740-4FEA-A91C-A3DACBE38F86}" dt="2023-11-03T01:30:45.452" v="523"/>
          <ac:grpSpMkLst>
            <pc:docMk/>
            <pc:sldMk cId="3871908814" sldId="2559"/>
            <ac:grpSpMk id="20" creationId="{F346964D-A932-05EB-E307-5DE6E76C6ACB}"/>
          </ac:grpSpMkLst>
        </pc:grpChg>
        <pc:grpChg chg="add mod ord">
          <ac:chgData name="Aurelien Domont" userId="6da7715ce44349b3" providerId="LiveId" clId="{AABA1416-4740-4FEA-A91C-A3DACBE38F86}" dt="2023-11-03T01:30:45.452" v="525"/>
          <ac:grpSpMkLst>
            <pc:docMk/>
            <pc:sldMk cId="3871908814" sldId="2559"/>
            <ac:grpSpMk id="23" creationId="{7234FE23-742D-5BB9-0223-ED4E0E1FFEFE}"/>
          </ac:grpSpMkLst>
        </pc:grpChg>
        <pc:grpChg chg="add del mod">
          <ac:chgData name="Aurelien Domont" userId="6da7715ce44349b3" providerId="LiveId" clId="{AABA1416-4740-4FEA-A91C-A3DACBE38F86}" dt="2023-11-03T01:31:50.603" v="565" actId="165"/>
          <ac:grpSpMkLst>
            <pc:docMk/>
            <pc:sldMk cId="3871908814" sldId="2559"/>
            <ac:grpSpMk id="30" creationId="{72D78C78-96C8-CD06-DC4C-CB7B34E03CA9}"/>
          </ac:grpSpMkLst>
        </pc:grpChg>
        <pc:graphicFrameChg chg="add mod ord modVis replST">
          <ac:chgData name="Aurelien Domont" userId="6da7715ce44349b3" providerId="LiveId" clId="{AABA1416-4740-4FEA-A91C-A3DACBE38F86}" dt="2023-11-03T05:19:10.274" v="10961"/>
          <ac:graphicFrameMkLst>
            <pc:docMk/>
            <pc:sldMk cId="3871908814" sldId="2559"/>
            <ac:graphicFrameMk id="6" creationId="{778C851D-18CB-71FD-A9DF-00B73F828263}"/>
          </ac:graphicFrameMkLst>
        </pc:graphicFrameChg>
        <pc:graphicFrameChg chg="add del mod replST">
          <ac:chgData name="Aurelien Domont" userId="6da7715ce44349b3" providerId="LiveId" clId="{AABA1416-4740-4FEA-A91C-A3DACBE38F86}" dt="2023-11-03T01:30:45.405" v="493"/>
          <ac:graphicFrameMkLst>
            <pc:docMk/>
            <pc:sldMk cId="3871908814" sldId="2559"/>
            <ac:graphicFrameMk id="7" creationId="{15181D71-7A53-478C-C948-FAE0E11B7D4C}"/>
          </ac:graphicFrameMkLst>
        </pc:graphicFrameChg>
        <pc:graphicFrameChg chg="add del mod ord replST">
          <ac:chgData name="Aurelien Domont" userId="6da7715ce44349b3" providerId="LiveId" clId="{AABA1416-4740-4FEA-A91C-A3DACBE38F86}" dt="2023-11-03T01:31:18.624" v="556"/>
          <ac:graphicFrameMkLst>
            <pc:docMk/>
            <pc:sldMk cId="3871908814" sldId="2559"/>
            <ac:graphicFrameMk id="29" creationId="{A2E13CA6-0689-4DBE-83AF-F27D53D487FD}"/>
          </ac:graphicFrameMkLst>
        </pc:graphicFrameChg>
        <pc:cxnChg chg="add del mod ord replST">
          <ac:chgData name="Aurelien Domont" userId="6da7715ce44349b3" providerId="LiveId" clId="{AABA1416-4740-4FEA-A91C-A3DACBE38F86}" dt="2023-11-03T01:31:18.608" v="542"/>
          <ac:cxnSpMkLst>
            <pc:docMk/>
            <pc:sldMk cId="3871908814" sldId="2559"/>
            <ac:cxnSpMk id="8" creationId="{FD6FD854-41CC-8266-BD03-66950FB20543}"/>
          </ac:cxnSpMkLst>
        </pc:cxnChg>
        <pc:cxnChg chg="mod">
          <ac:chgData name="Aurelien Domont" userId="6da7715ce44349b3" providerId="LiveId" clId="{AABA1416-4740-4FEA-A91C-A3DACBE38F86}" dt="2023-11-03T01:30:44.728" v="197"/>
          <ac:cxnSpMkLst>
            <pc:docMk/>
            <pc:sldMk cId="3871908814" sldId="2559"/>
            <ac:cxnSpMk id="21" creationId="{310A6DC0-8A8E-9B5B-797A-235BBDC55651}"/>
          </ac:cxnSpMkLst>
        </pc:cxnChg>
        <pc:cxnChg chg="mod">
          <ac:chgData name="Aurelien Domont" userId="6da7715ce44349b3" providerId="LiveId" clId="{AABA1416-4740-4FEA-A91C-A3DACBE38F86}" dt="2023-11-03T01:30:44.728" v="197"/>
          <ac:cxnSpMkLst>
            <pc:docMk/>
            <pc:sldMk cId="3871908814" sldId="2559"/>
            <ac:cxnSpMk id="24" creationId="{AE3D1C22-CB5E-F158-D2C3-33535E75E497}"/>
          </ac:cxnSpMkLst>
        </pc:cxnChg>
        <pc:cxnChg chg="add mod ord">
          <ac:chgData name="Aurelien Domont" userId="6da7715ce44349b3" providerId="LiveId" clId="{AABA1416-4740-4FEA-A91C-A3DACBE38F86}" dt="2023-11-03T01:30:45.452" v="527"/>
          <ac:cxnSpMkLst>
            <pc:docMk/>
            <pc:sldMk cId="3871908814" sldId="2559"/>
            <ac:cxnSpMk id="26" creationId="{EFA8D06F-3DCC-7731-801E-82BF97521AA1}"/>
          </ac:cxnSpMkLst>
        </pc:cxnChg>
      </pc:sldChg>
      <pc:sldChg chg="addSp delSp modSp new add mod modNotes">
        <pc:chgData name="Aurelien Domont" userId="6da7715ce44349b3" providerId="LiveId" clId="{AABA1416-4740-4FEA-A91C-A3DACBE38F86}" dt="2023-11-03T05:33:17.822" v="11567" actId="1035"/>
        <pc:sldMkLst>
          <pc:docMk/>
          <pc:sldMk cId="862292938" sldId="2560"/>
        </pc:sldMkLst>
        <pc:spChg chg="mod">
          <ac:chgData name="Aurelien Domont" userId="6da7715ce44349b3" providerId="LiveId" clId="{AABA1416-4740-4FEA-A91C-A3DACBE38F86}" dt="2023-11-03T05:26:25.958" v="11271" actId="948"/>
          <ac:spMkLst>
            <pc:docMk/>
            <pc:sldMk cId="862292938" sldId="2560"/>
            <ac:spMk id="2" creationId="{F7C4AEFD-F24A-61C6-413F-137EBECACF93}"/>
          </ac:spMkLst>
        </pc:spChg>
        <pc:spChg chg="mod">
          <ac:chgData name="Aurelien Domont" userId="6da7715ce44349b3" providerId="LiveId" clId="{AABA1416-4740-4FEA-A91C-A3DACBE38F86}" dt="2023-11-03T02:22:16.251" v="2506" actId="947"/>
          <ac:spMkLst>
            <pc:docMk/>
            <pc:sldMk cId="862292938" sldId="2560"/>
            <ac:spMk id="3" creationId="{39847094-579D-C5BD-0A71-2756F31EA7A0}"/>
          </ac:spMkLst>
        </pc:spChg>
        <pc:spChg chg="mod">
          <ac:chgData name="Aurelien Domont" userId="6da7715ce44349b3" providerId="LiveId" clId="{AABA1416-4740-4FEA-A91C-A3DACBE38F86}" dt="2023-11-03T02:22:16.251" v="2508" actId="947"/>
          <ac:spMkLst>
            <pc:docMk/>
            <pc:sldMk cId="862292938" sldId="2560"/>
            <ac:spMk id="4" creationId="{52325186-E314-A018-A5A0-823642F15CEE}"/>
          </ac:spMkLst>
        </pc:spChg>
        <pc:spChg chg="add del mod modVis">
          <ac:chgData name="Aurelien Domont" userId="6da7715ce44349b3" providerId="LiveId" clId="{AABA1416-4740-4FEA-A91C-A3DACBE38F86}" dt="2023-11-03T01:45:42.642" v="1058"/>
          <ac:spMkLst>
            <pc:docMk/>
            <pc:sldMk cId="862292938" sldId="2560"/>
            <ac:spMk id="5" creationId="{10E27BB0-22B6-C15A-37DA-8272EA8763F3}"/>
          </ac:spMkLst>
        </pc:spChg>
        <pc:spChg chg="mod">
          <ac:chgData name="Aurelien Domont" userId="6da7715ce44349b3" providerId="LiveId" clId="{AABA1416-4740-4FEA-A91C-A3DACBE38F86}" dt="2023-11-03T04:51:05.033" v="6676" actId="790"/>
          <ac:spMkLst>
            <pc:docMk/>
            <pc:sldMk cId="862292938" sldId="2560"/>
            <ac:spMk id="5" creationId="{5FA9EA6E-E3D8-4ED7-3078-D724E5E1E4CE}"/>
          </ac:spMkLst>
        </pc:spChg>
        <pc:spChg chg="add del mod modVis">
          <ac:chgData name="Aurelien Domont" userId="6da7715ce44349b3" providerId="LiveId" clId="{AABA1416-4740-4FEA-A91C-A3DACBE38F86}" dt="2023-11-03T01:45:57.647" v="1111"/>
          <ac:spMkLst>
            <pc:docMk/>
            <pc:sldMk cId="862292938" sldId="2560"/>
            <ac:spMk id="7" creationId="{195D0520-CFBD-7D95-3AA2-AD431C11ED84}"/>
          </ac:spMkLst>
        </pc:spChg>
        <pc:spChg chg="add del mod modVis">
          <ac:chgData name="Aurelien Domont" userId="6da7715ce44349b3" providerId="LiveId" clId="{AABA1416-4740-4FEA-A91C-A3DACBE38F86}" dt="2023-11-03T05:26:06.406" v="11114"/>
          <ac:spMkLst>
            <pc:docMk/>
            <pc:sldMk cId="862292938" sldId="2560"/>
            <ac:spMk id="7" creationId="{B92E7993-C521-DEC1-3114-1D14DA48E644}"/>
          </ac:spMkLst>
        </pc:spChg>
        <pc:spChg chg="add del mod modVis">
          <ac:chgData name="Aurelien Domont" userId="6da7715ce44349b3" providerId="LiveId" clId="{AABA1416-4740-4FEA-A91C-A3DACBE38F86}" dt="2023-11-03T05:26:11.811" v="11176"/>
          <ac:spMkLst>
            <pc:docMk/>
            <pc:sldMk cId="862292938" sldId="2560"/>
            <ac:spMk id="8" creationId="{26F1647C-C4A5-6DF8-FDC6-AD9BB5FBA6B1}"/>
          </ac:spMkLst>
        </pc:spChg>
        <pc:spChg chg="add del mod modVis">
          <ac:chgData name="Aurelien Domont" userId="6da7715ce44349b3" providerId="LiveId" clId="{AABA1416-4740-4FEA-A91C-A3DACBE38F86}" dt="2023-11-03T01:45:58.290" v="1139"/>
          <ac:spMkLst>
            <pc:docMk/>
            <pc:sldMk cId="862292938" sldId="2560"/>
            <ac:spMk id="8" creationId="{6AEE4C5B-2FCC-8C20-4D70-05D157ACDAB3}"/>
          </ac:spMkLst>
        </pc:spChg>
        <pc:spChg chg="add del mod modVis">
          <ac:chgData name="Aurelien Domont" userId="6da7715ce44349b3" providerId="LiveId" clId="{AABA1416-4740-4FEA-A91C-A3DACBE38F86}" dt="2023-11-03T01:46:07.512" v="1167"/>
          <ac:spMkLst>
            <pc:docMk/>
            <pc:sldMk cId="862292938" sldId="2560"/>
            <ac:spMk id="9" creationId="{5C4CF744-77D2-2504-36DF-0A739AD6841B}"/>
          </ac:spMkLst>
        </pc:spChg>
        <pc:spChg chg="add del mod modVis">
          <ac:chgData name="Aurelien Domont" userId="6da7715ce44349b3" providerId="LiveId" clId="{AABA1416-4740-4FEA-A91C-A3DACBE38F86}" dt="2023-11-03T05:26:13.318" v="11210"/>
          <ac:spMkLst>
            <pc:docMk/>
            <pc:sldMk cId="862292938" sldId="2560"/>
            <ac:spMk id="9" creationId="{94FE0FE2-8DA2-5926-A683-4A5BC077997A}"/>
          </ac:spMkLst>
        </pc:spChg>
        <pc:spChg chg="add del mod modVis">
          <ac:chgData name="Aurelien Domont" userId="6da7715ce44349b3" providerId="LiveId" clId="{AABA1416-4740-4FEA-A91C-A3DACBE38F86}" dt="2023-11-03T05:26:18.708" v="11239"/>
          <ac:spMkLst>
            <pc:docMk/>
            <pc:sldMk cId="862292938" sldId="2560"/>
            <ac:spMk id="10" creationId="{1F3C952B-6F7E-64E3-7AA5-9095843C8219}"/>
          </ac:spMkLst>
        </pc:spChg>
        <pc:spChg chg="add del mod modVis">
          <ac:chgData name="Aurelien Domont" userId="6da7715ce44349b3" providerId="LiveId" clId="{AABA1416-4740-4FEA-A91C-A3DACBE38F86}" dt="2023-11-03T01:46:10.323" v="1199"/>
          <ac:spMkLst>
            <pc:docMk/>
            <pc:sldMk cId="862292938" sldId="2560"/>
            <ac:spMk id="10" creationId="{C632B4E8-E4BF-6131-7D39-12B679EFB4BB}"/>
          </ac:spMkLst>
        </pc:spChg>
        <pc:spChg chg="add del mod modVis">
          <ac:chgData name="Aurelien Domont" userId="6da7715ce44349b3" providerId="LiveId" clId="{AABA1416-4740-4FEA-A91C-A3DACBE38F86}" dt="2023-11-03T05:26:19.368" v="11267"/>
          <ac:spMkLst>
            <pc:docMk/>
            <pc:sldMk cId="862292938" sldId="2560"/>
            <ac:spMk id="11" creationId="{3D294D6D-C729-D827-98FE-4497B46A94B7}"/>
          </ac:spMkLst>
        </pc:spChg>
        <pc:spChg chg="add del mod modVis">
          <ac:chgData name="Aurelien Domont" userId="6da7715ce44349b3" providerId="LiveId" clId="{AABA1416-4740-4FEA-A91C-A3DACBE38F86}" dt="2023-11-03T01:46:11.328" v="1231"/>
          <ac:spMkLst>
            <pc:docMk/>
            <pc:sldMk cId="862292938" sldId="2560"/>
            <ac:spMk id="11" creationId="{B5718F2B-CD62-F4FC-A377-8C7E386A5AE3}"/>
          </ac:spMkLst>
        </pc:spChg>
        <pc:spChg chg="add del mod modVis">
          <ac:chgData name="Aurelien Domont" userId="6da7715ce44349b3" providerId="LiveId" clId="{AABA1416-4740-4FEA-A91C-A3DACBE38F86}" dt="2023-11-03T01:46:12.662" v="1262"/>
          <ac:spMkLst>
            <pc:docMk/>
            <pc:sldMk cId="862292938" sldId="2560"/>
            <ac:spMk id="12" creationId="{294343F4-2DC4-A1B5-B403-2B1B28A31A46}"/>
          </ac:spMkLst>
        </pc:spChg>
        <pc:spChg chg="add del mod modVis">
          <ac:chgData name="Aurelien Domont" userId="6da7715ce44349b3" providerId="LiveId" clId="{AABA1416-4740-4FEA-A91C-A3DACBE38F86}" dt="2023-11-03T05:26:25.989" v="11295"/>
          <ac:spMkLst>
            <pc:docMk/>
            <pc:sldMk cId="862292938" sldId="2560"/>
            <ac:spMk id="12" creationId="{3C0B7EC6-B4CD-13D0-8B80-784C1486D313}"/>
          </ac:spMkLst>
        </pc:spChg>
        <pc:spChg chg="add del mod modVis">
          <ac:chgData name="Aurelien Domont" userId="6da7715ce44349b3" providerId="LiveId" clId="{AABA1416-4740-4FEA-A91C-A3DACBE38F86}" dt="2023-11-03T01:46:16.684" v="1309"/>
          <ac:spMkLst>
            <pc:docMk/>
            <pc:sldMk cId="862292938" sldId="2560"/>
            <ac:spMk id="13" creationId="{61948404-823E-639F-F660-AA0C873F9335}"/>
          </ac:spMkLst>
        </pc:spChg>
        <pc:spChg chg="add del mod modVis">
          <ac:chgData name="Aurelien Domont" userId="6da7715ce44349b3" providerId="LiveId" clId="{AABA1416-4740-4FEA-A91C-A3DACBE38F86}" dt="2023-11-03T01:46:18.490" v="1338"/>
          <ac:spMkLst>
            <pc:docMk/>
            <pc:sldMk cId="862292938" sldId="2560"/>
            <ac:spMk id="14" creationId="{A3E23C41-D36F-AFF0-7C60-6EA3B36E5D4B}"/>
          </ac:spMkLst>
        </pc:spChg>
        <pc:spChg chg="add del mod modVis">
          <ac:chgData name="Aurelien Domont" userId="6da7715ce44349b3" providerId="LiveId" clId="{AABA1416-4740-4FEA-A91C-A3DACBE38F86}" dt="2023-11-03T01:46:21.366" v="1369"/>
          <ac:spMkLst>
            <pc:docMk/>
            <pc:sldMk cId="862292938" sldId="2560"/>
            <ac:spMk id="15" creationId="{4853C2E4-A678-EBC6-35CB-69023092305E}"/>
          </ac:spMkLst>
        </pc:spChg>
        <pc:spChg chg="add del mod modVis">
          <ac:chgData name="Aurelien Domont" userId="6da7715ce44349b3" providerId="LiveId" clId="{AABA1416-4740-4FEA-A91C-A3DACBE38F86}" dt="2023-11-03T01:46:28.765" v="1398"/>
          <ac:spMkLst>
            <pc:docMk/>
            <pc:sldMk cId="862292938" sldId="2560"/>
            <ac:spMk id="16" creationId="{542656DB-E84D-9874-AB3B-29E3CF0E04F7}"/>
          </ac:spMkLst>
        </pc:spChg>
        <pc:spChg chg="mod">
          <ac:chgData name="Aurelien Domont" userId="6da7715ce44349b3" providerId="LiveId" clId="{AABA1416-4740-4FEA-A91C-A3DACBE38F86}" dt="2023-11-03T05:32:24.746" v="11413" actId="20577"/>
          <ac:spMkLst>
            <pc:docMk/>
            <pc:sldMk cId="862292938" sldId="2560"/>
            <ac:spMk id="17" creationId="{3BF30535-1852-266A-AA62-8E1C596DDF4A}"/>
          </ac:spMkLst>
        </pc:spChg>
        <pc:spChg chg="add del mod modVis">
          <ac:chgData name="Aurelien Domont" userId="6da7715ce44349b3" providerId="LiveId" clId="{AABA1416-4740-4FEA-A91C-A3DACBE38F86}" dt="2023-11-03T01:46:30.526" v="1432"/>
          <ac:spMkLst>
            <pc:docMk/>
            <pc:sldMk cId="862292938" sldId="2560"/>
            <ac:spMk id="17" creationId="{4EB2B14A-0AAC-D674-F809-F8B3E04233F1}"/>
          </ac:spMkLst>
        </pc:spChg>
        <pc:spChg chg="add del mod modVis">
          <ac:chgData name="Aurelien Domont" userId="6da7715ce44349b3" providerId="LiveId" clId="{AABA1416-4740-4FEA-A91C-A3DACBE38F86}" dt="2023-11-03T01:46:31.407" v="1461"/>
          <ac:spMkLst>
            <pc:docMk/>
            <pc:sldMk cId="862292938" sldId="2560"/>
            <ac:spMk id="18" creationId="{2FFDA90F-CBF8-D21D-282F-FBDBC51E28A9}"/>
          </ac:spMkLst>
        </pc:spChg>
        <pc:spChg chg="add del mod">
          <ac:chgData name="Aurelien Domont" userId="6da7715ce44349b3" providerId="LiveId" clId="{AABA1416-4740-4FEA-A91C-A3DACBE38F86}" dt="2023-11-03T05:32:28.028" v="11414" actId="478"/>
          <ac:spMkLst>
            <pc:docMk/>
            <pc:sldMk cId="862292938" sldId="2560"/>
            <ac:spMk id="18" creationId="{CC551801-0C98-5B5B-C5CB-76D9AC483D6E}"/>
          </ac:spMkLst>
        </pc:spChg>
        <pc:spChg chg="add del mod modVis">
          <ac:chgData name="Aurelien Domont" userId="6da7715ce44349b3" providerId="LiveId" clId="{AABA1416-4740-4FEA-A91C-A3DACBE38F86}" dt="2023-11-03T01:46:53.356" v="1492"/>
          <ac:spMkLst>
            <pc:docMk/>
            <pc:sldMk cId="862292938" sldId="2560"/>
            <ac:spMk id="19" creationId="{303B77A5-0C29-0296-770E-C7E48FED22BD}"/>
          </ac:spMkLst>
        </pc:spChg>
        <pc:spChg chg="add del mod modVis">
          <ac:chgData name="Aurelien Domont" userId="6da7715ce44349b3" providerId="LiveId" clId="{AABA1416-4740-4FEA-A91C-A3DACBE38F86}" dt="2023-11-03T01:47:01.271" v="1521"/>
          <ac:spMkLst>
            <pc:docMk/>
            <pc:sldMk cId="862292938" sldId="2560"/>
            <ac:spMk id="20" creationId="{DB175542-0FA0-F755-C0EC-F1924237E1D2}"/>
          </ac:spMkLst>
        </pc:spChg>
        <pc:spChg chg="add del mod modVis">
          <ac:chgData name="Aurelien Domont" userId="6da7715ce44349b3" providerId="LiveId" clId="{AABA1416-4740-4FEA-A91C-A3DACBE38F86}" dt="2023-11-03T01:47:02.716" v="1549"/>
          <ac:spMkLst>
            <pc:docMk/>
            <pc:sldMk cId="862292938" sldId="2560"/>
            <ac:spMk id="21" creationId="{4F3C4858-6A3A-3BFA-2AF5-5B772EECB9C4}"/>
          </ac:spMkLst>
        </pc:spChg>
        <pc:spChg chg="add del mod modVis">
          <ac:chgData name="Aurelien Domont" userId="6da7715ce44349b3" providerId="LiveId" clId="{AABA1416-4740-4FEA-A91C-A3DACBE38F86}" dt="2023-11-03T01:47:09.878" v="1578"/>
          <ac:spMkLst>
            <pc:docMk/>
            <pc:sldMk cId="862292938" sldId="2560"/>
            <ac:spMk id="22" creationId="{5AE03556-6D8E-F611-000E-90439E4B0591}"/>
          </ac:spMkLst>
        </pc:spChg>
        <pc:spChg chg="add del mod modVis">
          <ac:chgData name="Aurelien Domont" userId="6da7715ce44349b3" providerId="LiveId" clId="{AABA1416-4740-4FEA-A91C-A3DACBE38F86}" dt="2023-11-03T01:47:11.341" v="1606"/>
          <ac:spMkLst>
            <pc:docMk/>
            <pc:sldMk cId="862292938" sldId="2560"/>
            <ac:spMk id="23" creationId="{4065D328-C006-D46C-ADF0-3041542BD871}"/>
          </ac:spMkLst>
        </pc:spChg>
        <pc:spChg chg="add del mod modVis">
          <ac:chgData name="Aurelien Domont" userId="6da7715ce44349b3" providerId="LiveId" clId="{AABA1416-4740-4FEA-A91C-A3DACBE38F86}" dt="2023-11-03T01:47:49.272" v="1642"/>
          <ac:spMkLst>
            <pc:docMk/>
            <pc:sldMk cId="862292938" sldId="2560"/>
            <ac:spMk id="24" creationId="{A3BDF33F-E440-4551-8286-CB67EF8C3493}"/>
          </ac:spMkLst>
        </pc:spChg>
        <pc:spChg chg="add del mod modVis">
          <ac:chgData name="Aurelien Domont" userId="6da7715ce44349b3" providerId="LiveId" clId="{AABA1416-4740-4FEA-A91C-A3DACBE38F86}" dt="2023-11-03T01:48:05.269" v="1670"/>
          <ac:spMkLst>
            <pc:docMk/>
            <pc:sldMk cId="862292938" sldId="2560"/>
            <ac:spMk id="25" creationId="{C8CF1F0F-E45D-F611-0633-A370286E2D26}"/>
          </ac:spMkLst>
        </pc:spChg>
        <pc:spChg chg="add del mod modVis">
          <ac:chgData name="Aurelien Domont" userId="6da7715ce44349b3" providerId="LiveId" clId="{AABA1416-4740-4FEA-A91C-A3DACBE38F86}" dt="2023-11-03T01:48:09.227" v="1698"/>
          <ac:spMkLst>
            <pc:docMk/>
            <pc:sldMk cId="862292938" sldId="2560"/>
            <ac:spMk id="26" creationId="{7553079D-C979-DC59-909B-412860FA1EB5}"/>
          </ac:spMkLst>
        </pc:spChg>
        <pc:spChg chg="add del mod modVis">
          <ac:chgData name="Aurelien Domont" userId="6da7715ce44349b3" providerId="LiveId" clId="{AABA1416-4740-4FEA-A91C-A3DACBE38F86}" dt="2023-11-03T01:48:10.060" v="1729"/>
          <ac:spMkLst>
            <pc:docMk/>
            <pc:sldMk cId="862292938" sldId="2560"/>
            <ac:spMk id="27" creationId="{DBA9B841-F687-BC0C-178B-A81FF4A9DE02}"/>
          </ac:spMkLst>
        </pc:spChg>
        <pc:spChg chg="add del mod modVis">
          <ac:chgData name="Aurelien Domont" userId="6da7715ce44349b3" providerId="LiveId" clId="{AABA1416-4740-4FEA-A91C-A3DACBE38F86}" dt="2023-11-03T01:48:19.157" v="1758"/>
          <ac:spMkLst>
            <pc:docMk/>
            <pc:sldMk cId="862292938" sldId="2560"/>
            <ac:spMk id="28" creationId="{D7CD4F00-C4BC-2622-0043-D74F496E3D7B}"/>
          </ac:spMkLst>
        </pc:spChg>
        <pc:spChg chg="add del mod modVis">
          <ac:chgData name="Aurelien Domont" userId="6da7715ce44349b3" providerId="LiveId" clId="{AABA1416-4740-4FEA-A91C-A3DACBE38F86}" dt="2023-11-03T01:48:20.884" v="1787"/>
          <ac:spMkLst>
            <pc:docMk/>
            <pc:sldMk cId="862292938" sldId="2560"/>
            <ac:spMk id="29" creationId="{C74AB48C-9F88-ECCB-3D74-F751386250CF}"/>
          </ac:spMkLst>
        </pc:spChg>
        <pc:spChg chg="add del mod modVis">
          <ac:chgData name="Aurelien Domont" userId="6da7715ce44349b3" providerId="LiveId" clId="{AABA1416-4740-4FEA-A91C-A3DACBE38F86}" dt="2023-11-03T01:48:21.814" v="1815"/>
          <ac:spMkLst>
            <pc:docMk/>
            <pc:sldMk cId="862292938" sldId="2560"/>
            <ac:spMk id="30" creationId="{1505F08A-6C2C-237B-0264-724DC4430A34}"/>
          </ac:spMkLst>
        </pc:spChg>
        <pc:spChg chg="mod">
          <ac:chgData name="Aurelien Domont" userId="6da7715ce44349b3" providerId="LiveId" clId="{AABA1416-4740-4FEA-A91C-A3DACBE38F86}" dt="2023-11-03T04:51:04.977" v="6622" actId="790"/>
          <ac:spMkLst>
            <pc:docMk/>
            <pc:sldMk cId="862292938" sldId="2560"/>
            <ac:spMk id="32" creationId="{507E91AB-4727-2A30-2D87-4F53F2D30E6E}"/>
          </ac:spMkLst>
        </pc:spChg>
        <pc:spChg chg="mod">
          <ac:chgData name="Aurelien Domont" userId="6da7715ce44349b3" providerId="LiveId" clId="{AABA1416-4740-4FEA-A91C-A3DACBE38F86}" dt="2023-11-03T04:51:04.978" v="6623" actId="790"/>
          <ac:spMkLst>
            <pc:docMk/>
            <pc:sldMk cId="862292938" sldId="2560"/>
            <ac:spMk id="33" creationId="{864A878F-3035-4BF9-86C1-4CBC5C958D28}"/>
          </ac:spMkLst>
        </pc:spChg>
        <pc:spChg chg="mod">
          <ac:chgData name="Aurelien Domont" userId="6da7715ce44349b3" providerId="LiveId" clId="{AABA1416-4740-4FEA-A91C-A3DACBE38F86}" dt="2023-11-03T04:51:04.979" v="6624" actId="790"/>
          <ac:spMkLst>
            <pc:docMk/>
            <pc:sldMk cId="862292938" sldId="2560"/>
            <ac:spMk id="34" creationId="{994CA33D-5029-C30F-279A-5AA73CDDF849}"/>
          </ac:spMkLst>
        </pc:spChg>
        <pc:spChg chg="mod">
          <ac:chgData name="Aurelien Domont" userId="6da7715ce44349b3" providerId="LiveId" clId="{AABA1416-4740-4FEA-A91C-A3DACBE38F86}" dt="2023-11-03T04:51:04.980" v="6625" actId="790"/>
          <ac:spMkLst>
            <pc:docMk/>
            <pc:sldMk cId="862292938" sldId="2560"/>
            <ac:spMk id="35" creationId="{90333B5F-C803-62E7-6B69-44702A54AFFC}"/>
          </ac:spMkLst>
        </pc:spChg>
        <pc:spChg chg="mod">
          <ac:chgData name="Aurelien Domont" userId="6da7715ce44349b3" providerId="LiveId" clId="{AABA1416-4740-4FEA-A91C-A3DACBE38F86}" dt="2023-11-03T04:51:04.981" v="6626" actId="790"/>
          <ac:spMkLst>
            <pc:docMk/>
            <pc:sldMk cId="862292938" sldId="2560"/>
            <ac:spMk id="36" creationId="{C5E260DC-65AB-70D6-7998-CF83EC790A79}"/>
          </ac:spMkLst>
        </pc:spChg>
        <pc:spChg chg="mod">
          <ac:chgData name="Aurelien Domont" userId="6da7715ce44349b3" providerId="LiveId" clId="{AABA1416-4740-4FEA-A91C-A3DACBE38F86}" dt="2023-11-03T04:51:04.983" v="6627" actId="790"/>
          <ac:spMkLst>
            <pc:docMk/>
            <pc:sldMk cId="862292938" sldId="2560"/>
            <ac:spMk id="37" creationId="{9B020927-995A-D507-4804-B4FC3B411ED8}"/>
          </ac:spMkLst>
        </pc:spChg>
        <pc:spChg chg="mod">
          <ac:chgData name="Aurelien Domont" userId="6da7715ce44349b3" providerId="LiveId" clId="{AABA1416-4740-4FEA-A91C-A3DACBE38F86}" dt="2023-11-03T04:51:04.984" v="6628" actId="790"/>
          <ac:spMkLst>
            <pc:docMk/>
            <pc:sldMk cId="862292938" sldId="2560"/>
            <ac:spMk id="38" creationId="{F8BD7E52-876E-08D4-8F54-5579BB0125EE}"/>
          </ac:spMkLst>
        </pc:spChg>
        <pc:spChg chg="mod">
          <ac:chgData name="Aurelien Domont" userId="6da7715ce44349b3" providerId="LiveId" clId="{AABA1416-4740-4FEA-A91C-A3DACBE38F86}" dt="2023-11-03T04:51:04.985" v="6629" actId="790"/>
          <ac:spMkLst>
            <pc:docMk/>
            <pc:sldMk cId="862292938" sldId="2560"/>
            <ac:spMk id="39" creationId="{34C2E997-304B-020C-D91A-E4F92750FF41}"/>
          </ac:spMkLst>
        </pc:spChg>
        <pc:spChg chg="mod">
          <ac:chgData name="Aurelien Domont" userId="6da7715ce44349b3" providerId="LiveId" clId="{AABA1416-4740-4FEA-A91C-A3DACBE38F86}" dt="2023-11-03T04:51:04.988" v="6632" actId="139"/>
          <ac:spMkLst>
            <pc:docMk/>
            <pc:sldMk cId="862292938" sldId="2560"/>
            <ac:spMk id="40" creationId="{63070B26-6A06-34C4-A224-A0D750EACEFA}"/>
          </ac:spMkLst>
        </pc:spChg>
        <pc:spChg chg="mod">
          <ac:chgData name="Aurelien Domont" userId="6da7715ce44349b3" providerId="LiveId" clId="{AABA1416-4740-4FEA-A91C-A3DACBE38F86}" dt="2023-11-03T04:51:04.990" v="6635" actId="139"/>
          <ac:spMkLst>
            <pc:docMk/>
            <pc:sldMk cId="862292938" sldId="2560"/>
            <ac:spMk id="41" creationId="{AFA21893-580B-81EF-C384-A5E978590C1D}"/>
          </ac:spMkLst>
        </pc:spChg>
        <pc:spChg chg="mod">
          <ac:chgData name="Aurelien Domont" userId="6da7715ce44349b3" providerId="LiveId" clId="{AABA1416-4740-4FEA-A91C-A3DACBE38F86}" dt="2023-11-03T04:51:04.993" v="6638" actId="139"/>
          <ac:spMkLst>
            <pc:docMk/>
            <pc:sldMk cId="862292938" sldId="2560"/>
            <ac:spMk id="42" creationId="{0D8AC8DE-4B3B-61AC-D899-32674575AB40}"/>
          </ac:spMkLst>
        </pc:spChg>
        <pc:spChg chg="mod">
          <ac:chgData name="Aurelien Domont" userId="6da7715ce44349b3" providerId="LiveId" clId="{AABA1416-4740-4FEA-A91C-A3DACBE38F86}" dt="2023-11-03T04:51:04.996" v="6641" actId="139"/>
          <ac:spMkLst>
            <pc:docMk/>
            <pc:sldMk cId="862292938" sldId="2560"/>
            <ac:spMk id="43" creationId="{793C8541-3CEB-40B1-D16E-7A6B113307C5}"/>
          </ac:spMkLst>
        </pc:spChg>
        <pc:spChg chg="mod">
          <ac:chgData name="Aurelien Domont" userId="6da7715ce44349b3" providerId="LiveId" clId="{AABA1416-4740-4FEA-A91C-A3DACBE38F86}" dt="2023-11-03T04:51:04.999" v="6644" actId="139"/>
          <ac:spMkLst>
            <pc:docMk/>
            <pc:sldMk cId="862292938" sldId="2560"/>
            <ac:spMk id="44" creationId="{80585AD6-28E0-83C0-69FD-C062B8D591A4}"/>
          </ac:spMkLst>
        </pc:spChg>
        <pc:spChg chg="mod">
          <ac:chgData name="Aurelien Domont" userId="6da7715ce44349b3" providerId="LiveId" clId="{AABA1416-4740-4FEA-A91C-A3DACBE38F86}" dt="2023-11-03T04:51:05.002" v="6647" actId="139"/>
          <ac:spMkLst>
            <pc:docMk/>
            <pc:sldMk cId="862292938" sldId="2560"/>
            <ac:spMk id="45" creationId="{0637A745-4A7A-A5B7-CB86-CF150183E26E}"/>
          </ac:spMkLst>
        </pc:spChg>
        <pc:spChg chg="mod">
          <ac:chgData name="Aurelien Domont" userId="6da7715ce44349b3" providerId="LiveId" clId="{AABA1416-4740-4FEA-A91C-A3DACBE38F86}" dt="2023-11-03T04:51:05.005" v="6650" actId="139"/>
          <ac:spMkLst>
            <pc:docMk/>
            <pc:sldMk cId="862292938" sldId="2560"/>
            <ac:spMk id="46" creationId="{86EAE97F-8C11-FCD2-66F4-299D20C7C460}"/>
          </ac:spMkLst>
        </pc:spChg>
        <pc:spChg chg="mod">
          <ac:chgData name="Aurelien Domont" userId="6da7715ce44349b3" providerId="LiveId" clId="{AABA1416-4740-4FEA-A91C-A3DACBE38F86}" dt="2023-11-03T04:51:05.008" v="6653" actId="139"/>
          <ac:spMkLst>
            <pc:docMk/>
            <pc:sldMk cId="862292938" sldId="2560"/>
            <ac:spMk id="47" creationId="{9B51F0D2-E5EC-26B7-23F1-3C8B2D26EE8C}"/>
          </ac:spMkLst>
        </pc:spChg>
        <pc:spChg chg="mod">
          <ac:chgData name="Aurelien Domont" userId="6da7715ce44349b3" providerId="LiveId" clId="{AABA1416-4740-4FEA-A91C-A3DACBE38F86}" dt="2023-11-03T04:51:05.009" v="6654" actId="790"/>
          <ac:spMkLst>
            <pc:docMk/>
            <pc:sldMk cId="862292938" sldId="2560"/>
            <ac:spMk id="48" creationId="{69C9BE43-6A0C-EF9E-918B-8B8D3BC80AB9}"/>
          </ac:spMkLst>
        </pc:spChg>
        <pc:spChg chg="mod">
          <ac:chgData name="Aurelien Domont" userId="6da7715ce44349b3" providerId="LiveId" clId="{AABA1416-4740-4FEA-A91C-A3DACBE38F86}" dt="2023-11-03T04:51:05.014" v="6659" actId="790"/>
          <ac:spMkLst>
            <pc:docMk/>
            <pc:sldMk cId="862292938" sldId="2560"/>
            <ac:spMk id="57" creationId="{7907C555-FAB0-20D5-3934-00A46C895920}"/>
          </ac:spMkLst>
        </pc:spChg>
        <pc:spChg chg="mod">
          <ac:chgData name="Aurelien Domont" userId="6da7715ce44349b3" providerId="LiveId" clId="{AABA1416-4740-4FEA-A91C-A3DACBE38F86}" dt="2023-11-03T04:51:05.010" v="6655" actId="790"/>
          <ac:spMkLst>
            <pc:docMk/>
            <pc:sldMk cId="862292938" sldId="2560"/>
            <ac:spMk id="58" creationId="{2CE29E14-33B4-9051-D4A2-8C7D5421F1FB}"/>
          </ac:spMkLst>
        </pc:spChg>
        <pc:spChg chg="mod">
          <ac:chgData name="Aurelien Domont" userId="6da7715ce44349b3" providerId="LiveId" clId="{AABA1416-4740-4FEA-A91C-A3DACBE38F86}" dt="2023-11-03T04:51:05.011" v="6656" actId="790"/>
          <ac:spMkLst>
            <pc:docMk/>
            <pc:sldMk cId="862292938" sldId="2560"/>
            <ac:spMk id="59" creationId="{93E11ACC-59C0-E37B-CB03-20447D22BF0E}"/>
          </ac:spMkLst>
        </pc:spChg>
        <pc:spChg chg="mod">
          <ac:chgData name="Aurelien Domont" userId="6da7715ce44349b3" providerId="LiveId" clId="{AABA1416-4740-4FEA-A91C-A3DACBE38F86}" dt="2023-11-03T04:51:05.012" v="6657" actId="790"/>
          <ac:spMkLst>
            <pc:docMk/>
            <pc:sldMk cId="862292938" sldId="2560"/>
            <ac:spMk id="60" creationId="{47FA06ED-3EBC-63BC-2B09-2FCE926CBB8B}"/>
          </ac:spMkLst>
        </pc:spChg>
        <pc:spChg chg="mod">
          <ac:chgData name="Aurelien Domont" userId="6da7715ce44349b3" providerId="LiveId" clId="{AABA1416-4740-4FEA-A91C-A3DACBE38F86}" dt="2023-11-03T04:51:05.013" v="6658" actId="790"/>
          <ac:spMkLst>
            <pc:docMk/>
            <pc:sldMk cId="862292938" sldId="2560"/>
            <ac:spMk id="61" creationId="{F213503F-249D-A370-FD61-124F71F768FA}"/>
          </ac:spMkLst>
        </pc:spChg>
        <pc:spChg chg="mod">
          <ac:chgData name="Aurelien Domont" userId="6da7715ce44349b3" providerId="LiveId" clId="{AABA1416-4740-4FEA-A91C-A3DACBE38F86}" dt="2023-11-03T04:51:05.017" v="6662" actId="139"/>
          <ac:spMkLst>
            <pc:docMk/>
            <pc:sldMk cId="862292938" sldId="2560"/>
            <ac:spMk id="64" creationId="{AC87ED95-9981-C425-C0A5-6F200BC6AE34}"/>
          </ac:spMkLst>
        </pc:spChg>
        <pc:spChg chg="mod">
          <ac:chgData name="Aurelien Domont" userId="6da7715ce44349b3" providerId="LiveId" clId="{AABA1416-4740-4FEA-A91C-A3DACBE38F86}" dt="2023-11-03T04:51:05.020" v="6665" actId="139"/>
          <ac:spMkLst>
            <pc:docMk/>
            <pc:sldMk cId="862292938" sldId="2560"/>
            <ac:spMk id="67" creationId="{0629FB2E-5B05-BEB2-FDB0-F05DD6C01F9F}"/>
          </ac:spMkLst>
        </pc:spChg>
        <pc:spChg chg="add mod">
          <ac:chgData name="Aurelien Domont" userId="6da7715ce44349b3" providerId="LiveId" clId="{AABA1416-4740-4FEA-A91C-A3DACBE38F86}" dt="2023-11-03T04:51:05.024" v="6668" actId="139"/>
          <ac:spMkLst>
            <pc:docMk/>
            <pc:sldMk cId="862292938" sldId="2560"/>
            <ac:spMk id="68" creationId="{6EF07348-B887-1E63-314E-8D5065886A79}"/>
          </ac:spMkLst>
        </pc:spChg>
        <pc:spChg chg="mod">
          <ac:chgData name="Aurelien Domont" userId="6da7715ce44349b3" providerId="LiveId" clId="{AABA1416-4740-4FEA-A91C-A3DACBE38F86}" dt="2023-11-03T05:28:03.025" v="11349" actId="20577"/>
          <ac:spMkLst>
            <pc:docMk/>
            <pc:sldMk cId="862292938" sldId="2560"/>
            <ac:spMk id="71" creationId="{466D9ACC-0AC3-9289-65AD-6EF68BB166BE}"/>
          </ac:spMkLst>
        </pc:spChg>
        <pc:spChg chg="add mod">
          <ac:chgData name="Aurelien Domont" userId="6da7715ce44349b3" providerId="LiveId" clId="{AABA1416-4740-4FEA-A91C-A3DACBE38F86}" dt="2023-11-03T05:30:59.122" v="11378" actId="1035"/>
          <ac:spMkLst>
            <pc:docMk/>
            <pc:sldMk cId="862292938" sldId="2560"/>
            <ac:spMk id="72" creationId="{FE359F32-85A0-ACB5-DB66-C02488E95509}"/>
          </ac:spMkLst>
        </pc:spChg>
        <pc:spChg chg="add del mod">
          <ac:chgData name="Aurelien Domont" userId="6da7715ce44349b3" providerId="LiveId" clId="{AABA1416-4740-4FEA-A91C-A3DACBE38F86}" dt="2023-11-03T05:26:15.927" v="11213" actId="478"/>
          <ac:spMkLst>
            <pc:docMk/>
            <pc:sldMk cId="862292938" sldId="2560"/>
            <ac:spMk id="73" creationId="{562BCCA5-46E0-310B-6B94-93356ED59AAB}"/>
          </ac:spMkLst>
        </pc:spChg>
        <pc:spChg chg="add del mod modVis">
          <ac:chgData name="Aurelien Domont" userId="6da7715ce44349b3" providerId="LiveId" clId="{AABA1416-4740-4FEA-A91C-A3DACBE38F86}" dt="2023-11-03T02:22:17.527" v="2852"/>
          <ac:spMkLst>
            <pc:docMk/>
            <pc:sldMk cId="862292938" sldId="2560"/>
            <ac:spMk id="74" creationId="{EA5678EC-FA9D-524A-2FB2-D219FFE2C4F3}"/>
          </ac:spMkLst>
        </pc:spChg>
        <pc:spChg chg="add del mod modVis">
          <ac:chgData name="Aurelien Domont" userId="6da7715ce44349b3" providerId="LiveId" clId="{AABA1416-4740-4FEA-A91C-A3DACBE38F86}" dt="2023-11-03T03:22:59.005" v="4853"/>
          <ac:spMkLst>
            <pc:docMk/>
            <pc:sldMk cId="862292938" sldId="2560"/>
            <ac:spMk id="75" creationId="{48524150-35C3-DE95-304C-3F2282AFCAEF}"/>
          </ac:spMkLst>
        </pc:spChg>
        <pc:spChg chg="add del mod modVis">
          <ac:chgData name="Aurelien Domont" userId="6da7715ce44349b3" providerId="LiveId" clId="{AABA1416-4740-4FEA-A91C-A3DACBE38F86}" dt="2023-11-03T03:23:00.373" v="4887"/>
          <ac:spMkLst>
            <pc:docMk/>
            <pc:sldMk cId="862292938" sldId="2560"/>
            <ac:spMk id="76" creationId="{67D3B593-5BB7-8A92-3340-EB539362F122}"/>
          </ac:spMkLst>
        </pc:spChg>
        <pc:spChg chg="add del mod modVis">
          <ac:chgData name="Aurelien Domont" userId="6da7715ce44349b3" providerId="LiveId" clId="{AABA1416-4740-4FEA-A91C-A3DACBE38F86}" dt="2023-11-03T03:23:01.691" v="4916"/>
          <ac:spMkLst>
            <pc:docMk/>
            <pc:sldMk cId="862292938" sldId="2560"/>
            <ac:spMk id="77" creationId="{C4845B52-E231-6825-DAF8-B29A19E60E68}"/>
          </ac:spMkLst>
        </pc:spChg>
        <pc:spChg chg="add del mod modVis">
          <ac:chgData name="Aurelien Domont" userId="6da7715ce44349b3" providerId="LiveId" clId="{AABA1416-4740-4FEA-A91C-A3DACBE38F86}" dt="2023-11-03T03:23:05.560" v="4970" actId="962"/>
          <ac:spMkLst>
            <pc:docMk/>
            <pc:sldMk cId="862292938" sldId="2560"/>
            <ac:spMk id="78" creationId="{3C076855-3A2B-BB7B-2598-33AA1D5879AC}"/>
          </ac:spMkLst>
        </pc:spChg>
        <pc:spChg chg="add del mod modVis">
          <ac:chgData name="Aurelien Domont" userId="6da7715ce44349b3" providerId="LiveId" clId="{AABA1416-4740-4FEA-A91C-A3DACBE38F86}" dt="2023-11-03T03:23:11.095" v="5001"/>
          <ac:spMkLst>
            <pc:docMk/>
            <pc:sldMk cId="862292938" sldId="2560"/>
            <ac:spMk id="79" creationId="{3AE397ED-047E-4568-2D6F-C3137378C9C7}"/>
          </ac:spMkLst>
        </pc:spChg>
        <pc:spChg chg="add del mod modVis">
          <ac:chgData name="Aurelien Domont" userId="6da7715ce44349b3" providerId="LiveId" clId="{AABA1416-4740-4FEA-A91C-A3DACBE38F86}" dt="2023-11-03T03:23:17.376" v="5029"/>
          <ac:spMkLst>
            <pc:docMk/>
            <pc:sldMk cId="862292938" sldId="2560"/>
            <ac:spMk id="80" creationId="{190C12A4-A545-95A0-7BD3-D85512D0B319}"/>
          </ac:spMkLst>
        </pc:spChg>
        <pc:grpChg chg="add mod">
          <ac:chgData name="Aurelien Domont" userId="6da7715ce44349b3" providerId="LiveId" clId="{AABA1416-4740-4FEA-A91C-A3DACBE38F86}" dt="2023-11-03T05:31:04.805" v="11379" actId="571"/>
          <ac:grpSpMkLst>
            <pc:docMk/>
            <pc:sldMk cId="862292938" sldId="2560"/>
            <ac:grpSpMk id="15" creationId="{65183F95-A02F-6E62-0053-C919268175C2}"/>
          </ac:grpSpMkLst>
        </pc:grpChg>
        <pc:grpChg chg="add mod">
          <ac:chgData name="Aurelien Domont" userId="6da7715ce44349b3" providerId="LiveId" clId="{AABA1416-4740-4FEA-A91C-A3DACBE38F86}" dt="2023-11-03T01:51:25.492" v="1849" actId="1037"/>
          <ac:grpSpMkLst>
            <pc:docMk/>
            <pc:sldMk cId="862292938" sldId="2560"/>
            <ac:grpSpMk id="31" creationId="{B6727FD6-0702-B2CC-6E64-062AF0B6D15D}"/>
          </ac:grpSpMkLst>
        </pc:grpChg>
        <pc:grpChg chg="mod">
          <ac:chgData name="Aurelien Domont" userId="6da7715ce44349b3" providerId="LiveId" clId="{AABA1416-4740-4FEA-A91C-A3DACBE38F86}" dt="2023-11-03T01:49:40.066" v="1818"/>
          <ac:grpSpMkLst>
            <pc:docMk/>
            <pc:sldMk cId="862292938" sldId="2560"/>
            <ac:grpSpMk id="56" creationId="{38444726-E9BA-8A9C-05D6-6D8542379292}"/>
          </ac:grpSpMkLst>
        </pc:grpChg>
        <pc:grpChg chg="add mod">
          <ac:chgData name="Aurelien Domont" userId="6da7715ce44349b3" providerId="LiveId" clId="{AABA1416-4740-4FEA-A91C-A3DACBE38F86}" dt="2023-11-03T01:50:39.643" v="1827"/>
          <ac:grpSpMkLst>
            <pc:docMk/>
            <pc:sldMk cId="862292938" sldId="2560"/>
            <ac:grpSpMk id="62" creationId="{58062C18-AB89-5CBD-7FB9-4782F059257E}"/>
          </ac:grpSpMkLst>
        </pc:grpChg>
        <pc:grpChg chg="add mod">
          <ac:chgData name="Aurelien Domont" userId="6da7715ce44349b3" providerId="LiveId" clId="{AABA1416-4740-4FEA-A91C-A3DACBE38F86}" dt="2023-11-03T01:50:39.643" v="1827"/>
          <ac:grpSpMkLst>
            <pc:docMk/>
            <pc:sldMk cId="862292938" sldId="2560"/>
            <ac:grpSpMk id="65" creationId="{D4B3EDE2-C27D-1581-C6F5-C605790BF426}"/>
          </ac:grpSpMkLst>
        </pc:grpChg>
        <pc:grpChg chg="add mod">
          <ac:chgData name="Aurelien Domont" userId="6da7715ce44349b3" providerId="LiveId" clId="{AABA1416-4740-4FEA-A91C-A3DACBE38F86}" dt="2023-11-03T05:30:59.122" v="11378" actId="1035"/>
          <ac:grpSpMkLst>
            <pc:docMk/>
            <pc:sldMk cId="862292938" sldId="2560"/>
            <ac:grpSpMk id="69" creationId="{DFFDDE99-5BBE-E557-167B-797A5B7AA2DC}"/>
          </ac:grpSpMkLst>
        </pc:grpChg>
        <pc:graphicFrameChg chg="add mod ord modVis replST">
          <ac:chgData name="Aurelien Domont" userId="6da7715ce44349b3" providerId="LiveId" clId="{AABA1416-4740-4FEA-A91C-A3DACBE38F86}" dt="2023-11-03T05:26:26.005" v="11297"/>
          <ac:graphicFrameMkLst>
            <pc:docMk/>
            <pc:sldMk cId="862292938" sldId="2560"/>
            <ac:graphicFrameMk id="6" creationId="{C74B90F8-16E2-149E-13EF-2AEEB8172E8E}"/>
          </ac:graphicFrameMkLst>
        </pc:graphicFrameChg>
        <pc:picChg chg="add mod">
          <ac:chgData name="Aurelien Domont" userId="6da7715ce44349b3" providerId="LiveId" clId="{AABA1416-4740-4FEA-A91C-A3DACBE38F86}" dt="2023-11-03T05:32:59.353" v="11536" actId="1076"/>
          <ac:picMkLst>
            <pc:docMk/>
            <pc:sldMk cId="862292938" sldId="2560"/>
            <ac:picMk id="19" creationId="{1A420441-34F2-FAE3-5B1C-5C358B7CA85B}"/>
          </ac:picMkLst>
        </pc:picChg>
        <pc:picChg chg="add mod">
          <ac:chgData name="Aurelien Domont" userId="6da7715ce44349b3" providerId="LiveId" clId="{AABA1416-4740-4FEA-A91C-A3DACBE38F86}" dt="2023-11-03T05:33:14.010" v="11556" actId="1038"/>
          <ac:picMkLst>
            <pc:docMk/>
            <pc:sldMk cId="862292938" sldId="2560"/>
            <ac:picMk id="20" creationId="{4B556060-2AA7-76B2-ED87-FC9647822972}"/>
          </ac:picMkLst>
        </pc:picChg>
        <pc:picChg chg="add mod">
          <ac:chgData name="Aurelien Domont" userId="6da7715ce44349b3" providerId="LiveId" clId="{AABA1416-4740-4FEA-A91C-A3DACBE38F86}" dt="2023-11-03T05:33:13.053" v="11552" actId="1038"/>
          <ac:picMkLst>
            <pc:docMk/>
            <pc:sldMk cId="862292938" sldId="2560"/>
            <ac:picMk id="21" creationId="{873B31A3-BF1B-2658-953A-4FDFBC8356EC}"/>
          </ac:picMkLst>
        </pc:picChg>
        <pc:picChg chg="add mod">
          <ac:chgData name="Aurelien Domont" userId="6da7715ce44349b3" providerId="LiveId" clId="{AABA1416-4740-4FEA-A91C-A3DACBE38F86}" dt="2023-11-03T05:33:17.822" v="11567" actId="1035"/>
          <ac:picMkLst>
            <pc:docMk/>
            <pc:sldMk cId="862292938" sldId="2560"/>
            <ac:picMk id="22" creationId="{F8D5A2CB-3C61-817E-AA34-7B0945D439B9}"/>
          </ac:picMkLst>
        </pc:picChg>
        <pc:picChg chg="add mod">
          <ac:chgData name="Aurelien Domont" userId="6da7715ce44349b3" providerId="LiveId" clId="{AABA1416-4740-4FEA-A91C-A3DACBE38F86}" dt="2023-11-03T05:33:08.148" v="11540" actId="1076"/>
          <ac:picMkLst>
            <pc:docMk/>
            <pc:sldMk cId="862292938" sldId="2560"/>
            <ac:picMk id="23" creationId="{0887A1EC-3A21-F8AF-DB81-6E8359841D2C}"/>
          </ac:picMkLst>
        </pc:picChg>
        <pc:picChg chg="mod">
          <ac:chgData name="Aurelien Domont" userId="6da7715ce44349b3" providerId="LiveId" clId="{AABA1416-4740-4FEA-A91C-A3DACBE38F86}" dt="2023-11-03T01:49:40.066" v="1818"/>
          <ac:picMkLst>
            <pc:docMk/>
            <pc:sldMk cId="862292938" sldId="2560"/>
            <ac:picMk id="49" creationId="{7B990492-B56E-8BD8-E2EA-A9A31C36FB92}"/>
          </ac:picMkLst>
        </pc:picChg>
        <pc:picChg chg="mod">
          <ac:chgData name="Aurelien Domont" userId="6da7715ce44349b3" providerId="LiveId" clId="{AABA1416-4740-4FEA-A91C-A3DACBE38F86}" dt="2023-11-03T01:49:40.066" v="1818"/>
          <ac:picMkLst>
            <pc:docMk/>
            <pc:sldMk cId="862292938" sldId="2560"/>
            <ac:picMk id="50" creationId="{A9B115DA-02DE-1E92-B04F-2C76877F29B0}"/>
          </ac:picMkLst>
        </pc:picChg>
        <pc:picChg chg="mod">
          <ac:chgData name="Aurelien Domont" userId="6da7715ce44349b3" providerId="LiveId" clId="{AABA1416-4740-4FEA-A91C-A3DACBE38F86}" dt="2023-11-03T01:49:40.066" v="1818"/>
          <ac:picMkLst>
            <pc:docMk/>
            <pc:sldMk cId="862292938" sldId="2560"/>
            <ac:picMk id="51" creationId="{A9BE6839-426F-AFE5-1C90-DF28A0F169E9}"/>
          </ac:picMkLst>
        </pc:picChg>
        <pc:picChg chg="mod">
          <ac:chgData name="Aurelien Domont" userId="6da7715ce44349b3" providerId="LiveId" clId="{AABA1416-4740-4FEA-A91C-A3DACBE38F86}" dt="2023-11-03T01:49:40.066" v="1818"/>
          <ac:picMkLst>
            <pc:docMk/>
            <pc:sldMk cId="862292938" sldId="2560"/>
            <ac:picMk id="52" creationId="{C3F947EF-9746-8A0B-886A-2300A966611E}"/>
          </ac:picMkLst>
        </pc:picChg>
        <pc:picChg chg="mod">
          <ac:chgData name="Aurelien Domont" userId="6da7715ce44349b3" providerId="LiveId" clId="{AABA1416-4740-4FEA-A91C-A3DACBE38F86}" dt="2023-11-03T01:49:40.066" v="1818"/>
          <ac:picMkLst>
            <pc:docMk/>
            <pc:sldMk cId="862292938" sldId="2560"/>
            <ac:picMk id="53" creationId="{3C3A3915-23F2-6F69-8DCB-C0343929DC56}"/>
          </ac:picMkLst>
        </pc:picChg>
        <pc:picChg chg="mod">
          <ac:chgData name="Aurelien Domont" userId="6da7715ce44349b3" providerId="LiveId" clId="{AABA1416-4740-4FEA-A91C-A3DACBE38F86}" dt="2023-11-03T01:49:40.066" v="1818"/>
          <ac:picMkLst>
            <pc:docMk/>
            <pc:sldMk cId="862292938" sldId="2560"/>
            <ac:picMk id="54" creationId="{3491897B-2141-B19A-D473-6DA3D860EF7F}"/>
          </ac:picMkLst>
        </pc:picChg>
        <pc:picChg chg="mod">
          <ac:chgData name="Aurelien Domont" userId="6da7715ce44349b3" providerId="LiveId" clId="{AABA1416-4740-4FEA-A91C-A3DACBE38F86}" dt="2023-11-03T01:49:40.066" v="1818"/>
          <ac:picMkLst>
            <pc:docMk/>
            <pc:sldMk cId="862292938" sldId="2560"/>
            <ac:picMk id="55" creationId="{E9AD0067-6CA1-4126-11CD-69AD322FCA52}"/>
          </ac:picMkLst>
        </pc:picChg>
        <pc:cxnChg chg="mod">
          <ac:chgData name="Aurelien Domont" userId="6da7715ce44349b3" providerId="LiveId" clId="{AABA1416-4740-4FEA-A91C-A3DACBE38F86}" dt="2023-11-03T05:31:04.805" v="11379" actId="571"/>
          <ac:cxnSpMkLst>
            <pc:docMk/>
            <pc:sldMk cId="862292938" sldId="2560"/>
            <ac:cxnSpMk id="16" creationId="{77C95F68-0C65-7A10-5DB5-0AF3DD88EEDD}"/>
          </ac:cxnSpMkLst>
        </pc:cxnChg>
        <pc:cxnChg chg="mod">
          <ac:chgData name="Aurelien Domont" userId="6da7715ce44349b3" providerId="LiveId" clId="{AABA1416-4740-4FEA-A91C-A3DACBE38F86}" dt="2023-11-03T01:50:39.643" v="1827"/>
          <ac:cxnSpMkLst>
            <pc:docMk/>
            <pc:sldMk cId="862292938" sldId="2560"/>
            <ac:cxnSpMk id="63" creationId="{9CA760FA-8328-0E04-1AEC-1329BFAFC1C2}"/>
          </ac:cxnSpMkLst>
        </pc:cxnChg>
        <pc:cxnChg chg="mod">
          <ac:chgData name="Aurelien Domont" userId="6da7715ce44349b3" providerId="LiveId" clId="{AABA1416-4740-4FEA-A91C-A3DACBE38F86}" dt="2023-11-03T01:50:39.643" v="1827"/>
          <ac:cxnSpMkLst>
            <pc:docMk/>
            <pc:sldMk cId="862292938" sldId="2560"/>
            <ac:cxnSpMk id="66" creationId="{54F0606F-77E4-6BF8-23B8-D79B0B9728E9}"/>
          </ac:cxnSpMkLst>
        </pc:cxnChg>
        <pc:cxnChg chg="mod">
          <ac:chgData name="Aurelien Domont" userId="6da7715ce44349b3" providerId="LiveId" clId="{AABA1416-4740-4FEA-A91C-A3DACBE38F86}" dt="2023-11-03T01:56:27.445" v="2016" actId="571"/>
          <ac:cxnSpMkLst>
            <pc:docMk/>
            <pc:sldMk cId="862292938" sldId="2560"/>
            <ac:cxnSpMk id="70" creationId="{6CB4D8FF-7BE9-0311-510A-CB304A4F2467}"/>
          </ac:cxnSpMkLst>
        </pc:cxnChg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543024021" sldId="2560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405253810" sldId="2561"/>
        </pc:sldMkLst>
      </pc:sldChg>
      <pc:sldChg chg="addSp delSp modSp new add mod">
        <pc:chgData name="Aurelien Domont" userId="6da7715ce44349b3" providerId="LiveId" clId="{AABA1416-4740-4FEA-A91C-A3DACBE38F86}" dt="2023-11-16T23:34:49.284" v="13050" actId="5793"/>
        <pc:sldMkLst>
          <pc:docMk/>
          <pc:sldMk cId="3906540847" sldId="2561"/>
        </pc:sldMkLst>
        <pc:spChg chg="mod">
          <ac:chgData name="Aurelien Domont" userId="6da7715ce44349b3" providerId="LiveId" clId="{AABA1416-4740-4FEA-A91C-A3DACBE38F86}" dt="2023-11-03T04:51:06.682" v="8685" actId="948"/>
          <ac:spMkLst>
            <pc:docMk/>
            <pc:sldMk cId="3906540847" sldId="2561"/>
            <ac:spMk id="2" creationId="{12009DA8-0966-101B-E219-F283F194BD59}"/>
          </ac:spMkLst>
        </pc:spChg>
        <pc:spChg chg="add mod">
          <ac:chgData name="Aurelien Domont" userId="6da7715ce44349b3" providerId="LiveId" clId="{AABA1416-4740-4FEA-A91C-A3DACBE38F86}" dt="2023-11-16T23:34:49.284" v="13050" actId="5793"/>
          <ac:spMkLst>
            <pc:docMk/>
            <pc:sldMk cId="3906540847" sldId="2561"/>
            <ac:spMk id="3" creationId="{89947160-CBBF-9C08-490A-A8FC816B0F00}"/>
          </ac:spMkLst>
        </pc:spChg>
        <pc:spChg chg="add del mod modVis">
          <ac:chgData name="Aurelien Domont" userId="6da7715ce44349b3" providerId="LiveId" clId="{AABA1416-4740-4FEA-A91C-A3DACBE38F86}" dt="2023-11-03T02:24:03.128" v="2910"/>
          <ac:spMkLst>
            <pc:docMk/>
            <pc:sldMk cId="3906540847" sldId="2561"/>
            <ac:spMk id="5" creationId="{7763C9F0-959B-19DC-1B8A-F06D14C0567E}"/>
          </ac:spMkLst>
        </pc:spChg>
        <pc:spChg chg="mod">
          <ac:chgData name="Aurelien Domont" userId="6da7715ce44349b3" providerId="LiveId" clId="{AABA1416-4740-4FEA-A91C-A3DACBE38F86}" dt="2023-11-03T04:51:05.121" v="6703" actId="790"/>
          <ac:spMkLst>
            <pc:docMk/>
            <pc:sldMk cId="3906540847" sldId="2561"/>
            <ac:spMk id="5" creationId="{AF93A315-2A8D-AAB5-C12E-6C2352B80674}"/>
          </ac:spMkLst>
        </pc:spChg>
        <pc:spChg chg="add del mod modVis">
          <ac:chgData name="Aurelien Domont" userId="6da7715ce44349b3" providerId="LiveId" clId="{AABA1416-4740-4FEA-A91C-A3DACBE38F86}" dt="2023-11-03T02:24:06.657" v="2952"/>
          <ac:spMkLst>
            <pc:docMk/>
            <pc:sldMk cId="3906540847" sldId="2561"/>
            <ac:spMk id="7" creationId="{1FF7AE9F-FC58-EAFF-785E-7BBFC895C780}"/>
          </ac:spMkLst>
        </pc:spChg>
        <pc:spChg chg="add del mod modVis">
          <ac:chgData name="Aurelien Domont" userId="6da7715ce44349b3" providerId="LiveId" clId="{AABA1416-4740-4FEA-A91C-A3DACBE38F86}" dt="2023-11-03T04:51:06.838" v="8824"/>
          <ac:spMkLst>
            <pc:docMk/>
            <pc:sldMk cId="3906540847" sldId="2561"/>
            <ac:spMk id="7" creationId="{8366870B-49DA-008C-4E59-44D4BB35993A}"/>
          </ac:spMkLst>
        </pc:spChg>
        <pc:spChg chg="add del mod modVis">
          <ac:chgData name="Aurelien Domont" userId="6da7715ce44349b3" providerId="LiveId" clId="{AABA1416-4740-4FEA-A91C-A3DACBE38F86}" dt="2023-11-03T02:24:19.451" v="2981"/>
          <ac:spMkLst>
            <pc:docMk/>
            <pc:sldMk cId="3906540847" sldId="2561"/>
            <ac:spMk id="8" creationId="{D402BEB2-ED94-58A5-AE79-63B1D6CFA45D}"/>
          </ac:spMkLst>
        </pc:spChg>
        <pc:spChg chg="add del mod modVis">
          <ac:chgData name="Aurelien Domont" userId="6da7715ce44349b3" providerId="LiveId" clId="{AABA1416-4740-4FEA-A91C-A3DACBE38F86}" dt="2023-11-03T02:24:23.079" v="3010"/>
          <ac:spMkLst>
            <pc:docMk/>
            <pc:sldMk cId="3906540847" sldId="2561"/>
            <ac:spMk id="9" creationId="{7D125233-3EDD-68B0-3EF4-DB0FA4CBEFCC}"/>
          </ac:spMkLst>
        </pc:spChg>
        <pc:spChg chg="add mod">
          <ac:chgData name="Aurelien Domont" userId="6da7715ce44349b3" providerId="LiveId" clId="{AABA1416-4740-4FEA-A91C-A3DACBE38F86}" dt="2023-11-03T04:51:05.072" v="6685" actId="139"/>
          <ac:spMkLst>
            <pc:docMk/>
            <pc:sldMk cId="3906540847" sldId="2561"/>
            <ac:spMk id="10" creationId="{4E97A51A-9AC1-990E-4C5C-8B6A782A7310}"/>
          </ac:spMkLst>
        </pc:spChg>
        <pc:spChg chg="add mod">
          <ac:chgData name="Aurelien Domont" userId="6da7715ce44349b3" providerId="LiveId" clId="{AABA1416-4740-4FEA-A91C-A3DACBE38F86}" dt="2023-11-03T04:51:05.084" v="6688" actId="139"/>
          <ac:spMkLst>
            <pc:docMk/>
            <pc:sldMk cId="3906540847" sldId="2561"/>
            <ac:spMk id="11" creationId="{66011BE7-3361-45B5-A09D-28FF2241FB2C}"/>
          </ac:spMkLst>
        </pc:spChg>
        <pc:spChg chg="add mod">
          <ac:chgData name="Aurelien Domont" userId="6da7715ce44349b3" providerId="LiveId" clId="{AABA1416-4740-4FEA-A91C-A3DACBE38F86}" dt="2023-11-03T04:51:05.086" v="6689" actId="790"/>
          <ac:spMkLst>
            <pc:docMk/>
            <pc:sldMk cId="3906540847" sldId="2561"/>
            <ac:spMk id="12" creationId="{E5C880B1-3661-390E-F882-CB4F6F931514}"/>
          </ac:spMkLst>
        </pc:spChg>
        <pc:spChg chg="add mod">
          <ac:chgData name="Aurelien Domont" userId="6da7715ce44349b3" providerId="LiveId" clId="{AABA1416-4740-4FEA-A91C-A3DACBE38F86}" dt="2023-11-03T04:51:05.097" v="6692" actId="139"/>
          <ac:spMkLst>
            <pc:docMk/>
            <pc:sldMk cId="3906540847" sldId="2561"/>
            <ac:spMk id="13" creationId="{498C36E7-47A0-0E62-649F-79BFC24991C9}"/>
          </ac:spMkLst>
        </pc:spChg>
        <pc:spChg chg="add mod">
          <ac:chgData name="Aurelien Domont" userId="6da7715ce44349b3" providerId="LiveId" clId="{AABA1416-4740-4FEA-A91C-A3DACBE38F86}" dt="2023-11-03T04:51:05.098" v="6693" actId="790"/>
          <ac:spMkLst>
            <pc:docMk/>
            <pc:sldMk cId="3906540847" sldId="2561"/>
            <ac:spMk id="14" creationId="{2D61A940-E2A4-8F8B-BEEB-527EA37FB376}"/>
          </ac:spMkLst>
        </pc:spChg>
        <pc:spChg chg="add mod">
          <ac:chgData name="Aurelien Domont" userId="6da7715ce44349b3" providerId="LiveId" clId="{AABA1416-4740-4FEA-A91C-A3DACBE38F86}" dt="2023-11-03T04:51:05.099" v="6694" actId="790"/>
          <ac:spMkLst>
            <pc:docMk/>
            <pc:sldMk cId="3906540847" sldId="2561"/>
            <ac:spMk id="15" creationId="{274392A5-1E09-AADB-1902-0598AA87A564}"/>
          </ac:spMkLst>
        </pc:spChg>
        <pc:spChg chg="add mod">
          <ac:chgData name="Aurelien Domont" userId="6da7715ce44349b3" providerId="LiveId" clId="{AABA1416-4740-4FEA-A91C-A3DACBE38F86}" dt="2023-11-03T04:51:05.100" v="6695" actId="790"/>
          <ac:spMkLst>
            <pc:docMk/>
            <pc:sldMk cId="3906540847" sldId="2561"/>
            <ac:spMk id="16" creationId="{D7BABEBB-009A-B3CC-DD7C-AC6B17E66EBD}"/>
          </ac:spMkLst>
        </pc:spChg>
        <pc:spChg chg="add mod">
          <ac:chgData name="Aurelien Domont" userId="6da7715ce44349b3" providerId="LiveId" clId="{AABA1416-4740-4FEA-A91C-A3DACBE38F86}" dt="2023-11-03T04:51:05.102" v="6696" actId="790"/>
          <ac:spMkLst>
            <pc:docMk/>
            <pc:sldMk cId="3906540847" sldId="2561"/>
            <ac:spMk id="17" creationId="{5A4EBC52-4520-716E-F7FC-5C1748C76EC9}"/>
          </ac:spMkLst>
        </pc:spChg>
        <pc:spChg chg="add mod">
          <ac:chgData name="Aurelien Domont" userId="6da7715ce44349b3" providerId="LiveId" clId="{AABA1416-4740-4FEA-A91C-A3DACBE38F86}" dt="2023-11-03T04:51:05.103" v="6697" actId="790"/>
          <ac:spMkLst>
            <pc:docMk/>
            <pc:sldMk cId="3906540847" sldId="2561"/>
            <ac:spMk id="18" creationId="{49B65B9F-63BA-FB4C-B12B-B72843B3717D}"/>
          </ac:spMkLst>
        </pc:spChg>
        <pc:spChg chg="add mod">
          <ac:chgData name="Aurelien Domont" userId="6da7715ce44349b3" providerId="LiveId" clId="{AABA1416-4740-4FEA-A91C-A3DACBE38F86}" dt="2023-11-03T04:51:05.104" v="6698" actId="790"/>
          <ac:spMkLst>
            <pc:docMk/>
            <pc:sldMk cId="3906540847" sldId="2561"/>
            <ac:spMk id="19" creationId="{D37A2CA0-E224-A57E-B83D-3F8EBC0B08EB}"/>
          </ac:spMkLst>
        </pc:spChg>
        <pc:spChg chg="add mod">
          <ac:chgData name="Aurelien Domont" userId="6da7715ce44349b3" providerId="LiveId" clId="{AABA1416-4740-4FEA-A91C-A3DACBE38F86}" dt="2023-11-03T04:51:05.105" v="6699" actId="790"/>
          <ac:spMkLst>
            <pc:docMk/>
            <pc:sldMk cId="3906540847" sldId="2561"/>
            <ac:spMk id="20" creationId="{0CA3FB12-AFA3-4D30-44A1-2208EFD37686}"/>
          </ac:spMkLst>
        </pc:spChg>
        <pc:spChg chg="add del mod">
          <ac:chgData name="Aurelien Domont" userId="6da7715ce44349b3" providerId="LiveId" clId="{AABA1416-4740-4FEA-A91C-A3DACBE38F86}" dt="2023-11-16T23:30:51.424" v="12950" actId="478"/>
          <ac:spMkLst>
            <pc:docMk/>
            <pc:sldMk cId="3906540847" sldId="2561"/>
            <ac:spMk id="23" creationId="{B065C4C3-8EBE-FDB4-1686-08AA881AC867}"/>
          </ac:spMkLst>
        </pc:spChg>
        <pc:graphicFrameChg chg="add mod ord modVis replST">
          <ac:chgData name="Aurelien Domont" userId="6da7715ce44349b3" providerId="LiveId" clId="{AABA1416-4740-4FEA-A91C-A3DACBE38F86}" dt="2023-11-03T04:51:06.841" v="8826"/>
          <ac:graphicFrameMkLst>
            <pc:docMk/>
            <pc:sldMk cId="3906540847" sldId="2561"/>
            <ac:graphicFrameMk id="6" creationId="{F5887244-1866-E102-5FD5-79FA1304146D}"/>
          </ac:graphicFrameMkLst>
        </pc:graphicFrameChg>
        <pc:picChg chg="add mod">
          <ac:chgData name="Aurelien Domont" userId="6da7715ce44349b3" providerId="LiveId" clId="{AABA1416-4740-4FEA-A91C-A3DACBE38F86}" dt="2023-11-03T02:24:53.263" v="3013"/>
          <ac:picMkLst>
            <pc:docMk/>
            <pc:sldMk cId="3906540847" sldId="2561"/>
            <ac:picMk id="21" creationId="{55C0EEEA-D196-5D4A-0E6C-48562BA818D4}"/>
          </ac:picMkLst>
        </pc:picChg>
        <pc:picChg chg="add mod">
          <ac:chgData name="Aurelien Domont" userId="6da7715ce44349b3" providerId="LiveId" clId="{AABA1416-4740-4FEA-A91C-A3DACBE38F86}" dt="2023-11-03T02:24:53.263" v="3013"/>
          <ac:picMkLst>
            <pc:docMk/>
            <pc:sldMk cId="3906540847" sldId="2561"/>
            <ac:picMk id="22" creationId="{A505F267-E3B5-4559-8DBB-D387D74271CB}"/>
          </ac:picMkLst>
        </pc:picChg>
        <pc:picChg chg="add mod">
          <ac:chgData name="Aurelien Domont" userId="6da7715ce44349b3" providerId="LiveId" clId="{AABA1416-4740-4FEA-A91C-A3DACBE38F86}" dt="2023-11-03T02:24:53.263" v="3013"/>
          <ac:picMkLst>
            <pc:docMk/>
            <pc:sldMk cId="3906540847" sldId="2561"/>
            <ac:picMk id="24" creationId="{C3E08E48-91DC-4C1F-99DB-2B28D33A03AF}"/>
          </ac:picMkLst>
        </pc:picChg>
        <pc:picChg chg="add mod">
          <ac:chgData name="Aurelien Domont" userId="6da7715ce44349b3" providerId="LiveId" clId="{AABA1416-4740-4FEA-A91C-A3DACBE38F86}" dt="2023-11-03T02:24:53.263" v="3013"/>
          <ac:picMkLst>
            <pc:docMk/>
            <pc:sldMk cId="3906540847" sldId="2561"/>
            <ac:picMk id="28" creationId="{570D065C-7397-1F30-84E3-E02A480D7274}"/>
          </ac:picMkLst>
        </pc:picChg>
        <pc:cxnChg chg="add mod">
          <ac:chgData name="Aurelien Domont" userId="6da7715ce44349b3" providerId="LiveId" clId="{AABA1416-4740-4FEA-A91C-A3DACBE38F86}" dt="2023-11-03T02:24:53.263" v="3013"/>
          <ac:cxnSpMkLst>
            <pc:docMk/>
            <pc:sldMk cId="3906540847" sldId="2561"/>
            <ac:cxnSpMk id="25" creationId="{502884BB-E7EF-9123-353B-F4640A540644}"/>
          </ac:cxnSpMkLst>
        </pc:cxnChg>
        <pc:cxnChg chg="add mod">
          <ac:chgData name="Aurelien Domont" userId="6da7715ce44349b3" providerId="LiveId" clId="{AABA1416-4740-4FEA-A91C-A3DACBE38F86}" dt="2023-11-03T02:24:53.263" v="3013"/>
          <ac:cxnSpMkLst>
            <pc:docMk/>
            <pc:sldMk cId="3906540847" sldId="2561"/>
            <ac:cxnSpMk id="26" creationId="{A3A765AC-F843-8348-5781-A190B3BA3D7E}"/>
          </ac:cxnSpMkLst>
        </pc:cxnChg>
        <pc:cxnChg chg="add mod">
          <ac:chgData name="Aurelien Domont" userId="6da7715ce44349b3" providerId="LiveId" clId="{AABA1416-4740-4FEA-A91C-A3DACBE38F86}" dt="2023-11-03T02:24:53.263" v="3013"/>
          <ac:cxnSpMkLst>
            <pc:docMk/>
            <pc:sldMk cId="3906540847" sldId="2561"/>
            <ac:cxnSpMk id="27" creationId="{3EF60794-3A8E-BE39-F0D8-071906313B90}"/>
          </ac:cxnSpMkLst>
        </pc:cxnChg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08615889" sldId="2562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576432030" sldId="2563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374931211" sldId="2564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551571960" sldId="2565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582809319" sldId="2566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891423568" sldId="2567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903418997" sldId="2568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009755545" sldId="2569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197559153" sldId="2570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46935978" sldId="2571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657703967" sldId="2572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290492658" sldId="2574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492701164" sldId="2575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4238369639" sldId="2576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327507526" sldId="2577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515313173" sldId="2578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883372972" sldId="2579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658858448" sldId="2580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371668482" sldId="2581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980039990" sldId="2582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154581266" sldId="2583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592324127" sldId="2584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550236728" sldId="2585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493403752" sldId="2586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158731188" sldId="2587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959411121" sldId="2588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701357970" sldId="2589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748245338" sldId="2590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223397737" sldId="2591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501742771" sldId="2592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699548227" sldId="2593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3665142639" sldId="2594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1755678747" sldId="2595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2866196194" sldId="2596"/>
        </pc:sldMkLst>
      </pc:sldChg>
      <pc:sldChg chg="del">
        <pc:chgData name="Aurelien Domont" userId="6da7715ce44349b3" providerId="LiveId" clId="{AABA1416-4740-4FEA-A91C-A3DACBE38F86}" dt="2023-11-03T00:14:59.440" v="53" actId="47"/>
        <pc:sldMkLst>
          <pc:docMk/>
          <pc:sldMk cId="4238437504" sldId="2597"/>
        </pc:sldMkLst>
      </pc:sldChg>
      <pc:sldChg chg="addSp delSp modSp add mod modClrScheme chgLayout">
        <pc:chgData name="Aurelien Domont" userId="6da7715ce44349b3" providerId="LiveId" clId="{AABA1416-4740-4FEA-A91C-A3DACBE38F86}" dt="2023-11-03T04:51:06.830" v="8816"/>
        <pc:sldMkLst>
          <pc:docMk/>
          <pc:sldMk cId="1926619926" sldId="3282"/>
        </pc:sldMkLst>
        <pc:spChg chg="mod ord">
          <ac:chgData name="Aurelien Domont" userId="6da7715ce44349b3" providerId="LiveId" clId="{AABA1416-4740-4FEA-A91C-A3DACBE38F86}" dt="2023-11-03T04:51:06.616" v="8643" actId="948"/>
          <ac:spMkLst>
            <pc:docMk/>
            <pc:sldMk cId="1926619926" sldId="3282"/>
            <ac:spMk id="2" creationId="{DEFE2F89-2C68-4882-ACAA-4D3583EC021E}"/>
          </ac:spMkLst>
        </pc:spChg>
        <pc:spChg chg="mod">
          <ac:chgData name="Aurelien Domont" userId="6da7715ce44349b3" providerId="LiveId" clId="{AABA1416-4740-4FEA-A91C-A3DACBE38F86}" dt="2023-11-03T04:51:05.298" v="6811" actId="790"/>
          <ac:spMkLst>
            <pc:docMk/>
            <pc:sldMk cId="1926619926" sldId="3282"/>
            <ac:spMk id="3" creationId="{E7801C33-1882-44AC-8209-E2ACFFBF177C}"/>
          </ac:spMkLst>
        </pc:spChg>
        <pc:spChg chg="mod ord">
          <ac:chgData name="Aurelien Domont" userId="6da7715ce44349b3" providerId="LiveId" clId="{AABA1416-4740-4FEA-A91C-A3DACBE38F86}" dt="2023-11-03T02:28:33.028" v="3018"/>
          <ac:spMkLst>
            <pc:docMk/>
            <pc:sldMk cId="1926619926" sldId="3282"/>
            <ac:spMk id="4" creationId="{01275858-1501-44F3-B5E3-F24097F0F591}"/>
          </ac:spMkLst>
        </pc:spChg>
        <pc:spChg chg="mod">
          <ac:chgData name="Aurelien Domont" userId="6da7715ce44349b3" providerId="LiveId" clId="{AABA1416-4740-4FEA-A91C-A3DACBE38F86}" dt="2023-11-03T04:51:05.300" v="6813" actId="790"/>
          <ac:spMkLst>
            <pc:docMk/>
            <pc:sldMk cId="1926619926" sldId="3282"/>
            <ac:spMk id="5" creationId="{02D37667-142B-7F2D-773F-1F0152D6B8EE}"/>
          </ac:spMkLst>
        </pc:spChg>
        <pc:spChg chg="add del mod modVis">
          <ac:chgData name="Aurelien Domont" userId="6da7715ce44349b3" providerId="LiveId" clId="{AABA1416-4740-4FEA-A91C-A3DACBE38F86}" dt="2023-11-03T02:45:35.409" v="3937"/>
          <ac:spMkLst>
            <pc:docMk/>
            <pc:sldMk cId="1926619926" sldId="3282"/>
            <ac:spMk id="5" creationId="{2C09F8E7-EEDD-40DE-B0F3-8F66828AAD29}"/>
          </ac:spMkLst>
        </pc:spChg>
        <pc:spChg chg="mod">
          <ac:chgData name="Aurelien Domont" userId="6da7715ce44349b3" providerId="LiveId" clId="{AABA1416-4740-4FEA-A91C-A3DACBE38F86}" dt="2023-11-03T04:51:05.296" v="6810" actId="790"/>
          <ac:spMkLst>
            <pc:docMk/>
            <pc:sldMk cId="1926619926" sldId="3282"/>
            <ac:spMk id="7" creationId="{34408D4B-2DBA-45D0-9E35-C8280CE479B1}"/>
          </ac:spMkLst>
        </pc:spChg>
        <pc:spChg chg="mod">
          <ac:chgData name="Aurelien Domont" userId="6da7715ce44349b3" providerId="LiveId" clId="{AABA1416-4740-4FEA-A91C-A3DACBE38F86}" dt="2023-11-03T04:51:05.299" v="6812" actId="790"/>
          <ac:spMkLst>
            <pc:docMk/>
            <pc:sldMk cId="1926619926" sldId="3282"/>
            <ac:spMk id="8" creationId="{F65F7B22-3F2E-42E7-BE12-BCF3C4BCBF84}"/>
          </ac:spMkLst>
        </pc:spChg>
        <pc:spChg chg="add del mod modVis">
          <ac:chgData name="Aurelien Domont" userId="6da7715ce44349b3" providerId="LiveId" clId="{AABA1416-4740-4FEA-A91C-A3DACBE38F86}" dt="2023-11-03T04:51:06.828" v="8814"/>
          <ac:spMkLst>
            <pc:docMk/>
            <pc:sldMk cId="1926619926" sldId="3282"/>
            <ac:spMk id="9" creationId="{A12885D8-7DAD-1C75-480B-169BCE280B2E}"/>
          </ac:spMkLst>
        </pc:spChg>
        <pc:graphicFrameChg chg="add mod ord modVis replST">
          <ac:chgData name="Aurelien Domont" userId="6da7715ce44349b3" providerId="LiveId" clId="{AABA1416-4740-4FEA-A91C-A3DACBE38F86}" dt="2023-11-03T04:51:06.830" v="8816"/>
          <ac:graphicFrameMkLst>
            <pc:docMk/>
            <pc:sldMk cId="1926619926" sldId="3282"/>
            <ac:graphicFrameMk id="6" creationId="{7CB5ED6B-8FA4-B70C-ED66-9357630FC2B7}"/>
          </ac:graphicFrameMkLst>
        </pc:graphicFrameChg>
        <pc:picChg chg="mod">
          <ac:chgData name="Aurelien Domont" userId="6da7715ce44349b3" providerId="LiveId" clId="{AABA1416-4740-4FEA-A91C-A3DACBE38F86}" dt="2023-11-03T02:51:15.511" v="4088" actId="14861"/>
          <ac:picMkLst>
            <pc:docMk/>
            <pc:sldMk cId="1926619926" sldId="3282"/>
            <ac:picMk id="11" creationId="{5D58A1A0-06A2-4FAC-A5EA-99253435D8B8}"/>
          </ac:picMkLst>
        </pc:picChg>
      </pc:sldChg>
      <pc:sldChg chg="addSp delSp modSp new add del mod">
        <pc:chgData name="Aurelien Domont" userId="6da7715ce44349b3" providerId="LiveId" clId="{AABA1416-4740-4FEA-A91C-A3DACBE38F86}" dt="2023-11-03T02:41:22.912" v="3842" actId="47"/>
        <pc:sldMkLst>
          <pc:docMk/>
          <pc:sldMk cId="725514410" sldId="3283"/>
        </pc:sldMkLst>
        <pc:spChg chg="mod">
          <ac:chgData name="Aurelien Domont" userId="6da7715ce44349b3" providerId="LiveId" clId="{AABA1416-4740-4FEA-A91C-A3DACBE38F86}" dt="2023-11-03T02:41:10.721" v="3802" actId="948"/>
          <ac:spMkLst>
            <pc:docMk/>
            <pc:sldMk cId="725514410" sldId="3283"/>
            <ac:spMk id="2" creationId="{15426446-6815-2563-ED93-4FF6FCA12F9B}"/>
          </ac:spMkLst>
        </pc:spChg>
        <pc:spChg chg="add del mod modVis">
          <ac:chgData name="Aurelien Domont" userId="6da7715ce44349b3" providerId="LiveId" clId="{AABA1416-4740-4FEA-A91C-A3DACBE38F86}" dt="2023-11-03T02:41:10.752" v="3826"/>
          <ac:spMkLst>
            <pc:docMk/>
            <pc:sldMk cId="725514410" sldId="3283"/>
            <ac:spMk id="5" creationId="{7DE34468-F7CB-E203-EAC9-FED58063726F}"/>
          </ac:spMkLst>
        </pc:spChg>
        <pc:graphicFrameChg chg="add mod ord modVis replST">
          <ac:chgData name="Aurelien Domont" userId="6da7715ce44349b3" providerId="LiveId" clId="{AABA1416-4740-4FEA-A91C-A3DACBE38F86}" dt="2023-11-03T02:41:10.799" v="3841"/>
          <ac:graphicFrameMkLst>
            <pc:docMk/>
            <pc:sldMk cId="725514410" sldId="3283"/>
            <ac:graphicFrameMk id="6" creationId="{B60D946B-D3DD-2BA0-E651-719E56A3FF2D}"/>
          </ac:graphicFrameMkLst>
        </pc:graphicFrameChg>
      </pc:sldChg>
      <pc:sldChg chg="addSp delSp modSp add del mod">
        <pc:chgData name="Aurelien Domont" userId="6da7715ce44349b3" providerId="LiveId" clId="{AABA1416-4740-4FEA-A91C-A3DACBE38F86}" dt="2023-11-03T03:49:48.074" v="5769" actId="47"/>
        <pc:sldMkLst>
          <pc:docMk/>
          <pc:sldMk cId="3223510413" sldId="3283"/>
        </pc:sldMkLst>
        <pc:spChg chg="mod ord">
          <ac:chgData name="Aurelien Domont" userId="6da7715ce44349b3" providerId="LiveId" clId="{AABA1416-4740-4FEA-A91C-A3DACBE38F86}" dt="2023-11-03T03:40:44.385" v="5504"/>
          <ac:spMkLst>
            <pc:docMk/>
            <pc:sldMk cId="3223510413" sldId="3283"/>
            <ac:spMk id="2" creationId="{12009DA8-0966-101B-E219-F283F194BD59}"/>
          </ac:spMkLst>
        </pc:spChg>
        <pc:spChg chg="mod ord">
          <ac:chgData name="Aurelien Domont" userId="6da7715ce44349b3" providerId="LiveId" clId="{AABA1416-4740-4FEA-A91C-A3DACBE38F86}" dt="2023-11-03T03:40:44.401" v="5506"/>
          <ac:spMkLst>
            <pc:docMk/>
            <pc:sldMk cId="3223510413" sldId="3283"/>
            <ac:spMk id="3" creationId="{801CCD27-AA00-4672-51C4-19B3AACCF89D}"/>
          </ac:spMkLst>
        </pc:spChg>
        <pc:spChg chg="mod ord">
          <ac:chgData name="Aurelien Domont" userId="6da7715ce44349b3" providerId="LiveId" clId="{AABA1416-4740-4FEA-A91C-A3DACBE38F86}" dt="2023-11-03T03:40:44.401" v="5508"/>
          <ac:spMkLst>
            <pc:docMk/>
            <pc:sldMk cId="3223510413" sldId="3283"/>
            <ac:spMk id="4" creationId="{D4A562FF-8BCE-7531-A3BB-13AAC2197D6B}"/>
          </ac:spMkLst>
        </pc:spChg>
        <pc:spChg chg="add del mod modVis">
          <ac:chgData name="Aurelien Domont" userId="6da7715ce44349b3" providerId="LiveId" clId="{AABA1416-4740-4FEA-A91C-A3DACBE38F86}" dt="2023-11-03T03:00:13.398" v="4210"/>
          <ac:spMkLst>
            <pc:docMk/>
            <pc:sldMk cId="3223510413" sldId="3283"/>
            <ac:spMk id="5" creationId="{F7512ED2-C6D7-73DA-B3F5-40157309252F}"/>
          </ac:spMkLst>
        </pc:spChg>
        <pc:spChg chg="add del mod modVis">
          <ac:chgData name="Aurelien Domont" userId="6da7715ce44349b3" providerId="LiveId" clId="{AABA1416-4740-4FEA-A91C-A3DACBE38F86}" dt="2023-11-03T03:00:22.540" v="4263"/>
          <ac:spMkLst>
            <pc:docMk/>
            <pc:sldMk cId="3223510413" sldId="3283"/>
            <ac:spMk id="7" creationId="{B9E92C98-AFC6-1AC5-C536-AA86940896C6}"/>
          </ac:spMkLst>
        </pc:spChg>
        <pc:spChg chg="add del mod modVis">
          <ac:chgData name="Aurelien Domont" userId="6da7715ce44349b3" providerId="LiveId" clId="{AABA1416-4740-4FEA-A91C-A3DACBE38F86}" dt="2023-11-03T03:00:23.689" v="4293"/>
          <ac:spMkLst>
            <pc:docMk/>
            <pc:sldMk cId="3223510413" sldId="3283"/>
            <ac:spMk id="8" creationId="{295FC9B1-BE7C-38FD-5769-993C46819BA0}"/>
          </ac:spMkLst>
        </pc:spChg>
        <pc:spChg chg="add del mod modVis">
          <ac:chgData name="Aurelien Domont" userId="6da7715ce44349b3" providerId="LiveId" clId="{AABA1416-4740-4FEA-A91C-A3DACBE38F86}" dt="2023-11-03T03:00:24.975" v="4322"/>
          <ac:spMkLst>
            <pc:docMk/>
            <pc:sldMk cId="3223510413" sldId="3283"/>
            <ac:spMk id="9" creationId="{736F2A4A-1460-CFA4-D702-0BD1D5D11152}"/>
          </ac:spMkLst>
        </pc:spChg>
        <pc:spChg chg="del">
          <ac:chgData name="Aurelien Domont" userId="6da7715ce44349b3" providerId="LiveId" clId="{AABA1416-4740-4FEA-A91C-A3DACBE38F86}" dt="2023-11-03T03:00:32.219" v="4354" actId="478"/>
          <ac:spMkLst>
            <pc:docMk/>
            <pc:sldMk cId="3223510413" sldId="3283"/>
            <ac:spMk id="10" creationId="{4E97A51A-9AC1-990E-4C5C-8B6A782A7310}"/>
          </ac:spMkLst>
        </pc:spChg>
        <pc:spChg chg="del">
          <ac:chgData name="Aurelien Domont" userId="6da7715ce44349b3" providerId="LiveId" clId="{AABA1416-4740-4FEA-A91C-A3DACBE38F86}" dt="2023-11-03T03:00:32.219" v="4354" actId="478"/>
          <ac:spMkLst>
            <pc:docMk/>
            <pc:sldMk cId="3223510413" sldId="3283"/>
            <ac:spMk id="11" creationId="{66011BE7-3361-45B5-A09D-28FF2241FB2C}"/>
          </ac:spMkLst>
        </pc:spChg>
        <pc:spChg chg="mod ord">
          <ac:chgData name="Aurelien Domont" userId="6da7715ce44349b3" providerId="LiveId" clId="{AABA1416-4740-4FEA-A91C-A3DACBE38F86}" dt="2023-11-03T03:40:44.401" v="5510"/>
          <ac:spMkLst>
            <pc:docMk/>
            <pc:sldMk cId="3223510413" sldId="3283"/>
            <ac:spMk id="12" creationId="{E5C880B1-3661-390E-F882-CB4F6F931514}"/>
          </ac:spMkLst>
        </pc:spChg>
        <pc:spChg chg="del">
          <ac:chgData name="Aurelien Domont" userId="6da7715ce44349b3" providerId="LiveId" clId="{AABA1416-4740-4FEA-A91C-A3DACBE38F86}" dt="2023-11-03T03:00:32.219" v="4354" actId="478"/>
          <ac:spMkLst>
            <pc:docMk/>
            <pc:sldMk cId="3223510413" sldId="3283"/>
            <ac:spMk id="13" creationId="{498C36E7-47A0-0E62-649F-79BFC24991C9}"/>
          </ac:spMkLst>
        </pc:spChg>
        <pc:spChg chg="mod ord">
          <ac:chgData name="Aurelien Domont" userId="6da7715ce44349b3" providerId="LiveId" clId="{AABA1416-4740-4FEA-A91C-A3DACBE38F86}" dt="2023-11-03T03:40:44.401" v="5512"/>
          <ac:spMkLst>
            <pc:docMk/>
            <pc:sldMk cId="3223510413" sldId="3283"/>
            <ac:spMk id="14" creationId="{2D61A940-E2A4-8F8B-BEEB-527EA37FB376}"/>
          </ac:spMkLst>
        </pc:spChg>
        <pc:spChg chg="mod ord">
          <ac:chgData name="Aurelien Domont" userId="6da7715ce44349b3" providerId="LiveId" clId="{AABA1416-4740-4FEA-A91C-A3DACBE38F86}" dt="2023-11-03T03:40:44.401" v="5514"/>
          <ac:spMkLst>
            <pc:docMk/>
            <pc:sldMk cId="3223510413" sldId="3283"/>
            <ac:spMk id="15" creationId="{274392A5-1E09-AADB-1902-0598AA87A564}"/>
          </ac:spMkLst>
        </pc:spChg>
        <pc:spChg chg="mod ord">
          <ac:chgData name="Aurelien Domont" userId="6da7715ce44349b3" providerId="LiveId" clId="{AABA1416-4740-4FEA-A91C-A3DACBE38F86}" dt="2023-11-03T03:40:44.401" v="5516"/>
          <ac:spMkLst>
            <pc:docMk/>
            <pc:sldMk cId="3223510413" sldId="3283"/>
            <ac:spMk id="16" creationId="{D7BABEBB-009A-B3CC-DD7C-AC6B17E66EBD}"/>
          </ac:spMkLst>
        </pc:spChg>
        <pc:spChg chg="mod ord">
          <ac:chgData name="Aurelien Domont" userId="6da7715ce44349b3" providerId="LiveId" clId="{AABA1416-4740-4FEA-A91C-A3DACBE38F86}" dt="2023-11-03T03:40:44.401" v="5518"/>
          <ac:spMkLst>
            <pc:docMk/>
            <pc:sldMk cId="3223510413" sldId="3283"/>
            <ac:spMk id="17" creationId="{5A4EBC52-4520-716E-F7FC-5C1748C76EC9}"/>
          </ac:spMkLst>
        </pc:spChg>
        <pc:spChg chg="mod ord">
          <ac:chgData name="Aurelien Domont" userId="6da7715ce44349b3" providerId="LiveId" clId="{AABA1416-4740-4FEA-A91C-A3DACBE38F86}" dt="2023-11-03T03:40:44.401" v="5520"/>
          <ac:spMkLst>
            <pc:docMk/>
            <pc:sldMk cId="3223510413" sldId="3283"/>
            <ac:spMk id="18" creationId="{49B65B9F-63BA-FB4C-B12B-B72843B3717D}"/>
          </ac:spMkLst>
        </pc:spChg>
        <pc:spChg chg="mod ord">
          <ac:chgData name="Aurelien Domont" userId="6da7715ce44349b3" providerId="LiveId" clId="{AABA1416-4740-4FEA-A91C-A3DACBE38F86}" dt="2023-11-03T03:40:44.401" v="5522"/>
          <ac:spMkLst>
            <pc:docMk/>
            <pc:sldMk cId="3223510413" sldId="3283"/>
            <ac:spMk id="19" creationId="{D37A2CA0-E224-A57E-B83D-3F8EBC0B08EB}"/>
          </ac:spMkLst>
        </pc:spChg>
        <pc:spChg chg="mod ord">
          <ac:chgData name="Aurelien Domont" userId="6da7715ce44349b3" providerId="LiveId" clId="{AABA1416-4740-4FEA-A91C-A3DACBE38F86}" dt="2023-11-03T03:40:44.401" v="5524"/>
          <ac:spMkLst>
            <pc:docMk/>
            <pc:sldMk cId="3223510413" sldId="3283"/>
            <ac:spMk id="20" creationId="{0CA3FB12-AFA3-4D30-44A1-2208EFD37686}"/>
          </ac:spMkLst>
        </pc:spChg>
        <pc:spChg chg="del">
          <ac:chgData name="Aurelien Domont" userId="6da7715ce44349b3" providerId="LiveId" clId="{AABA1416-4740-4FEA-A91C-A3DACBE38F86}" dt="2023-11-03T03:00:34.955" v="4355" actId="478"/>
          <ac:spMkLst>
            <pc:docMk/>
            <pc:sldMk cId="3223510413" sldId="3283"/>
            <ac:spMk id="23" creationId="{B065C4C3-8EBE-FDB4-1686-08AA881AC867}"/>
          </ac:spMkLst>
        </pc:spChg>
        <pc:spChg chg="add del mod modVis">
          <ac:chgData name="Aurelien Domont" userId="6da7715ce44349b3" providerId="LiveId" clId="{AABA1416-4740-4FEA-A91C-A3DACBE38F86}" dt="2023-11-03T03:00:25.994" v="4351"/>
          <ac:spMkLst>
            <pc:docMk/>
            <pc:sldMk cId="3223510413" sldId="3283"/>
            <ac:spMk id="29" creationId="{3CA1F01C-B5F9-5779-F263-74613F0EAE34}"/>
          </ac:spMkLst>
        </pc:spChg>
        <pc:graphicFrameChg chg="mod">
          <ac:chgData name="Aurelien Domont" userId="6da7715ce44349b3" providerId="LiveId" clId="{AABA1416-4740-4FEA-A91C-A3DACBE38F86}" dt="2023-11-03T03:40:44.416" v="5548"/>
          <ac:graphicFrameMkLst>
            <pc:docMk/>
            <pc:sldMk cId="3223510413" sldId="3283"/>
            <ac:graphicFrameMk id="6" creationId="{F5887244-1866-E102-5FD5-79FA1304146D}"/>
          </ac:graphicFrameMkLst>
        </pc:graphicFrameChg>
        <pc:picChg chg="mod ord">
          <ac:chgData name="Aurelien Domont" userId="6da7715ce44349b3" providerId="LiveId" clId="{AABA1416-4740-4FEA-A91C-A3DACBE38F86}" dt="2023-11-03T03:40:44.401" v="5526"/>
          <ac:picMkLst>
            <pc:docMk/>
            <pc:sldMk cId="3223510413" sldId="3283"/>
            <ac:picMk id="21" creationId="{55C0EEEA-D196-5D4A-0E6C-48562BA818D4}"/>
          </ac:picMkLst>
        </pc:picChg>
        <pc:picChg chg="mod ord">
          <ac:chgData name="Aurelien Domont" userId="6da7715ce44349b3" providerId="LiveId" clId="{AABA1416-4740-4FEA-A91C-A3DACBE38F86}" dt="2023-11-03T03:40:44.401" v="5528"/>
          <ac:picMkLst>
            <pc:docMk/>
            <pc:sldMk cId="3223510413" sldId="3283"/>
            <ac:picMk id="22" creationId="{A505F267-E3B5-4559-8DBB-D387D74271CB}"/>
          </ac:picMkLst>
        </pc:picChg>
        <pc:picChg chg="mod ord">
          <ac:chgData name="Aurelien Domont" userId="6da7715ce44349b3" providerId="LiveId" clId="{AABA1416-4740-4FEA-A91C-A3DACBE38F86}" dt="2023-11-03T03:40:44.401" v="5530"/>
          <ac:picMkLst>
            <pc:docMk/>
            <pc:sldMk cId="3223510413" sldId="3283"/>
            <ac:picMk id="24" creationId="{C3E08E48-91DC-4C1F-99DB-2B28D33A03AF}"/>
          </ac:picMkLst>
        </pc:picChg>
        <pc:picChg chg="mod ord">
          <ac:chgData name="Aurelien Domont" userId="6da7715ce44349b3" providerId="LiveId" clId="{AABA1416-4740-4FEA-A91C-A3DACBE38F86}" dt="2023-11-03T03:40:44.401" v="5532"/>
          <ac:picMkLst>
            <pc:docMk/>
            <pc:sldMk cId="3223510413" sldId="3283"/>
            <ac:picMk id="28" creationId="{570D065C-7397-1F30-84E3-E02A480D7274}"/>
          </ac:picMkLst>
        </pc:picChg>
        <pc:picChg chg="add mod ord">
          <ac:chgData name="Aurelien Domont" userId="6da7715ce44349b3" providerId="LiveId" clId="{AABA1416-4740-4FEA-A91C-A3DACBE38F86}" dt="2023-11-03T03:40:44.401" v="5534"/>
          <ac:picMkLst>
            <pc:docMk/>
            <pc:sldMk cId="3223510413" sldId="3283"/>
            <ac:picMk id="30" creationId="{1380FE16-E783-FF7F-1BFD-A18CFFDA43F5}"/>
          </ac:picMkLst>
        </pc:picChg>
        <pc:picChg chg="add mod ord">
          <ac:chgData name="Aurelien Domont" userId="6da7715ce44349b3" providerId="LiveId" clId="{AABA1416-4740-4FEA-A91C-A3DACBE38F86}" dt="2023-11-03T03:41:44.437" v="5585" actId="1038"/>
          <ac:picMkLst>
            <pc:docMk/>
            <pc:sldMk cId="3223510413" sldId="3283"/>
            <ac:picMk id="31" creationId="{85A03961-2B54-DACA-DCC0-DAB5D216DA9D}"/>
          </ac:picMkLst>
        </pc:picChg>
        <pc:picChg chg="add mod ord">
          <ac:chgData name="Aurelien Domont" userId="6da7715ce44349b3" providerId="LiveId" clId="{AABA1416-4740-4FEA-A91C-A3DACBE38F86}" dt="2023-11-03T03:41:44.437" v="5585" actId="1038"/>
          <ac:picMkLst>
            <pc:docMk/>
            <pc:sldMk cId="3223510413" sldId="3283"/>
            <ac:picMk id="32" creationId="{7B1E8543-5CE6-3725-0313-44549E2D8A32}"/>
          </ac:picMkLst>
        </pc:picChg>
        <pc:picChg chg="add mod ord">
          <ac:chgData name="Aurelien Domont" userId="6da7715ce44349b3" providerId="LiveId" clId="{AABA1416-4740-4FEA-A91C-A3DACBE38F86}" dt="2023-11-03T03:41:09.810" v="5552" actId="1076"/>
          <ac:picMkLst>
            <pc:docMk/>
            <pc:sldMk cId="3223510413" sldId="3283"/>
            <ac:picMk id="33" creationId="{EA85807F-1B1A-CB02-15CE-057E698DFA74}"/>
          </ac:picMkLst>
        </pc:picChg>
        <pc:picChg chg="add mod ord">
          <ac:chgData name="Aurelien Domont" userId="6da7715ce44349b3" providerId="LiveId" clId="{AABA1416-4740-4FEA-A91C-A3DACBE38F86}" dt="2023-11-03T03:41:34.138" v="5557" actId="408"/>
          <ac:picMkLst>
            <pc:docMk/>
            <pc:sldMk cId="3223510413" sldId="3283"/>
            <ac:picMk id="34" creationId="{4466D28A-B6DC-793A-7B45-35C0C267F505}"/>
          </ac:picMkLst>
        </pc:picChg>
        <pc:picChg chg="add mod ord">
          <ac:chgData name="Aurelien Domont" userId="6da7715ce44349b3" providerId="LiveId" clId="{AABA1416-4740-4FEA-A91C-A3DACBE38F86}" dt="2023-11-03T03:41:44.437" v="5585" actId="1038"/>
          <ac:picMkLst>
            <pc:docMk/>
            <pc:sldMk cId="3223510413" sldId="3283"/>
            <ac:picMk id="35" creationId="{91ED07F2-B531-9CF3-0BC0-2122DFC826E2}"/>
          </ac:picMkLst>
        </pc:picChg>
        <pc:cxnChg chg="del">
          <ac:chgData name="Aurelien Domont" userId="6da7715ce44349b3" providerId="LiveId" clId="{AABA1416-4740-4FEA-A91C-A3DACBE38F86}" dt="2023-11-03T03:00:32.219" v="4354" actId="478"/>
          <ac:cxnSpMkLst>
            <pc:docMk/>
            <pc:sldMk cId="3223510413" sldId="3283"/>
            <ac:cxnSpMk id="25" creationId="{502884BB-E7EF-9123-353B-F4640A540644}"/>
          </ac:cxnSpMkLst>
        </pc:cxnChg>
        <pc:cxnChg chg="del">
          <ac:chgData name="Aurelien Domont" userId="6da7715ce44349b3" providerId="LiveId" clId="{AABA1416-4740-4FEA-A91C-A3DACBE38F86}" dt="2023-11-03T03:00:32.219" v="4354" actId="478"/>
          <ac:cxnSpMkLst>
            <pc:docMk/>
            <pc:sldMk cId="3223510413" sldId="3283"/>
            <ac:cxnSpMk id="26" creationId="{A3A765AC-F843-8348-5781-A190B3BA3D7E}"/>
          </ac:cxnSpMkLst>
        </pc:cxnChg>
        <pc:cxnChg chg="del">
          <ac:chgData name="Aurelien Domont" userId="6da7715ce44349b3" providerId="LiveId" clId="{AABA1416-4740-4FEA-A91C-A3DACBE38F86}" dt="2023-11-03T03:00:32.219" v="4354" actId="478"/>
          <ac:cxnSpMkLst>
            <pc:docMk/>
            <pc:sldMk cId="3223510413" sldId="3283"/>
            <ac:cxnSpMk id="27" creationId="{3EF60794-3A8E-BE39-F0D8-071906313B90}"/>
          </ac:cxnSpMkLst>
        </pc:cxnChg>
      </pc:sldChg>
      <pc:sldChg chg="addSp modSp add del mod">
        <pc:chgData name="Aurelien Domont" userId="6da7715ce44349b3" providerId="LiveId" clId="{AABA1416-4740-4FEA-A91C-A3DACBE38F86}" dt="2023-11-03T03:32:12.636" v="5272" actId="47"/>
        <pc:sldMkLst>
          <pc:docMk/>
          <pc:sldMk cId="392935456" sldId="3284"/>
        </pc:sldMkLst>
        <pc:spChg chg="add mod">
          <ac:chgData name="Aurelien Domont" userId="6da7715ce44349b3" providerId="LiveId" clId="{AABA1416-4740-4FEA-A91C-A3DACBE38F86}" dt="2023-11-03T03:09:32.796" v="4388" actId="207"/>
          <ac:spMkLst>
            <pc:docMk/>
            <pc:sldMk cId="392935456" sldId="3284"/>
            <ac:spMk id="5" creationId="{DAB92A75-915A-F621-DEFE-EC51C9067F0C}"/>
          </ac:spMkLst>
        </pc:spChg>
        <pc:spChg chg="mod">
          <ac:chgData name="Aurelien Domont" userId="6da7715ce44349b3" providerId="LiveId" clId="{AABA1416-4740-4FEA-A91C-A3DACBE38F86}" dt="2023-11-03T03:09:38.393" v="4390" actId="12"/>
          <ac:spMkLst>
            <pc:docMk/>
            <pc:sldMk cId="392935456" sldId="3284"/>
            <ac:spMk id="10" creationId="{4E97A51A-9AC1-990E-4C5C-8B6A782A7310}"/>
          </ac:spMkLst>
        </pc:spChg>
        <pc:spChg chg="mod">
          <ac:chgData name="Aurelien Domont" userId="6da7715ce44349b3" providerId="LiveId" clId="{AABA1416-4740-4FEA-A91C-A3DACBE38F86}" dt="2023-11-03T03:20:01.640" v="4659" actId="12"/>
          <ac:spMkLst>
            <pc:docMk/>
            <pc:sldMk cId="392935456" sldId="3284"/>
            <ac:spMk id="11" creationId="{66011BE7-3361-45B5-A09D-28FF2241FB2C}"/>
          </ac:spMkLst>
        </pc:spChg>
        <pc:spChg chg="mod">
          <ac:chgData name="Aurelien Domont" userId="6da7715ce44349b3" providerId="LiveId" clId="{AABA1416-4740-4FEA-A91C-A3DACBE38F86}" dt="2023-11-03T03:21:35.761" v="4734" actId="12"/>
          <ac:spMkLst>
            <pc:docMk/>
            <pc:sldMk cId="392935456" sldId="3284"/>
            <ac:spMk id="13" creationId="{498C36E7-47A0-0E62-649F-79BFC24991C9}"/>
          </ac:spMkLst>
        </pc:spChg>
        <pc:spChg chg="mod">
          <ac:chgData name="Aurelien Domont" userId="6da7715ce44349b3" providerId="LiveId" clId="{AABA1416-4740-4FEA-A91C-A3DACBE38F86}" dt="2023-11-03T03:14:50.916" v="4472" actId="12"/>
          <ac:spMkLst>
            <pc:docMk/>
            <pc:sldMk cId="392935456" sldId="3284"/>
            <ac:spMk id="23" creationId="{B065C4C3-8EBE-FDB4-1686-08AA881AC867}"/>
          </ac:spMkLst>
        </pc:spChg>
      </pc:sldChg>
      <pc:sldChg chg="addSp delSp modSp add mod">
        <pc:chgData name="Aurelien Domont" userId="6da7715ce44349b3" providerId="LiveId" clId="{AABA1416-4740-4FEA-A91C-A3DACBE38F86}" dt="2023-11-05T22:46:11.205" v="12500" actId="1035"/>
        <pc:sldMkLst>
          <pc:docMk/>
          <pc:sldMk cId="416818066" sldId="3284"/>
        </pc:sldMkLst>
        <pc:spChg chg="mod ord">
          <ac:chgData name="Aurelien Domont" userId="6da7715ce44349b3" providerId="LiveId" clId="{AABA1416-4740-4FEA-A91C-A3DACBE38F86}" dt="2023-11-05T22:43:54.096" v="12212"/>
          <ac:spMkLst>
            <pc:docMk/>
            <pc:sldMk cId="416818066" sldId="3284"/>
            <ac:spMk id="2" creationId="{12009DA8-0966-101B-E219-F283F194BD59}"/>
          </ac:spMkLst>
        </pc:spChg>
        <pc:spChg chg="add mod ord">
          <ac:chgData name="Aurelien Domont" userId="6da7715ce44349b3" providerId="LiveId" clId="{AABA1416-4740-4FEA-A91C-A3DACBE38F86}" dt="2023-11-05T22:45:04.300" v="12359" actId="14100"/>
          <ac:spMkLst>
            <pc:docMk/>
            <pc:sldMk cId="416818066" sldId="3284"/>
            <ac:spMk id="3" creationId="{DC8B1236-9EBE-1569-2DE7-41D7FA0BF21C}"/>
          </ac:spMkLst>
        </pc:spChg>
        <pc:spChg chg="add del mod modVis">
          <ac:chgData name="Aurelien Domont" userId="6da7715ce44349b3" providerId="LiveId" clId="{AABA1416-4740-4FEA-A91C-A3DACBE38F86}" dt="2023-11-05T22:43:54.114" v="12258"/>
          <ac:spMkLst>
            <pc:docMk/>
            <pc:sldMk cId="416818066" sldId="3284"/>
            <ac:spMk id="4" creationId="{FA6BF700-4F91-B0C8-F827-61B929E34610}"/>
          </ac:spMkLst>
        </pc:spChg>
        <pc:spChg chg="add mod ord">
          <ac:chgData name="Aurelien Domont" userId="6da7715ce44349b3" providerId="LiveId" clId="{AABA1416-4740-4FEA-A91C-A3DACBE38F86}" dt="2023-11-05T22:46:11.205" v="12500" actId="1035"/>
          <ac:spMkLst>
            <pc:docMk/>
            <pc:sldMk cId="416818066" sldId="3284"/>
            <ac:spMk id="5" creationId="{2ED6A1CA-73D8-1A15-8C8A-DE24AE1EEB9F}"/>
          </ac:spMkLst>
        </pc:spChg>
        <pc:spChg chg="add del mod modVis">
          <ac:chgData name="Aurelien Domont" userId="6da7715ce44349b3" providerId="LiveId" clId="{AABA1416-4740-4FEA-A91C-A3DACBE38F86}" dt="2023-11-03T03:49:11.191" v="5665"/>
          <ac:spMkLst>
            <pc:docMk/>
            <pc:sldMk cId="416818066" sldId="3284"/>
            <ac:spMk id="5" creationId="{5E4A1B87-992D-CD41-4EAF-A10A984CAD41}"/>
          </ac:spMkLst>
        </pc:spChg>
        <pc:spChg chg="add del mod modVis">
          <ac:chgData name="Aurelien Domont" userId="6da7715ce44349b3" providerId="LiveId" clId="{AABA1416-4740-4FEA-A91C-A3DACBE38F86}" dt="2023-11-03T03:49:18.286" v="5693"/>
          <ac:spMkLst>
            <pc:docMk/>
            <pc:sldMk cId="416818066" sldId="3284"/>
            <ac:spMk id="7" creationId="{89161EA3-550A-42C4-7CD9-8F3C78E31714}"/>
          </ac:spMkLst>
        </pc:spChg>
        <pc:spChg chg="mod">
          <ac:chgData name="Aurelien Domont" userId="6da7715ce44349b3" providerId="LiveId" clId="{AABA1416-4740-4FEA-A91C-A3DACBE38F86}" dt="2023-11-03T04:51:05.133" v="6714" actId="790"/>
          <ac:spMkLst>
            <pc:docMk/>
            <pc:sldMk cId="416818066" sldId="3284"/>
            <ac:spMk id="7" creationId="{98C038FF-20B8-21C1-7811-9B2382A5B001}"/>
          </ac:spMkLst>
        </pc:spChg>
        <pc:spChg chg="add del mod modVis">
          <ac:chgData name="Aurelien Domont" userId="6da7715ce44349b3" providerId="LiveId" clId="{AABA1416-4740-4FEA-A91C-A3DACBE38F86}" dt="2023-11-03T03:49:20.125" v="5722"/>
          <ac:spMkLst>
            <pc:docMk/>
            <pc:sldMk cId="416818066" sldId="3284"/>
            <ac:spMk id="8" creationId="{C9AA5628-153B-BB71-DEEA-BD2198FD267C}"/>
          </ac:spMkLst>
        </pc:spChg>
        <pc:spChg chg="add del mod modVis">
          <ac:chgData name="Aurelien Domont" userId="6da7715ce44349b3" providerId="LiveId" clId="{AABA1416-4740-4FEA-A91C-A3DACBE38F86}" dt="2023-11-03T04:51:06.853" v="8832"/>
          <ac:spMkLst>
            <pc:docMk/>
            <pc:sldMk cId="416818066" sldId="3284"/>
            <ac:spMk id="8" creationId="{EB7A6356-2D25-14FA-D244-1D13A85B0364}"/>
          </ac:spMkLst>
        </pc:spChg>
        <pc:spChg chg="mod ord">
          <ac:chgData name="Aurelien Domont" userId="6da7715ce44349b3" providerId="LiveId" clId="{AABA1416-4740-4FEA-A91C-A3DACBE38F86}" dt="2023-11-05T22:43:54.096" v="12252"/>
          <ac:spMkLst>
            <pc:docMk/>
            <pc:sldMk cId="416818066" sldId="3284"/>
            <ac:spMk id="9" creationId="{A0CCDE32-77FA-6798-8700-6D8A6A0EE65D}"/>
          </ac:spMkLst>
        </pc:spChg>
        <pc:spChg chg="add del mod modVis">
          <ac:chgData name="Aurelien Domont" userId="6da7715ce44349b3" providerId="LiveId" clId="{AABA1416-4740-4FEA-A91C-A3DACBE38F86}" dt="2023-11-03T03:49:21.224" v="5751"/>
          <ac:spMkLst>
            <pc:docMk/>
            <pc:sldMk cId="416818066" sldId="3284"/>
            <ac:spMk id="9" creationId="{D237EB7A-725F-3B8D-943E-21675DC1E180}"/>
          </ac:spMkLst>
        </pc:spChg>
        <pc:spChg chg="mod ord">
          <ac:chgData name="Aurelien Domont" userId="6da7715ce44349b3" providerId="LiveId" clId="{AABA1416-4740-4FEA-A91C-A3DACBE38F86}" dt="2023-11-05T22:43:54.111" v="12254"/>
          <ac:spMkLst>
            <pc:docMk/>
            <pc:sldMk cId="416818066" sldId="3284"/>
            <ac:spMk id="10" creationId="{4A25DF32-0AB1-1F01-2EE5-8C9DC763ADD9}"/>
          </ac:spMkLst>
        </pc:spChg>
        <pc:spChg chg="mod ord">
          <ac:chgData name="Aurelien Domont" userId="6da7715ce44349b3" providerId="LiveId" clId="{AABA1416-4740-4FEA-A91C-A3DACBE38F86}" dt="2023-11-05T22:43:54.096" v="12214"/>
          <ac:spMkLst>
            <pc:docMk/>
            <pc:sldMk cId="416818066" sldId="3284"/>
            <ac:spMk id="12" creationId="{E5C880B1-3661-390E-F882-CB4F6F931514}"/>
          </ac:spMkLst>
        </pc:spChg>
        <pc:spChg chg="mod ord">
          <ac:chgData name="Aurelien Domont" userId="6da7715ce44349b3" providerId="LiveId" clId="{AABA1416-4740-4FEA-A91C-A3DACBE38F86}" dt="2023-11-05T22:43:54.096" v="12216"/>
          <ac:spMkLst>
            <pc:docMk/>
            <pc:sldMk cId="416818066" sldId="3284"/>
            <ac:spMk id="14" creationId="{2D61A940-E2A4-8F8B-BEEB-527EA37FB376}"/>
          </ac:spMkLst>
        </pc:spChg>
        <pc:spChg chg="mod ord">
          <ac:chgData name="Aurelien Domont" userId="6da7715ce44349b3" providerId="LiveId" clId="{AABA1416-4740-4FEA-A91C-A3DACBE38F86}" dt="2023-11-05T22:43:54.096" v="12218"/>
          <ac:spMkLst>
            <pc:docMk/>
            <pc:sldMk cId="416818066" sldId="3284"/>
            <ac:spMk id="15" creationId="{274392A5-1E09-AADB-1902-0598AA87A564}"/>
          </ac:spMkLst>
        </pc:spChg>
        <pc:spChg chg="mod ord">
          <ac:chgData name="Aurelien Domont" userId="6da7715ce44349b3" providerId="LiveId" clId="{AABA1416-4740-4FEA-A91C-A3DACBE38F86}" dt="2023-11-05T22:43:54.096" v="12220"/>
          <ac:spMkLst>
            <pc:docMk/>
            <pc:sldMk cId="416818066" sldId="3284"/>
            <ac:spMk id="16" creationId="{D7BABEBB-009A-B3CC-DD7C-AC6B17E66EBD}"/>
          </ac:spMkLst>
        </pc:spChg>
        <pc:spChg chg="mod ord">
          <ac:chgData name="Aurelien Domont" userId="6da7715ce44349b3" providerId="LiveId" clId="{AABA1416-4740-4FEA-A91C-A3DACBE38F86}" dt="2023-11-05T22:43:54.096" v="12222"/>
          <ac:spMkLst>
            <pc:docMk/>
            <pc:sldMk cId="416818066" sldId="3284"/>
            <ac:spMk id="17" creationId="{5A4EBC52-4520-716E-F7FC-5C1748C76EC9}"/>
          </ac:spMkLst>
        </pc:spChg>
        <pc:spChg chg="mod ord">
          <ac:chgData name="Aurelien Domont" userId="6da7715ce44349b3" providerId="LiveId" clId="{AABA1416-4740-4FEA-A91C-A3DACBE38F86}" dt="2023-11-05T22:43:54.096" v="12224"/>
          <ac:spMkLst>
            <pc:docMk/>
            <pc:sldMk cId="416818066" sldId="3284"/>
            <ac:spMk id="18" creationId="{49B65B9F-63BA-FB4C-B12B-B72843B3717D}"/>
          </ac:spMkLst>
        </pc:spChg>
        <pc:spChg chg="mod ord">
          <ac:chgData name="Aurelien Domont" userId="6da7715ce44349b3" providerId="LiveId" clId="{AABA1416-4740-4FEA-A91C-A3DACBE38F86}" dt="2023-11-05T22:43:54.096" v="12226"/>
          <ac:spMkLst>
            <pc:docMk/>
            <pc:sldMk cId="416818066" sldId="3284"/>
            <ac:spMk id="19" creationId="{D37A2CA0-E224-A57E-B83D-3F8EBC0B08EB}"/>
          </ac:spMkLst>
        </pc:spChg>
        <pc:spChg chg="mod ord">
          <ac:chgData name="Aurelien Domont" userId="6da7715ce44349b3" providerId="LiveId" clId="{AABA1416-4740-4FEA-A91C-A3DACBE38F86}" dt="2023-11-05T22:43:54.096" v="12228"/>
          <ac:spMkLst>
            <pc:docMk/>
            <pc:sldMk cId="416818066" sldId="3284"/>
            <ac:spMk id="20" creationId="{0CA3FB12-AFA3-4D30-44A1-2208EFD37686}"/>
          </ac:spMkLst>
        </pc:spChg>
        <pc:graphicFrameChg chg="mod">
          <ac:chgData name="Aurelien Domont" userId="6da7715ce44349b3" providerId="LiveId" clId="{AABA1416-4740-4FEA-A91C-A3DACBE38F86}" dt="2023-11-05T22:43:54.114" v="12260"/>
          <ac:graphicFrameMkLst>
            <pc:docMk/>
            <pc:sldMk cId="416818066" sldId="3284"/>
            <ac:graphicFrameMk id="6" creationId="{F5887244-1866-E102-5FD5-79FA1304146D}"/>
          </ac:graphicFrameMkLst>
        </pc:graphicFrameChg>
        <pc:picChg chg="mod ord">
          <ac:chgData name="Aurelien Domont" userId="6da7715ce44349b3" providerId="LiveId" clId="{AABA1416-4740-4FEA-A91C-A3DACBE38F86}" dt="2023-11-05T22:43:54.096" v="12230"/>
          <ac:picMkLst>
            <pc:docMk/>
            <pc:sldMk cId="416818066" sldId="3284"/>
            <ac:picMk id="21" creationId="{55C0EEEA-D196-5D4A-0E6C-48562BA818D4}"/>
          </ac:picMkLst>
        </pc:picChg>
        <pc:picChg chg="mod ord">
          <ac:chgData name="Aurelien Domont" userId="6da7715ce44349b3" providerId="LiveId" clId="{AABA1416-4740-4FEA-A91C-A3DACBE38F86}" dt="2023-11-05T22:43:54.096" v="12232"/>
          <ac:picMkLst>
            <pc:docMk/>
            <pc:sldMk cId="416818066" sldId="3284"/>
            <ac:picMk id="22" creationId="{A505F267-E3B5-4559-8DBB-D387D74271CB}"/>
          </ac:picMkLst>
        </pc:picChg>
        <pc:picChg chg="mod ord">
          <ac:chgData name="Aurelien Domont" userId="6da7715ce44349b3" providerId="LiveId" clId="{AABA1416-4740-4FEA-A91C-A3DACBE38F86}" dt="2023-11-05T22:43:54.096" v="12234"/>
          <ac:picMkLst>
            <pc:docMk/>
            <pc:sldMk cId="416818066" sldId="3284"/>
            <ac:picMk id="24" creationId="{C3E08E48-91DC-4C1F-99DB-2B28D33A03AF}"/>
          </ac:picMkLst>
        </pc:picChg>
        <pc:picChg chg="mod ord">
          <ac:chgData name="Aurelien Domont" userId="6da7715ce44349b3" providerId="LiveId" clId="{AABA1416-4740-4FEA-A91C-A3DACBE38F86}" dt="2023-11-05T22:43:54.096" v="12236"/>
          <ac:picMkLst>
            <pc:docMk/>
            <pc:sldMk cId="416818066" sldId="3284"/>
            <ac:picMk id="28" creationId="{570D065C-7397-1F30-84E3-E02A480D7274}"/>
          </ac:picMkLst>
        </pc:picChg>
        <pc:picChg chg="mod ord">
          <ac:chgData name="Aurelien Domont" userId="6da7715ce44349b3" providerId="LiveId" clId="{AABA1416-4740-4FEA-A91C-A3DACBE38F86}" dt="2023-11-05T22:43:54.096" v="12238"/>
          <ac:picMkLst>
            <pc:docMk/>
            <pc:sldMk cId="416818066" sldId="3284"/>
            <ac:picMk id="30" creationId="{1380FE16-E783-FF7F-1BFD-A18CFFDA43F5}"/>
          </ac:picMkLst>
        </pc:picChg>
        <pc:picChg chg="mod ord">
          <ac:chgData name="Aurelien Domont" userId="6da7715ce44349b3" providerId="LiveId" clId="{AABA1416-4740-4FEA-A91C-A3DACBE38F86}" dt="2023-11-05T22:43:54.096" v="12240"/>
          <ac:picMkLst>
            <pc:docMk/>
            <pc:sldMk cId="416818066" sldId="3284"/>
            <ac:picMk id="31" creationId="{85A03961-2B54-DACA-DCC0-DAB5D216DA9D}"/>
          </ac:picMkLst>
        </pc:picChg>
        <pc:picChg chg="mod ord">
          <ac:chgData name="Aurelien Domont" userId="6da7715ce44349b3" providerId="LiveId" clId="{AABA1416-4740-4FEA-A91C-A3DACBE38F86}" dt="2023-11-05T22:43:54.096" v="12242"/>
          <ac:picMkLst>
            <pc:docMk/>
            <pc:sldMk cId="416818066" sldId="3284"/>
            <ac:picMk id="32" creationId="{7B1E8543-5CE6-3725-0313-44549E2D8A32}"/>
          </ac:picMkLst>
        </pc:picChg>
        <pc:picChg chg="mod ord">
          <ac:chgData name="Aurelien Domont" userId="6da7715ce44349b3" providerId="LiveId" clId="{AABA1416-4740-4FEA-A91C-A3DACBE38F86}" dt="2023-11-05T22:43:54.096" v="12248"/>
          <ac:picMkLst>
            <pc:docMk/>
            <pc:sldMk cId="416818066" sldId="3284"/>
            <ac:picMk id="33" creationId="{EA85807F-1B1A-CB02-15CE-057E698DFA74}"/>
          </ac:picMkLst>
        </pc:picChg>
        <pc:picChg chg="mod ord">
          <ac:chgData name="Aurelien Domont" userId="6da7715ce44349b3" providerId="LiveId" clId="{AABA1416-4740-4FEA-A91C-A3DACBE38F86}" dt="2023-11-05T22:43:54.096" v="12244"/>
          <ac:picMkLst>
            <pc:docMk/>
            <pc:sldMk cId="416818066" sldId="3284"/>
            <ac:picMk id="34" creationId="{4466D28A-B6DC-793A-7B45-35C0C267F505}"/>
          </ac:picMkLst>
        </pc:picChg>
        <pc:picChg chg="mod ord">
          <ac:chgData name="Aurelien Domont" userId="6da7715ce44349b3" providerId="LiveId" clId="{AABA1416-4740-4FEA-A91C-A3DACBE38F86}" dt="2023-11-05T22:43:54.096" v="12246"/>
          <ac:picMkLst>
            <pc:docMk/>
            <pc:sldMk cId="416818066" sldId="3284"/>
            <ac:picMk id="35" creationId="{91ED07F2-B531-9CF3-0BC0-2122DFC826E2}"/>
          </ac:picMkLst>
        </pc:picChg>
      </pc:sldChg>
      <pc:sldChg chg="addSp delSp modSp add mod">
        <pc:chgData name="Aurelien Domont" userId="6da7715ce44349b3" providerId="LiveId" clId="{AABA1416-4740-4FEA-A91C-A3DACBE38F86}" dt="2023-11-05T22:46:13.948" v="12501" actId="1035"/>
        <pc:sldMkLst>
          <pc:docMk/>
          <pc:sldMk cId="498457531" sldId="3285"/>
        </pc:sldMkLst>
        <pc:spChg chg="mod ord">
          <ac:chgData name="Aurelien Domont" userId="6da7715ce44349b3" providerId="LiveId" clId="{AABA1416-4740-4FEA-A91C-A3DACBE38F86}" dt="2023-11-05T22:45:15.784" v="12378"/>
          <ac:spMkLst>
            <pc:docMk/>
            <pc:sldMk cId="498457531" sldId="3285"/>
            <ac:spMk id="2" creationId="{12009DA8-0966-101B-E219-F283F194BD59}"/>
          </ac:spMkLst>
        </pc:spChg>
        <pc:spChg chg="mod ord">
          <ac:chgData name="Aurelien Domont" userId="6da7715ce44349b3" providerId="LiveId" clId="{AABA1416-4740-4FEA-A91C-A3DACBE38F86}" dt="2023-11-03T04:07:09.119" v="5940"/>
          <ac:spMkLst>
            <pc:docMk/>
            <pc:sldMk cId="498457531" sldId="3285"/>
            <ac:spMk id="3" creationId="{801CCD27-AA00-4672-51C4-19B3AACCF89D}"/>
          </ac:spMkLst>
        </pc:spChg>
        <pc:spChg chg="add del mod ord">
          <ac:chgData name="Aurelien Domont" userId="6da7715ce44349b3" providerId="LiveId" clId="{AABA1416-4740-4FEA-A91C-A3DACBE38F86}" dt="2023-11-05T22:45:11.602" v="12360" actId="478"/>
          <ac:spMkLst>
            <pc:docMk/>
            <pc:sldMk cId="498457531" sldId="3285"/>
            <ac:spMk id="3" creationId="{DB6F3CDF-0464-4A6D-C4D6-91263C6D425A}"/>
          </ac:spMkLst>
        </pc:spChg>
        <pc:spChg chg="add del mod modVis">
          <ac:chgData name="Aurelien Domont" userId="6da7715ce44349b3" providerId="LiveId" clId="{AABA1416-4740-4FEA-A91C-A3DACBE38F86}" dt="2023-11-05T22:44:19.258" v="12333"/>
          <ac:spMkLst>
            <pc:docMk/>
            <pc:sldMk cId="498457531" sldId="3285"/>
            <ac:spMk id="4" creationId="{1CA9CBF6-4B6D-2CF5-0001-AC62BBCDF32D}"/>
          </ac:spMkLst>
        </pc:spChg>
        <pc:spChg chg="mod ord">
          <ac:chgData name="Aurelien Domont" userId="6da7715ce44349b3" providerId="LiveId" clId="{AABA1416-4740-4FEA-A91C-A3DACBE38F86}" dt="2023-11-03T04:07:09.119" v="5942"/>
          <ac:spMkLst>
            <pc:docMk/>
            <pc:sldMk cId="498457531" sldId="3285"/>
            <ac:spMk id="4" creationId="{D4A562FF-8BCE-7531-A3BB-13AAC2197D6B}"/>
          </ac:spMkLst>
        </pc:spChg>
        <pc:spChg chg="add del mod modVis">
          <ac:chgData name="Aurelien Domont" userId="6da7715ce44349b3" providerId="LiveId" clId="{AABA1416-4740-4FEA-A91C-A3DACBE38F86}" dt="2023-11-03T03:50:04.503" v="5797"/>
          <ac:spMkLst>
            <pc:docMk/>
            <pc:sldMk cId="498457531" sldId="3285"/>
            <ac:spMk id="5" creationId="{8A5D7FED-4F9B-DB0E-1594-D6E0F103046B}"/>
          </ac:spMkLst>
        </pc:spChg>
        <pc:spChg chg="mod ord">
          <ac:chgData name="Aurelien Domont" userId="6da7715ce44349b3" providerId="LiveId" clId="{AABA1416-4740-4FEA-A91C-A3DACBE38F86}" dt="2023-11-05T22:45:15.784" v="12380"/>
          <ac:spMkLst>
            <pc:docMk/>
            <pc:sldMk cId="498457531" sldId="3285"/>
            <ac:spMk id="12" creationId="{E5C880B1-3661-390E-F882-CB4F6F931514}"/>
          </ac:spMkLst>
        </pc:spChg>
        <pc:spChg chg="mod ord">
          <ac:chgData name="Aurelien Domont" userId="6da7715ce44349b3" providerId="LiveId" clId="{AABA1416-4740-4FEA-A91C-A3DACBE38F86}" dt="2023-11-05T22:45:15.784" v="12382"/>
          <ac:spMkLst>
            <pc:docMk/>
            <pc:sldMk cId="498457531" sldId="3285"/>
            <ac:spMk id="14" creationId="{2D61A940-E2A4-8F8B-BEEB-527EA37FB376}"/>
          </ac:spMkLst>
        </pc:spChg>
        <pc:spChg chg="mod ord">
          <ac:chgData name="Aurelien Domont" userId="6da7715ce44349b3" providerId="LiveId" clId="{AABA1416-4740-4FEA-A91C-A3DACBE38F86}" dt="2023-11-05T22:45:15.784" v="12384"/>
          <ac:spMkLst>
            <pc:docMk/>
            <pc:sldMk cId="498457531" sldId="3285"/>
            <ac:spMk id="15" creationId="{274392A5-1E09-AADB-1902-0598AA87A564}"/>
          </ac:spMkLst>
        </pc:spChg>
        <pc:spChg chg="mod ord">
          <ac:chgData name="Aurelien Domont" userId="6da7715ce44349b3" providerId="LiveId" clId="{AABA1416-4740-4FEA-A91C-A3DACBE38F86}" dt="2023-11-05T22:45:15.784" v="12386"/>
          <ac:spMkLst>
            <pc:docMk/>
            <pc:sldMk cId="498457531" sldId="3285"/>
            <ac:spMk id="16" creationId="{D7BABEBB-009A-B3CC-DD7C-AC6B17E66EBD}"/>
          </ac:spMkLst>
        </pc:spChg>
        <pc:spChg chg="mod ord">
          <ac:chgData name="Aurelien Domont" userId="6da7715ce44349b3" providerId="LiveId" clId="{AABA1416-4740-4FEA-A91C-A3DACBE38F86}" dt="2023-11-05T22:45:15.784" v="12388"/>
          <ac:spMkLst>
            <pc:docMk/>
            <pc:sldMk cId="498457531" sldId="3285"/>
            <ac:spMk id="17" creationId="{5A4EBC52-4520-716E-F7FC-5C1748C76EC9}"/>
          </ac:spMkLst>
        </pc:spChg>
        <pc:spChg chg="mod ord">
          <ac:chgData name="Aurelien Domont" userId="6da7715ce44349b3" providerId="LiveId" clId="{AABA1416-4740-4FEA-A91C-A3DACBE38F86}" dt="2023-11-05T22:45:15.784" v="12390"/>
          <ac:spMkLst>
            <pc:docMk/>
            <pc:sldMk cId="498457531" sldId="3285"/>
            <ac:spMk id="18" creationId="{49B65B9F-63BA-FB4C-B12B-B72843B3717D}"/>
          </ac:spMkLst>
        </pc:spChg>
        <pc:spChg chg="mod ord">
          <ac:chgData name="Aurelien Domont" userId="6da7715ce44349b3" providerId="LiveId" clId="{AABA1416-4740-4FEA-A91C-A3DACBE38F86}" dt="2023-11-05T22:45:15.784" v="12392"/>
          <ac:spMkLst>
            <pc:docMk/>
            <pc:sldMk cId="498457531" sldId="3285"/>
            <ac:spMk id="19" creationId="{D37A2CA0-E224-A57E-B83D-3F8EBC0B08EB}"/>
          </ac:spMkLst>
        </pc:spChg>
        <pc:spChg chg="mod ord">
          <ac:chgData name="Aurelien Domont" userId="6da7715ce44349b3" providerId="LiveId" clId="{AABA1416-4740-4FEA-A91C-A3DACBE38F86}" dt="2023-11-05T22:45:15.784" v="12394"/>
          <ac:spMkLst>
            <pc:docMk/>
            <pc:sldMk cId="498457531" sldId="3285"/>
            <ac:spMk id="20" creationId="{0CA3FB12-AFA3-4D30-44A1-2208EFD37686}"/>
          </ac:spMkLst>
        </pc:spChg>
        <pc:spChg chg="add mod ord">
          <ac:chgData name="Aurelien Domont" userId="6da7715ce44349b3" providerId="LiveId" clId="{AABA1416-4740-4FEA-A91C-A3DACBE38F86}" dt="2023-11-05T22:45:15.769" v="12364"/>
          <ac:spMkLst>
            <pc:docMk/>
            <pc:sldMk cId="498457531" sldId="3285"/>
            <ac:spMk id="25" creationId="{87369BFB-AFE9-18AC-EA17-476A9E18D1F9}"/>
          </ac:spMkLst>
        </pc:spChg>
        <pc:spChg chg="add del mod modVis">
          <ac:chgData name="Aurelien Domont" userId="6da7715ce44349b3" providerId="LiveId" clId="{AABA1416-4740-4FEA-A91C-A3DACBE38F86}" dt="2023-11-03T04:06:42.994" v="5917"/>
          <ac:spMkLst>
            <pc:docMk/>
            <pc:sldMk cId="498457531" sldId="3285"/>
            <ac:spMk id="25" creationId="{9FBC8CAB-6A38-45CE-0F2D-16210CA78233}"/>
          </ac:spMkLst>
        </pc:spChg>
        <pc:spChg chg="add mod ord">
          <ac:chgData name="Aurelien Domont" userId="6da7715ce44349b3" providerId="LiveId" clId="{AABA1416-4740-4FEA-A91C-A3DACBE38F86}" dt="2023-11-05T22:46:13.948" v="12501" actId="1035"/>
          <ac:spMkLst>
            <pc:docMk/>
            <pc:sldMk cId="498457531" sldId="3285"/>
            <ac:spMk id="26" creationId="{47FD1971-7315-666D-9A9F-04398195421A}"/>
          </ac:spMkLst>
        </pc:spChg>
        <pc:spChg chg="mod">
          <ac:chgData name="Aurelien Domont" userId="6da7715ce44349b3" providerId="LiveId" clId="{AABA1416-4740-4FEA-A91C-A3DACBE38F86}" dt="2023-11-03T04:51:05.146" v="6725" actId="790"/>
          <ac:spMkLst>
            <pc:docMk/>
            <pc:sldMk cId="498457531" sldId="3285"/>
            <ac:spMk id="41" creationId="{BCB52AFD-D4F0-9030-C5BC-15149D734674}"/>
          </ac:spMkLst>
        </pc:spChg>
        <pc:spChg chg="add del mod modVis">
          <ac:chgData name="Aurelien Domont" userId="6da7715ce44349b3" providerId="LiveId" clId="{AABA1416-4740-4FEA-A91C-A3DACBE38F86}" dt="2023-11-03T04:51:06.842" v="8828"/>
          <ac:spMkLst>
            <pc:docMk/>
            <pc:sldMk cId="498457531" sldId="3285"/>
            <ac:spMk id="42" creationId="{6E8E3263-856E-5304-AC2A-BCA687C9E0CF}"/>
          </ac:spMkLst>
        </pc:spChg>
        <pc:spChg chg="mod ord">
          <ac:chgData name="Aurelien Domont" userId="6da7715ce44349b3" providerId="LiveId" clId="{AABA1416-4740-4FEA-A91C-A3DACBE38F86}" dt="2023-11-05T22:45:15.784" v="12406"/>
          <ac:spMkLst>
            <pc:docMk/>
            <pc:sldMk cId="498457531" sldId="3285"/>
            <ac:spMk id="43" creationId="{60B07F0A-B837-7EA2-934F-68038F85B0B1}"/>
          </ac:spMkLst>
        </pc:spChg>
        <pc:spChg chg="mod ord">
          <ac:chgData name="Aurelien Domont" userId="6da7715ce44349b3" providerId="LiveId" clId="{AABA1416-4740-4FEA-A91C-A3DACBE38F86}" dt="2023-11-05T22:45:15.784" v="12408"/>
          <ac:spMkLst>
            <pc:docMk/>
            <pc:sldMk cId="498457531" sldId="3285"/>
            <ac:spMk id="44" creationId="{CC2D8FE2-A2D4-C200-25E3-AB553B78C612}"/>
          </ac:spMkLst>
        </pc:spChg>
        <pc:graphicFrameChg chg="mod">
          <ac:chgData name="Aurelien Domont" userId="6da7715ce44349b3" providerId="LiveId" clId="{AABA1416-4740-4FEA-A91C-A3DACBE38F86}" dt="2023-11-05T22:45:15.800" v="12412"/>
          <ac:graphicFrameMkLst>
            <pc:docMk/>
            <pc:sldMk cId="498457531" sldId="3285"/>
            <ac:graphicFrameMk id="6" creationId="{F5887244-1866-E102-5FD5-79FA1304146D}"/>
          </ac:graphicFrameMkLst>
        </pc:graphicFrameChg>
        <pc:picChg chg="add mod ord">
          <ac:chgData name="Aurelien Domont" userId="6da7715ce44349b3" providerId="LiveId" clId="{AABA1416-4740-4FEA-A91C-A3DACBE38F86}" dt="2023-11-05T22:45:15.769" v="12368"/>
          <ac:picMkLst>
            <pc:docMk/>
            <pc:sldMk cId="498457531" sldId="3285"/>
            <ac:picMk id="5" creationId="{70EEE926-FDC7-E4D6-C763-CCE783A60EF1}"/>
          </ac:picMkLst>
        </pc:picChg>
        <pc:picChg chg="add mod ord">
          <ac:chgData name="Aurelien Domont" userId="6da7715ce44349b3" providerId="LiveId" clId="{AABA1416-4740-4FEA-A91C-A3DACBE38F86}" dt="2023-11-05T22:45:15.769" v="12370"/>
          <ac:picMkLst>
            <pc:docMk/>
            <pc:sldMk cId="498457531" sldId="3285"/>
            <ac:picMk id="7" creationId="{57E10385-CD40-02DE-7DC4-CDB977D764FF}"/>
          </ac:picMkLst>
        </pc:picChg>
        <pc:picChg chg="add del mod">
          <ac:chgData name="Aurelien Domont" userId="6da7715ce44349b3" providerId="LiveId" clId="{AABA1416-4740-4FEA-A91C-A3DACBE38F86}" dt="2023-11-03T03:51:18.133" v="5807" actId="478"/>
          <ac:picMkLst>
            <pc:docMk/>
            <pc:sldMk cId="498457531" sldId="3285"/>
            <ac:picMk id="7" creationId="{93974A7A-649B-28D0-E4C5-7749440FEDE8}"/>
          </ac:picMkLst>
        </pc:picChg>
        <pc:picChg chg="add del mod ord">
          <ac:chgData name="Aurelien Domont" userId="6da7715ce44349b3" providerId="LiveId" clId="{AABA1416-4740-4FEA-A91C-A3DACBE38F86}" dt="2023-11-05T22:45:15.769" v="12366"/>
          <ac:picMkLst>
            <pc:docMk/>
            <pc:sldMk cId="498457531" sldId="3285"/>
            <ac:picMk id="8" creationId="{0D340DC6-CF2A-1144-247E-C6261565E956}"/>
          </ac:picMkLst>
        </pc:picChg>
        <pc:picChg chg="add mod ord">
          <ac:chgData name="Aurelien Domont" userId="6da7715ce44349b3" providerId="LiveId" clId="{AABA1416-4740-4FEA-A91C-A3DACBE38F86}" dt="2023-11-05T22:45:15.784" v="12374"/>
          <ac:picMkLst>
            <pc:docMk/>
            <pc:sldMk cId="498457531" sldId="3285"/>
            <ac:picMk id="9" creationId="{052E2A45-14AD-1532-2EA5-2DD743581CDE}"/>
          </ac:picMkLst>
        </pc:picChg>
        <pc:picChg chg="add mod ord">
          <ac:chgData name="Aurelien Domont" userId="6da7715ce44349b3" providerId="LiveId" clId="{AABA1416-4740-4FEA-A91C-A3DACBE38F86}" dt="2023-11-05T22:45:15.784" v="12376"/>
          <ac:picMkLst>
            <pc:docMk/>
            <pc:sldMk cId="498457531" sldId="3285"/>
            <ac:picMk id="10" creationId="{D46B6A99-D494-0F6C-A86D-563C45EB6171}"/>
          </ac:picMkLst>
        </pc:picChg>
        <pc:picChg chg="add mod ord">
          <ac:chgData name="Aurelien Domont" userId="6da7715ce44349b3" providerId="LiveId" clId="{AABA1416-4740-4FEA-A91C-A3DACBE38F86}" dt="2023-11-05T22:45:15.769" v="12372"/>
          <ac:picMkLst>
            <pc:docMk/>
            <pc:sldMk cId="498457531" sldId="3285"/>
            <ac:picMk id="11" creationId="{9AD5EEAA-2350-316F-EA7E-CA177E8F94AC}"/>
          </ac:picMkLst>
        </pc:picChg>
        <pc:picChg chg="add del mod ord">
          <ac:chgData name="Aurelien Domont" userId="6da7715ce44349b3" providerId="LiveId" clId="{AABA1416-4740-4FEA-A91C-A3DACBE38F86}" dt="2023-11-03T04:07:14.083" v="5983" actId="478"/>
          <ac:picMkLst>
            <pc:docMk/>
            <pc:sldMk cId="498457531" sldId="3285"/>
            <ac:picMk id="13" creationId="{6F9DBFF4-0CB0-017C-6D59-EDABE2729756}"/>
          </ac:picMkLst>
        </pc:picChg>
        <pc:picChg chg="mod ord">
          <ac:chgData name="Aurelien Domont" userId="6da7715ce44349b3" providerId="LiveId" clId="{AABA1416-4740-4FEA-A91C-A3DACBE38F86}" dt="2023-11-05T22:45:15.784" v="12396"/>
          <ac:picMkLst>
            <pc:docMk/>
            <pc:sldMk cId="498457531" sldId="3285"/>
            <ac:picMk id="21" creationId="{55C0EEEA-D196-5D4A-0E6C-48562BA818D4}"/>
          </ac:picMkLst>
        </pc:picChg>
        <pc:picChg chg="mod ord">
          <ac:chgData name="Aurelien Domont" userId="6da7715ce44349b3" providerId="LiveId" clId="{AABA1416-4740-4FEA-A91C-A3DACBE38F86}" dt="2023-11-05T22:45:15.784" v="12398"/>
          <ac:picMkLst>
            <pc:docMk/>
            <pc:sldMk cId="498457531" sldId="3285"/>
            <ac:picMk id="22" creationId="{A505F267-E3B5-4559-8DBB-D387D74271CB}"/>
          </ac:picMkLst>
        </pc:picChg>
        <pc:picChg chg="add del mod ord">
          <ac:chgData name="Aurelien Domont" userId="6da7715ce44349b3" providerId="LiveId" clId="{AABA1416-4740-4FEA-A91C-A3DACBE38F86}" dt="2023-11-03T04:07:14.083" v="5983" actId="478"/>
          <ac:picMkLst>
            <pc:docMk/>
            <pc:sldMk cId="498457531" sldId="3285"/>
            <ac:picMk id="23" creationId="{57201480-E97C-CDB4-D734-34C45732A94D}"/>
          </ac:picMkLst>
        </pc:picChg>
        <pc:picChg chg="mod ord">
          <ac:chgData name="Aurelien Domont" userId="6da7715ce44349b3" providerId="LiveId" clId="{AABA1416-4740-4FEA-A91C-A3DACBE38F86}" dt="2023-11-05T22:45:15.784" v="12400"/>
          <ac:picMkLst>
            <pc:docMk/>
            <pc:sldMk cId="498457531" sldId="3285"/>
            <ac:picMk id="24" creationId="{C3E08E48-91DC-4C1F-99DB-2B28D33A03AF}"/>
          </ac:picMkLst>
        </pc:picChg>
        <pc:picChg chg="mod ord">
          <ac:chgData name="Aurelien Domont" userId="6da7715ce44349b3" providerId="LiveId" clId="{AABA1416-4740-4FEA-A91C-A3DACBE38F86}" dt="2023-11-05T22:45:15.784" v="12402"/>
          <ac:picMkLst>
            <pc:docMk/>
            <pc:sldMk cId="498457531" sldId="3285"/>
            <ac:picMk id="28" creationId="{570D065C-7397-1F30-84E3-E02A480D7274}"/>
          </ac:picMkLst>
        </pc:picChg>
        <pc:picChg chg="del mod ord">
          <ac:chgData name="Aurelien Domont" userId="6da7715ce44349b3" providerId="LiveId" clId="{AABA1416-4740-4FEA-A91C-A3DACBE38F86}" dt="2023-11-03T04:07:14.083" v="5983" actId="478"/>
          <ac:picMkLst>
            <pc:docMk/>
            <pc:sldMk cId="498457531" sldId="3285"/>
            <ac:picMk id="30" creationId="{1380FE16-E783-FF7F-1BFD-A18CFFDA43F5}"/>
          </ac:picMkLst>
        </pc:picChg>
        <pc:picChg chg="del mod">
          <ac:chgData name="Aurelien Domont" userId="6da7715ce44349b3" providerId="LiveId" clId="{AABA1416-4740-4FEA-A91C-A3DACBE38F86}" dt="2023-11-03T04:06:36.436" v="5835" actId="478"/>
          <ac:picMkLst>
            <pc:docMk/>
            <pc:sldMk cId="498457531" sldId="3285"/>
            <ac:picMk id="31" creationId="{85A03961-2B54-DACA-DCC0-DAB5D216DA9D}"/>
          </ac:picMkLst>
        </pc:picChg>
        <pc:picChg chg="del mod">
          <ac:chgData name="Aurelien Domont" userId="6da7715ce44349b3" providerId="LiveId" clId="{AABA1416-4740-4FEA-A91C-A3DACBE38F86}" dt="2023-11-03T04:06:36.436" v="5835" actId="478"/>
          <ac:picMkLst>
            <pc:docMk/>
            <pc:sldMk cId="498457531" sldId="3285"/>
            <ac:picMk id="32" creationId="{7B1E8543-5CE6-3725-0313-44549E2D8A32}"/>
          </ac:picMkLst>
        </pc:picChg>
        <pc:picChg chg="del mod ord">
          <ac:chgData name="Aurelien Domont" userId="6da7715ce44349b3" providerId="LiveId" clId="{AABA1416-4740-4FEA-A91C-A3DACBE38F86}" dt="2023-11-03T04:07:14.083" v="5983" actId="478"/>
          <ac:picMkLst>
            <pc:docMk/>
            <pc:sldMk cId="498457531" sldId="3285"/>
            <ac:picMk id="33" creationId="{EA85807F-1B1A-CB02-15CE-057E698DFA74}"/>
          </ac:picMkLst>
        </pc:picChg>
        <pc:picChg chg="del mod ord">
          <ac:chgData name="Aurelien Domont" userId="6da7715ce44349b3" providerId="LiveId" clId="{AABA1416-4740-4FEA-A91C-A3DACBE38F86}" dt="2023-11-03T04:07:14.083" v="5983" actId="478"/>
          <ac:picMkLst>
            <pc:docMk/>
            <pc:sldMk cId="498457531" sldId="3285"/>
            <ac:picMk id="34" creationId="{4466D28A-B6DC-793A-7B45-35C0C267F505}"/>
          </ac:picMkLst>
        </pc:picChg>
        <pc:picChg chg="del mod ord">
          <ac:chgData name="Aurelien Domont" userId="6da7715ce44349b3" providerId="LiveId" clId="{AABA1416-4740-4FEA-A91C-A3DACBE38F86}" dt="2023-11-03T04:07:14.083" v="5983" actId="478"/>
          <ac:picMkLst>
            <pc:docMk/>
            <pc:sldMk cId="498457531" sldId="3285"/>
            <ac:picMk id="35" creationId="{91ED07F2-B531-9CF3-0BC0-2122DFC826E2}"/>
          </ac:picMkLst>
        </pc:picChg>
        <pc:cxnChg chg="add del mod">
          <ac:chgData name="Aurelien Domont" userId="6da7715ce44349b3" providerId="LiveId" clId="{AABA1416-4740-4FEA-A91C-A3DACBE38F86}" dt="2023-11-05T22:44:54.303" v="12357" actId="478"/>
          <ac:cxnSpMkLst>
            <pc:docMk/>
            <pc:sldMk cId="498457531" sldId="3285"/>
            <ac:cxnSpMk id="23" creationId="{A0A44AB7-3897-A6F5-DBE9-1A18F8E662E2}"/>
          </ac:cxnSpMkLst>
        </pc:cxnChg>
        <pc:cxnChg chg="add del mod">
          <ac:chgData name="Aurelien Domont" userId="6da7715ce44349b3" providerId="LiveId" clId="{AABA1416-4740-4FEA-A91C-A3DACBE38F86}" dt="2023-11-03T04:14:28.372" v="6155" actId="478"/>
          <ac:cxnSpMkLst>
            <pc:docMk/>
            <pc:sldMk cId="498457531" sldId="3285"/>
            <ac:cxnSpMk id="29" creationId="{057F8B8E-7110-56A5-C521-36FF9D44D9F4}"/>
          </ac:cxnSpMkLst>
        </pc:cxnChg>
        <pc:cxnChg chg="add del mod">
          <ac:chgData name="Aurelien Domont" userId="6da7715ce44349b3" providerId="LiveId" clId="{AABA1416-4740-4FEA-A91C-A3DACBE38F86}" dt="2023-11-03T04:14:27.313" v="6154" actId="478"/>
          <ac:cxnSpMkLst>
            <pc:docMk/>
            <pc:sldMk cId="498457531" sldId="3285"/>
            <ac:cxnSpMk id="37" creationId="{A7D8E3A9-5C82-76ED-7707-935BB567C355}"/>
          </ac:cxnSpMkLst>
        </pc:cxnChg>
      </pc:sldChg>
      <pc:sldChg chg="addSp delSp modSp add del mod">
        <pc:chgData name="Aurelien Domont" userId="6da7715ce44349b3" providerId="LiveId" clId="{AABA1416-4740-4FEA-A91C-A3DACBE38F86}" dt="2023-11-03T03:49:44.008" v="5768" actId="47"/>
        <pc:sldMkLst>
          <pc:docMk/>
          <pc:sldMk cId="2715741635" sldId="3285"/>
        </pc:sldMkLst>
        <pc:spChg chg="mod">
          <ac:chgData name="Aurelien Domont" userId="6da7715ce44349b3" providerId="LiveId" clId="{AABA1416-4740-4FEA-A91C-A3DACBE38F86}" dt="2023-11-03T03:43:23.615" v="5598" actId="948"/>
          <ac:spMkLst>
            <pc:docMk/>
            <pc:sldMk cId="2715741635" sldId="3285"/>
            <ac:spMk id="2" creationId="{12009DA8-0966-101B-E219-F283F194BD59}"/>
          </ac:spMkLst>
        </pc:spChg>
        <pc:spChg chg="add del mod modVis">
          <ac:chgData name="Aurelien Domont" userId="6da7715ce44349b3" providerId="LiveId" clId="{AABA1416-4740-4FEA-A91C-A3DACBE38F86}" dt="2023-11-03T03:43:23.646" v="5622"/>
          <ac:spMkLst>
            <pc:docMk/>
            <pc:sldMk cId="2715741635" sldId="3285"/>
            <ac:spMk id="5" creationId="{8990D492-ED02-372F-9BA9-B831CA0BCC00}"/>
          </ac:spMkLst>
        </pc:spChg>
        <pc:graphicFrameChg chg="mod">
          <ac:chgData name="Aurelien Domont" userId="6da7715ce44349b3" providerId="LiveId" clId="{AABA1416-4740-4FEA-A91C-A3DACBE38F86}" dt="2023-11-03T03:43:23.651" v="5624"/>
          <ac:graphicFrameMkLst>
            <pc:docMk/>
            <pc:sldMk cId="2715741635" sldId="3285"/>
            <ac:graphicFrameMk id="6" creationId="{F5887244-1866-E102-5FD5-79FA1304146D}"/>
          </ac:graphicFrameMkLst>
        </pc:graphicFrameChg>
      </pc:sldChg>
      <pc:sldChg chg="addSp delSp modSp add mod">
        <pc:chgData name="Aurelien Domont" userId="6da7715ce44349b3" providerId="LiveId" clId="{AABA1416-4740-4FEA-A91C-A3DACBE38F86}" dt="2023-11-05T22:46:19.862" v="12504" actId="478"/>
        <pc:sldMkLst>
          <pc:docMk/>
          <pc:sldMk cId="2716070288" sldId="3286"/>
        </pc:sldMkLst>
        <pc:spChg chg="mod ord">
          <ac:chgData name="Aurelien Domont" userId="6da7715ce44349b3" providerId="LiveId" clId="{AABA1416-4740-4FEA-A91C-A3DACBE38F86}" dt="2023-11-05T22:45:25.021" v="12450"/>
          <ac:spMkLst>
            <pc:docMk/>
            <pc:sldMk cId="2716070288" sldId="3286"/>
            <ac:spMk id="2" creationId="{12009DA8-0966-101B-E219-F283F194BD59}"/>
          </ac:spMkLst>
        </pc:spChg>
        <pc:spChg chg="mod ord">
          <ac:chgData name="Aurelien Domont" userId="6da7715ce44349b3" providerId="LiveId" clId="{AABA1416-4740-4FEA-A91C-A3DACBE38F86}" dt="2023-11-03T04:18:08.239" v="6272"/>
          <ac:spMkLst>
            <pc:docMk/>
            <pc:sldMk cId="2716070288" sldId="3286"/>
            <ac:spMk id="3" creationId="{801CCD27-AA00-4672-51C4-19B3AACCF89D}"/>
          </ac:spMkLst>
        </pc:spChg>
        <pc:spChg chg="add mod ord">
          <ac:chgData name="Aurelien Domont" userId="6da7715ce44349b3" providerId="LiveId" clId="{AABA1416-4740-4FEA-A91C-A3DACBE38F86}" dt="2023-11-05T22:45:25.021" v="12436"/>
          <ac:spMkLst>
            <pc:docMk/>
            <pc:sldMk cId="2716070288" sldId="3286"/>
            <ac:spMk id="3" creationId="{DD2F820E-5794-BFF5-64C0-1CEA1BE8D74B}"/>
          </ac:spMkLst>
        </pc:spChg>
        <pc:spChg chg="add del mod modVis">
          <ac:chgData name="Aurelien Domont" userId="6da7715ce44349b3" providerId="LiveId" clId="{AABA1416-4740-4FEA-A91C-A3DACBE38F86}" dt="2023-11-05T22:45:25.037" v="12482"/>
          <ac:spMkLst>
            <pc:docMk/>
            <pc:sldMk cId="2716070288" sldId="3286"/>
            <ac:spMk id="4" creationId="{1DF37EA6-D4C3-1880-4F93-035A4F891D50}"/>
          </ac:spMkLst>
        </pc:spChg>
        <pc:spChg chg="mod ord">
          <ac:chgData name="Aurelien Domont" userId="6da7715ce44349b3" providerId="LiveId" clId="{AABA1416-4740-4FEA-A91C-A3DACBE38F86}" dt="2023-11-03T04:18:08.239" v="6274"/>
          <ac:spMkLst>
            <pc:docMk/>
            <pc:sldMk cId="2716070288" sldId="3286"/>
            <ac:spMk id="4" creationId="{D4A562FF-8BCE-7531-A3BB-13AAC2197D6B}"/>
          </ac:spMkLst>
        </pc:spChg>
        <pc:spChg chg="add del mod">
          <ac:chgData name="Aurelien Domont" userId="6da7715ce44349b3" providerId="LiveId" clId="{AABA1416-4740-4FEA-A91C-A3DACBE38F86}" dt="2023-11-05T22:46:19.862" v="12504" actId="478"/>
          <ac:spMkLst>
            <pc:docMk/>
            <pc:sldMk cId="2716070288" sldId="3286"/>
            <ac:spMk id="5" creationId="{9C188086-3034-43BB-1F3D-FD2FFC3F0957}"/>
          </ac:spMkLst>
        </pc:spChg>
        <pc:spChg chg="add mod">
          <ac:chgData name="Aurelien Domont" userId="6da7715ce44349b3" providerId="LiveId" clId="{AABA1416-4740-4FEA-A91C-A3DACBE38F86}" dt="2023-11-05T22:46:18.472" v="12503" actId="571"/>
          <ac:spMkLst>
            <pc:docMk/>
            <pc:sldMk cId="2716070288" sldId="3286"/>
            <ac:spMk id="7" creationId="{AFB6FBBD-AA34-3EEA-DC41-70BFACDCD93B}"/>
          </ac:spMkLst>
        </pc:spChg>
        <pc:spChg chg="mod ord">
          <ac:chgData name="Aurelien Domont" userId="6da7715ce44349b3" providerId="LiveId" clId="{AABA1416-4740-4FEA-A91C-A3DACBE38F86}" dt="2023-11-05T22:45:25.021" v="12452"/>
          <ac:spMkLst>
            <pc:docMk/>
            <pc:sldMk cId="2716070288" sldId="3286"/>
            <ac:spMk id="12" creationId="{E5C880B1-3661-390E-F882-CB4F6F931514}"/>
          </ac:spMkLst>
        </pc:spChg>
        <pc:spChg chg="add del mod modVis">
          <ac:chgData name="Aurelien Domont" userId="6da7715ce44349b3" providerId="LiveId" clId="{AABA1416-4740-4FEA-A91C-A3DACBE38F86}" dt="2023-11-03T04:08:24.094" v="6023"/>
          <ac:spMkLst>
            <pc:docMk/>
            <pc:sldMk cId="2716070288" sldId="3286"/>
            <ac:spMk id="13" creationId="{001D2EBF-B234-A1A9-C36C-D6DD48740151}"/>
          </ac:spMkLst>
        </pc:spChg>
        <pc:spChg chg="mod ord">
          <ac:chgData name="Aurelien Domont" userId="6da7715ce44349b3" providerId="LiveId" clId="{AABA1416-4740-4FEA-A91C-A3DACBE38F86}" dt="2023-11-05T22:45:25.021" v="12454"/>
          <ac:spMkLst>
            <pc:docMk/>
            <pc:sldMk cId="2716070288" sldId="3286"/>
            <ac:spMk id="14" creationId="{2D61A940-E2A4-8F8B-BEEB-527EA37FB376}"/>
          </ac:spMkLst>
        </pc:spChg>
        <pc:spChg chg="mod ord">
          <ac:chgData name="Aurelien Domont" userId="6da7715ce44349b3" providerId="LiveId" clId="{AABA1416-4740-4FEA-A91C-A3DACBE38F86}" dt="2023-11-05T22:45:25.021" v="12456"/>
          <ac:spMkLst>
            <pc:docMk/>
            <pc:sldMk cId="2716070288" sldId="3286"/>
            <ac:spMk id="15" creationId="{274392A5-1E09-AADB-1902-0598AA87A564}"/>
          </ac:spMkLst>
        </pc:spChg>
        <pc:spChg chg="mod ord">
          <ac:chgData name="Aurelien Domont" userId="6da7715ce44349b3" providerId="LiveId" clId="{AABA1416-4740-4FEA-A91C-A3DACBE38F86}" dt="2023-11-05T22:45:25.021" v="12458"/>
          <ac:spMkLst>
            <pc:docMk/>
            <pc:sldMk cId="2716070288" sldId="3286"/>
            <ac:spMk id="16" creationId="{D7BABEBB-009A-B3CC-DD7C-AC6B17E66EBD}"/>
          </ac:spMkLst>
        </pc:spChg>
        <pc:spChg chg="mod ord">
          <ac:chgData name="Aurelien Domont" userId="6da7715ce44349b3" providerId="LiveId" clId="{AABA1416-4740-4FEA-A91C-A3DACBE38F86}" dt="2023-11-05T22:45:25.021" v="12460"/>
          <ac:spMkLst>
            <pc:docMk/>
            <pc:sldMk cId="2716070288" sldId="3286"/>
            <ac:spMk id="17" creationId="{5A4EBC52-4520-716E-F7FC-5C1748C76EC9}"/>
          </ac:spMkLst>
        </pc:spChg>
        <pc:spChg chg="mod ord">
          <ac:chgData name="Aurelien Domont" userId="6da7715ce44349b3" providerId="LiveId" clId="{AABA1416-4740-4FEA-A91C-A3DACBE38F86}" dt="2023-11-05T22:45:25.021" v="12462"/>
          <ac:spMkLst>
            <pc:docMk/>
            <pc:sldMk cId="2716070288" sldId="3286"/>
            <ac:spMk id="18" creationId="{49B65B9F-63BA-FB4C-B12B-B72843B3717D}"/>
          </ac:spMkLst>
        </pc:spChg>
        <pc:spChg chg="mod ord">
          <ac:chgData name="Aurelien Domont" userId="6da7715ce44349b3" providerId="LiveId" clId="{AABA1416-4740-4FEA-A91C-A3DACBE38F86}" dt="2023-11-05T22:45:25.021" v="12464"/>
          <ac:spMkLst>
            <pc:docMk/>
            <pc:sldMk cId="2716070288" sldId="3286"/>
            <ac:spMk id="19" creationId="{D37A2CA0-E224-A57E-B83D-3F8EBC0B08EB}"/>
          </ac:spMkLst>
        </pc:spChg>
        <pc:spChg chg="mod ord">
          <ac:chgData name="Aurelien Domont" userId="6da7715ce44349b3" providerId="LiveId" clId="{AABA1416-4740-4FEA-A91C-A3DACBE38F86}" dt="2023-11-05T22:45:25.021" v="12466"/>
          <ac:spMkLst>
            <pc:docMk/>
            <pc:sldMk cId="2716070288" sldId="3286"/>
            <ac:spMk id="20" creationId="{0CA3FB12-AFA3-4D30-44A1-2208EFD37686}"/>
          </ac:spMkLst>
        </pc:spChg>
        <pc:spChg chg="mod">
          <ac:chgData name="Aurelien Domont" userId="6da7715ce44349b3" providerId="LiveId" clId="{AABA1416-4740-4FEA-A91C-A3DACBE38F86}" dt="2023-11-03T04:51:05.158" v="6735" actId="790"/>
          <ac:spMkLst>
            <pc:docMk/>
            <pc:sldMk cId="2716070288" sldId="3286"/>
            <ac:spMk id="36" creationId="{D740852C-D169-B628-329F-BE4F0B1CC778}"/>
          </ac:spMkLst>
        </pc:spChg>
        <pc:spChg chg="add del mod modVis">
          <ac:chgData name="Aurelien Domont" userId="6da7715ce44349b3" providerId="LiveId" clId="{AABA1416-4740-4FEA-A91C-A3DACBE38F86}" dt="2023-11-03T04:51:06.871" v="8842"/>
          <ac:spMkLst>
            <pc:docMk/>
            <pc:sldMk cId="2716070288" sldId="3286"/>
            <ac:spMk id="37" creationId="{A88E4A77-D68C-0C57-3BC6-B1AE271E88EC}"/>
          </ac:spMkLst>
        </pc:spChg>
        <pc:spChg chg="mod ord">
          <ac:chgData name="Aurelien Domont" userId="6da7715ce44349b3" providerId="LiveId" clId="{AABA1416-4740-4FEA-A91C-A3DACBE38F86}" dt="2023-11-05T22:45:25.037" v="12476"/>
          <ac:spMkLst>
            <pc:docMk/>
            <pc:sldMk cId="2716070288" sldId="3286"/>
            <ac:spMk id="38" creationId="{A9D0B9BB-9C47-76B1-F731-130DA96B2C1E}"/>
          </ac:spMkLst>
        </pc:spChg>
        <pc:spChg chg="mod ord">
          <ac:chgData name="Aurelien Domont" userId="6da7715ce44349b3" providerId="LiveId" clId="{AABA1416-4740-4FEA-A91C-A3DACBE38F86}" dt="2023-11-05T22:45:25.037" v="12478"/>
          <ac:spMkLst>
            <pc:docMk/>
            <pc:sldMk cId="2716070288" sldId="3286"/>
            <ac:spMk id="39" creationId="{E3ACB5D1-A709-1B72-8575-21A3B8C5528F}"/>
          </ac:spMkLst>
        </pc:spChg>
        <pc:graphicFrameChg chg="mod">
          <ac:chgData name="Aurelien Domont" userId="6da7715ce44349b3" providerId="LiveId" clId="{AABA1416-4740-4FEA-A91C-A3DACBE38F86}" dt="2023-11-05T22:45:25.037" v="12484"/>
          <ac:graphicFrameMkLst>
            <pc:docMk/>
            <pc:sldMk cId="2716070288" sldId="3286"/>
            <ac:graphicFrameMk id="6" creationId="{F5887244-1866-E102-5FD5-79FA1304146D}"/>
          </ac:graphicFrameMkLst>
        </pc:graphicFrameChg>
        <pc:picChg chg="del mod ord">
          <ac:chgData name="Aurelien Domont" userId="6da7715ce44349b3" providerId="LiveId" clId="{AABA1416-4740-4FEA-A91C-A3DACBE38F86}" dt="2023-11-03T04:18:13.033" v="6303" actId="478"/>
          <ac:picMkLst>
            <pc:docMk/>
            <pc:sldMk cId="2716070288" sldId="3286"/>
            <ac:picMk id="5" creationId="{70EEE926-FDC7-E4D6-C763-CCE783A60EF1}"/>
          </ac:picMkLst>
        </pc:picChg>
        <pc:picChg chg="del mod ord">
          <ac:chgData name="Aurelien Domont" userId="6da7715ce44349b3" providerId="LiveId" clId="{AABA1416-4740-4FEA-A91C-A3DACBE38F86}" dt="2023-11-03T04:18:13.033" v="6303" actId="478"/>
          <ac:picMkLst>
            <pc:docMk/>
            <pc:sldMk cId="2716070288" sldId="3286"/>
            <ac:picMk id="7" creationId="{57E10385-CD40-02DE-7DC4-CDB977D764FF}"/>
          </ac:picMkLst>
        </pc:picChg>
        <pc:picChg chg="del mod ord">
          <ac:chgData name="Aurelien Domont" userId="6da7715ce44349b3" providerId="LiveId" clId="{AABA1416-4740-4FEA-A91C-A3DACBE38F86}" dt="2023-11-03T04:18:13.033" v="6303" actId="478"/>
          <ac:picMkLst>
            <pc:docMk/>
            <pc:sldMk cId="2716070288" sldId="3286"/>
            <ac:picMk id="8" creationId="{0D340DC6-CF2A-1144-247E-C6261565E956}"/>
          </ac:picMkLst>
        </pc:picChg>
        <pc:picChg chg="del mod ord">
          <ac:chgData name="Aurelien Domont" userId="6da7715ce44349b3" providerId="LiveId" clId="{AABA1416-4740-4FEA-A91C-A3DACBE38F86}" dt="2023-11-03T04:18:13.033" v="6303" actId="478"/>
          <ac:picMkLst>
            <pc:docMk/>
            <pc:sldMk cId="2716070288" sldId="3286"/>
            <ac:picMk id="9" creationId="{052E2A45-14AD-1532-2EA5-2DD743581CDE}"/>
          </ac:picMkLst>
        </pc:picChg>
        <pc:picChg chg="del mod ord">
          <ac:chgData name="Aurelien Domont" userId="6da7715ce44349b3" providerId="LiveId" clId="{AABA1416-4740-4FEA-A91C-A3DACBE38F86}" dt="2023-11-03T04:18:13.033" v="6303" actId="478"/>
          <ac:picMkLst>
            <pc:docMk/>
            <pc:sldMk cId="2716070288" sldId="3286"/>
            <ac:picMk id="10" creationId="{D46B6A99-D494-0F6C-A86D-563C45EB6171}"/>
          </ac:picMkLst>
        </pc:picChg>
        <pc:picChg chg="del mod ord">
          <ac:chgData name="Aurelien Domont" userId="6da7715ce44349b3" providerId="LiveId" clId="{AABA1416-4740-4FEA-A91C-A3DACBE38F86}" dt="2023-11-03T04:18:13.033" v="6303" actId="478"/>
          <ac:picMkLst>
            <pc:docMk/>
            <pc:sldMk cId="2716070288" sldId="3286"/>
            <ac:picMk id="11" creationId="{9AD5EEAA-2350-316F-EA7E-CA177E8F94AC}"/>
          </ac:picMkLst>
        </pc:picChg>
        <pc:picChg chg="mod ord">
          <ac:chgData name="Aurelien Domont" userId="6da7715ce44349b3" providerId="LiveId" clId="{AABA1416-4740-4FEA-A91C-A3DACBE38F86}" dt="2023-11-05T22:45:25.034" v="12468"/>
          <ac:picMkLst>
            <pc:docMk/>
            <pc:sldMk cId="2716070288" sldId="3286"/>
            <ac:picMk id="21" creationId="{55C0EEEA-D196-5D4A-0E6C-48562BA818D4}"/>
          </ac:picMkLst>
        </pc:picChg>
        <pc:picChg chg="mod ord">
          <ac:chgData name="Aurelien Domont" userId="6da7715ce44349b3" providerId="LiveId" clId="{AABA1416-4740-4FEA-A91C-A3DACBE38F86}" dt="2023-11-05T22:45:25.034" v="12470"/>
          <ac:picMkLst>
            <pc:docMk/>
            <pc:sldMk cId="2716070288" sldId="3286"/>
            <ac:picMk id="22" creationId="{A505F267-E3B5-4559-8DBB-D387D74271CB}"/>
          </ac:picMkLst>
        </pc:picChg>
        <pc:picChg chg="add mod ord">
          <ac:chgData name="Aurelien Domont" userId="6da7715ce44349b3" providerId="LiveId" clId="{AABA1416-4740-4FEA-A91C-A3DACBE38F86}" dt="2023-11-05T22:46:02.975" v="12499" actId="1036"/>
          <ac:picMkLst>
            <pc:docMk/>
            <pc:sldMk cId="2716070288" sldId="3286"/>
            <ac:picMk id="23" creationId="{5E55D405-BC29-307B-E649-05ACB7142A22}"/>
          </ac:picMkLst>
        </pc:picChg>
        <pc:picChg chg="mod ord">
          <ac:chgData name="Aurelien Domont" userId="6da7715ce44349b3" providerId="LiveId" clId="{AABA1416-4740-4FEA-A91C-A3DACBE38F86}" dt="2023-11-05T22:45:25.037" v="12472"/>
          <ac:picMkLst>
            <pc:docMk/>
            <pc:sldMk cId="2716070288" sldId="3286"/>
            <ac:picMk id="24" creationId="{C3E08E48-91DC-4C1F-99DB-2B28D33A03AF}"/>
          </ac:picMkLst>
        </pc:picChg>
        <pc:picChg chg="add del mod ord">
          <ac:chgData name="Aurelien Domont" userId="6da7715ce44349b3" providerId="LiveId" clId="{AABA1416-4740-4FEA-A91C-A3DACBE38F86}" dt="2023-11-05T22:46:02.975" v="12499" actId="1036"/>
          <ac:picMkLst>
            <pc:docMk/>
            <pc:sldMk cId="2716070288" sldId="3286"/>
            <ac:picMk id="25" creationId="{0F0750C7-CDF1-C7DC-C299-1B032B165223}"/>
          </ac:picMkLst>
        </pc:picChg>
        <pc:picChg chg="add del mod">
          <ac:chgData name="Aurelien Domont" userId="6da7715ce44349b3" providerId="LiveId" clId="{AABA1416-4740-4FEA-A91C-A3DACBE38F86}" dt="2023-11-03T04:16:28.741" v="6169" actId="478"/>
          <ac:picMkLst>
            <pc:docMk/>
            <pc:sldMk cId="2716070288" sldId="3286"/>
            <ac:picMk id="27" creationId="{1FD3E781-A5BA-DAA8-5B8C-5C4CA0EFCD5D}"/>
          </ac:picMkLst>
        </pc:picChg>
        <pc:picChg chg="mod ord">
          <ac:chgData name="Aurelien Domont" userId="6da7715ce44349b3" providerId="LiveId" clId="{AABA1416-4740-4FEA-A91C-A3DACBE38F86}" dt="2023-11-05T22:45:25.037" v="12474"/>
          <ac:picMkLst>
            <pc:docMk/>
            <pc:sldMk cId="2716070288" sldId="3286"/>
            <ac:picMk id="28" creationId="{570D065C-7397-1F30-84E3-E02A480D7274}"/>
          </ac:picMkLst>
        </pc:picChg>
        <pc:picChg chg="add mod ord">
          <ac:chgData name="Aurelien Domont" userId="6da7715ce44349b3" providerId="LiveId" clId="{AABA1416-4740-4FEA-A91C-A3DACBE38F86}" dt="2023-11-05T22:46:02.975" v="12499" actId="1036"/>
          <ac:picMkLst>
            <pc:docMk/>
            <pc:sldMk cId="2716070288" sldId="3286"/>
            <ac:picMk id="29" creationId="{378EE4D2-1A0C-F254-EBB0-11577962F7FA}"/>
          </ac:picMkLst>
        </pc:picChg>
        <pc:picChg chg="add mod ord">
          <ac:chgData name="Aurelien Domont" userId="6da7715ce44349b3" providerId="LiveId" clId="{AABA1416-4740-4FEA-A91C-A3DACBE38F86}" dt="2023-11-05T22:45:25.021" v="12444"/>
          <ac:picMkLst>
            <pc:docMk/>
            <pc:sldMk cId="2716070288" sldId="3286"/>
            <ac:picMk id="30" creationId="{5555D51A-9BB2-BE2B-C61C-6C8FD0B9FFB8}"/>
          </ac:picMkLst>
        </pc:picChg>
        <pc:picChg chg="add mod ord">
          <ac:chgData name="Aurelien Domont" userId="6da7715ce44349b3" providerId="LiveId" clId="{AABA1416-4740-4FEA-A91C-A3DACBE38F86}" dt="2023-11-05T22:45:25.021" v="12446"/>
          <ac:picMkLst>
            <pc:docMk/>
            <pc:sldMk cId="2716070288" sldId="3286"/>
            <ac:picMk id="31" creationId="{DDF2B3F6-EA66-2AB0-26ED-E399C9A934C6}"/>
          </ac:picMkLst>
        </pc:picChg>
        <pc:picChg chg="add del mod">
          <ac:chgData name="Aurelien Domont" userId="6da7715ce44349b3" providerId="LiveId" clId="{AABA1416-4740-4FEA-A91C-A3DACBE38F86}" dt="2023-11-03T04:16:44.207" v="6175" actId="478"/>
          <ac:picMkLst>
            <pc:docMk/>
            <pc:sldMk cId="2716070288" sldId="3286"/>
            <ac:picMk id="33" creationId="{C3685A0E-00E6-1ADD-7B5B-1F9B63186C22}"/>
          </ac:picMkLst>
        </pc:picChg>
        <pc:picChg chg="add mod ord">
          <ac:chgData name="Aurelien Domont" userId="6da7715ce44349b3" providerId="LiveId" clId="{AABA1416-4740-4FEA-A91C-A3DACBE38F86}" dt="2023-11-05T22:45:25.021" v="12448"/>
          <ac:picMkLst>
            <pc:docMk/>
            <pc:sldMk cId="2716070288" sldId="3286"/>
            <ac:picMk id="35" creationId="{BDD86646-708A-8DDC-5043-EFE6D7DC8A0A}"/>
          </ac:picMkLst>
        </pc:picChg>
      </pc:sldChg>
      <pc:sldChg chg="modSp add del mod">
        <pc:chgData name="Aurelien Domont" userId="6da7715ce44349b3" providerId="LiveId" clId="{AABA1416-4740-4FEA-A91C-A3DACBE38F86}" dt="2023-11-03T04:13:07.343" v="6065" actId="47"/>
        <pc:sldMkLst>
          <pc:docMk/>
          <pc:sldMk cId="642838729" sldId="3287"/>
        </pc:sldMkLst>
        <pc:picChg chg="mod">
          <ac:chgData name="Aurelien Domont" userId="6da7715ce44349b3" providerId="LiveId" clId="{AABA1416-4740-4FEA-A91C-A3DACBE38F86}" dt="2023-11-03T04:13:05.207" v="6064" actId="1036"/>
          <ac:picMkLst>
            <pc:docMk/>
            <pc:sldMk cId="642838729" sldId="3287"/>
            <ac:picMk id="30" creationId="{1380FE16-E783-FF7F-1BFD-A18CFFDA43F5}"/>
          </ac:picMkLst>
        </pc:picChg>
        <pc:picChg chg="mod">
          <ac:chgData name="Aurelien Domont" userId="6da7715ce44349b3" providerId="LiveId" clId="{AABA1416-4740-4FEA-A91C-A3DACBE38F86}" dt="2023-11-03T04:13:05.207" v="6064" actId="1036"/>
          <ac:picMkLst>
            <pc:docMk/>
            <pc:sldMk cId="642838729" sldId="3287"/>
            <ac:picMk id="31" creationId="{85A03961-2B54-DACA-DCC0-DAB5D216DA9D}"/>
          </ac:picMkLst>
        </pc:picChg>
        <pc:picChg chg="mod">
          <ac:chgData name="Aurelien Domont" userId="6da7715ce44349b3" providerId="LiveId" clId="{AABA1416-4740-4FEA-A91C-A3DACBE38F86}" dt="2023-11-03T04:13:05.207" v="6064" actId="1036"/>
          <ac:picMkLst>
            <pc:docMk/>
            <pc:sldMk cId="642838729" sldId="3287"/>
            <ac:picMk id="34" creationId="{4466D28A-B6DC-793A-7B45-35C0C267F505}"/>
          </ac:picMkLst>
        </pc:picChg>
      </pc:sldChg>
      <pc:sldChg chg="addSp delSp modSp add mod">
        <pc:chgData name="Aurelien Domont" userId="6da7715ce44349b3" providerId="LiveId" clId="{AABA1416-4740-4FEA-A91C-A3DACBE38F86}" dt="2023-11-05T22:47:44.576" v="12616" actId="478"/>
        <pc:sldMkLst>
          <pc:docMk/>
          <pc:sldMk cId="4113459810" sldId="3287"/>
        </pc:sldMkLst>
        <pc:spChg chg="mod ord">
          <ac:chgData name="Aurelien Domont" userId="6da7715ce44349b3" providerId="LiveId" clId="{AABA1416-4740-4FEA-A91C-A3DACBE38F86}" dt="2023-11-05T22:46:33.917" v="12542"/>
          <ac:spMkLst>
            <pc:docMk/>
            <pc:sldMk cId="4113459810" sldId="3287"/>
            <ac:spMk id="2" creationId="{12009DA8-0966-101B-E219-F283F194BD59}"/>
          </ac:spMkLst>
        </pc:spChg>
        <pc:spChg chg="mod ord">
          <ac:chgData name="Aurelien Domont" userId="6da7715ce44349b3" providerId="LiveId" clId="{AABA1416-4740-4FEA-A91C-A3DACBE38F86}" dt="2023-11-03T04:31:49.121" v="6471"/>
          <ac:spMkLst>
            <pc:docMk/>
            <pc:sldMk cId="4113459810" sldId="3287"/>
            <ac:spMk id="3" creationId="{801CCD27-AA00-4672-51C4-19B3AACCF89D}"/>
          </ac:spMkLst>
        </pc:spChg>
        <pc:spChg chg="add mod ord">
          <ac:chgData name="Aurelien Domont" userId="6da7715ce44349b3" providerId="LiveId" clId="{AABA1416-4740-4FEA-A91C-A3DACBE38F86}" dt="2023-11-05T22:46:33.902" v="12528"/>
          <ac:spMkLst>
            <pc:docMk/>
            <pc:sldMk cId="4113459810" sldId="3287"/>
            <ac:spMk id="3" creationId="{B3FF13C0-4A8A-C482-F47E-59102DC6C4ED}"/>
          </ac:spMkLst>
        </pc:spChg>
        <pc:spChg chg="add del mod ord">
          <ac:chgData name="Aurelien Domont" userId="6da7715ce44349b3" providerId="LiveId" clId="{AABA1416-4740-4FEA-A91C-A3DACBE38F86}" dt="2023-11-05T22:47:44.576" v="12616" actId="478"/>
          <ac:spMkLst>
            <pc:docMk/>
            <pc:sldMk cId="4113459810" sldId="3287"/>
            <ac:spMk id="4" creationId="{A71A263E-632B-DD21-33CA-5901C523705D}"/>
          </ac:spMkLst>
        </pc:spChg>
        <pc:spChg chg="mod ord">
          <ac:chgData name="Aurelien Domont" userId="6da7715ce44349b3" providerId="LiveId" clId="{AABA1416-4740-4FEA-A91C-A3DACBE38F86}" dt="2023-11-03T04:31:49.121" v="6473"/>
          <ac:spMkLst>
            <pc:docMk/>
            <pc:sldMk cId="4113459810" sldId="3287"/>
            <ac:spMk id="4" creationId="{D4A562FF-8BCE-7531-A3BB-13AAC2197D6B}"/>
          </ac:spMkLst>
        </pc:spChg>
        <pc:spChg chg="add del mod modVis">
          <ac:chgData name="Aurelien Domont" userId="6da7715ce44349b3" providerId="LiveId" clId="{AABA1416-4740-4FEA-A91C-A3DACBE38F86}" dt="2023-11-03T04:18:33.829" v="6337"/>
          <ac:spMkLst>
            <pc:docMk/>
            <pc:sldMk cId="4113459810" sldId="3287"/>
            <ac:spMk id="5" creationId="{A6559FB2-1E23-7A57-9BAE-71B05A08A3DF}"/>
          </ac:spMkLst>
        </pc:spChg>
        <pc:spChg chg="add del mod modVis">
          <ac:chgData name="Aurelien Domont" userId="6da7715ce44349b3" providerId="LiveId" clId="{AABA1416-4740-4FEA-A91C-A3DACBE38F86}" dt="2023-11-05T22:46:33.933" v="12576"/>
          <ac:spMkLst>
            <pc:docMk/>
            <pc:sldMk cId="4113459810" sldId="3287"/>
            <ac:spMk id="5" creationId="{F3D71ED6-3A35-AA51-B4D2-D1D1E0715F2B}"/>
          </ac:spMkLst>
        </pc:spChg>
        <pc:spChg chg="add mod">
          <ac:chgData name="Aurelien Domont" userId="6da7715ce44349b3" providerId="LiveId" clId="{AABA1416-4740-4FEA-A91C-A3DACBE38F86}" dt="2023-11-05T22:47:43.193" v="12615" actId="571"/>
          <ac:spMkLst>
            <pc:docMk/>
            <pc:sldMk cId="4113459810" sldId="3287"/>
            <ac:spMk id="9" creationId="{8C8397C8-3743-2661-891D-5838F297B775}"/>
          </ac:spMkLst>
        </pc:spChg>
        <pc:spChg chg="mod ord">
          <ac:chgData name="Aurelien Domont" userId="6da7715ce44349b3" providerId="LiveId" clId="{AABA1416-4740-4FEA-A91C-A3DACBE38F86}" dt="2023-11-05T22:46:33.917" v="12544"/>
          <ac:spMkLst>
            <pc:docMk/>
            <pc:sldMk cId="4113459810" sldId="3287"/>
            <ac:spMk id="12" creationId="{E5C880B1-3661-390E-F882-CB4F6F931514}"/>
          </ac:spMkLst>
        </pc:spChg>
        <pc:spChg chg="mod ord">
          <ac:chgData name="Aurelien Domont" userId="6da7715ce44349b3" providerId="LiveId" clId="{AABA1416-4740-4FEA-A91C-A3DACBE38F86}" dt="2023-11-05T22:46:33.917" v="12546"/>
          <ac:spMkLst>
            <pc:docMk/>
            <pc:sldMk cId="4113459810" sldId="3287"/>
            <ac:spMk id="14" creationId="{2D61A940-E2A4-8F8B-BEEB-527EA37FB376}"/>
          </ac:spMkLst>
        </pc:spChg>
        <pc:spChg chg="mod ord">
          <ac:chgData name="Aurelien Domont" userId="6da7715ce44349b3" providerId="LiveId" clId="{AABA1416-4740-4FEA-A91C-A3DACBE38F86}" dt="2023-11-05T22:46:33.917" v="12548"/>
          <ac:spMkLst>
            <pc:docMk/>
            <pc:sldMk cId="4113459810" sldId="3287"/>
            <ac:spMk id="15" creationId="{274392A5-1E09-AADB-1902-0598AA87A564}"/>
          </ac:spMkLst>
        </pc:spChg>
        <pc:spChg chg="mod ord">
          <ac:chgData name="Aurelien Domont" userId="6da7715ce44349b3" providerId="LiveId" clId="{AABA1416-4740-4FEA-A91C-A3DACBE38F86}" dt="2023-11-05T22:46:33.917" v="12550"/>
          <ac:spMkLst>
            <pc:docMk/>
            <pc:sldMk cId="4113459810" sldId="3287"/>
            <ac:spMk id="16" creationId="{D7BABEBB-009A-B3CC-DD7C-AC6B17E66EBD}"/>
          </ac:spMkLst>
        </pc:spChg>
        <pc:spChg chg="mod ord">
          <ac:chgData name="Aurelien Domont" userId="6da7715ce44349b3" providerId="LiveId" clId="{AABA1416-4740-4FEA-A91C-A3DACBE38F86}" dt="2023-11-05T22:46:33.917" v="12552"/>
          <ac:spMkLst>
            <pc:docMk/>
            <pc:sldMk cId="4113459810" sldId="3287"/>
            <ac:spMk id="17" creationId="{5A4EBC52-4520-716E-F7FC-5C1748C76EC9}"/>
          </ac:spMkLst>
        </pc:spChg>
        <pc:spChg chg="mod ord">
          <ac:chgData name="Aurelien Domont" userId="6da7715ce44349b3" providerId="LiveId" clId="{AABA1416-4740-4FEA-A91C-A3DACBE38F86}" dt="2023-11-05T22:46:33.917" v="12554"/>
          <ac:spMkLst>
            <pc:docMk/>
            <pc:sldMk cId="4113459810" sldId="3287"/>
            <ac:spMk id="18" creationId="{49B65B9F-63BA-FB4C-B12B-B72843B3717D}"/>
          </ac:spMkLst>
        </pc:spChg>
        <pc:spChg chg="mod ord">
          <ac:chgData name="Aurelien Domont" userId="6da7715ce44349b3" providerId="LiveId" clId="{AABA1416-4740-4FEA-A91C-A3DACBE38F86}" dt="2023-11-05T22:46:33.917" v="12556"/>
          <ac:spMkLst>
            <pc:docMk/>
            <pc:sldMk cId="4113459810" sldId="3287"/>
            <ac:spMk id="19" creationId="{D37A2CA0-E224-A57E-B83D-3F8EBC0B08EB}"/>
          </ac:spMkLst>
        </pc:spChg>
        <pc:spChg chg="mod ord">
          <ac:chgData name="Aurelien Domont" userId="6da7715ce44349b3" providerId="LiveId" clId="{AABA1416-4740-4FEA-A91C-A3DACBE38F86}" dt="2023-11-05T22:46:33.917" v="12558"/>
          <ac:spMkLst>
            <pc:docMk/>
            <pc:sldMk cId="4113459810" sldId="3287"/>
            <ac:spMk id="20" creationId="{0CA3FB12-AFA3-4D30-44A1-2208EFD37686}"/>
          </ac:spMkLst>
        </pc:spChg>
        <pc:spChg chg="mod">
          <ac:chgData name="Aurelien Domont" userId="6da7715ce44349b3" providerId="LiveId" clId="{AABA1416-4740-4FEA-A91C-A3DACBE38F86}" dt="2023-11-03T04:51:05.172" v="6745" actId="790"/>
          <ac:spMkLst>
            <pc:docMk/>
            <pc:sldMk cId="4113459810" sldId="3287"/>
            <ac:spMk id="36" creationId="{53EC8E5B-4A23-1746-2240-1A6806D6F293}"/>
          </ac:spMkLst>
        </pc:spChg>
        <pc:spChg chg="add del mod modVis">
          <ac:chgData name="Aurelien Domont" userId="6da7715ce44349b3" providerId="LiveId" clId="{AABA1416-4740-4FEA-A91C-A3DACBE38F86}" dt="2023-11-03T04:51:06.880" v="8846"/>
          <ac:spMkLst>
            <pc:docMk/>
            <pc:sldMk cId="4113459810" sldId="3287"/>
            <ac:spMk id="37" creationId="{3D29E266-850C-9476-DEA7-16A9C381C572}"/>
          </ac:spMkLst>
        </pc:spChg>
        <pc:spChg chg="mod ord">
          <ac:chgData name="Aurelien Domont" userId="6da7715ce44349b3" providerId="LiveId" clId="{AABA1416-4740-4FEA-A91C-A3DACBE38F86}" dt="2023-11-05T22:46:33.917" v="12568"/>
          <ac:spMkLst>
            <pc:docMk/>
            <pc:sldMk cId="4113459810" sldId="3287"/>
            <ac:spMk id="38" creationId="{11A24273-7ADF-6CB2-EC63-E01F9E39B5F5}"/>
          </ac:spMkLst>
        </pc:spChg>
        <pc:spChg chg="mod ord">
          <ac:chgData name="Aurelien Domont" userId="6da7715ce44349b3" providerId="LiveId" clId="{AABA1416-4740-4FEA-A91C-A3DACBE38F86}" dt="2023-11-05T22:46:33.933" v="12570"/>
          <ac:spMkLst>
            <pc:docMk/>
            <pc:sldMk cId="4113459810" sldId="3287"/>
            <ac:spMk id="39" creationId="{CE90D2F0-3778-16F6-FC06-37DB2118456B}"/>
          </ac:spMkLst>
        </pc:spChg>
        <pc:graphicFrameChg chg="mod">
          <ac:chgData name="Aurelien Domont" userId="6da7715ce44349b3" providerId="LiveId" clId="{AABA1416-4740-4FEA-A91C-A3DACBE38F86}" dt="2023-11-05T22:46:33.933" v="12578"/>
          <ac:graphicFrameMkLst>
            <pc:docMk/>
            <pc:sldMk cId="4113459810" sldId="3287"/>
            <ac:graphicFrameMk id="6" creationId="{F5887244-1866-E102-5FD5-79FA1304146D}"/>
          </ac:graphicFrameMkLst>
        </pc:graphicFrameChg>
        <pc:picChg chg="add del mod ord">
          <ac:chgData name="Aurelien Domont" userId="6da7715ce44349b3" providerId="LiveId" clId="{AABA1416-4740-4FEA-A91C-A3DACBE38F86}" dt="2023-11-05T22:47:13.702" v="12598" actId="1038"/>
          <ac:picMkLst>
            <pc:docMk/>
            <pc:sldMk cId="4113459810" sldId="3287"/>
            <ac:picMk id="7" creationId="{3BB53541-0F6E-E47E-20DD-ECB87EE2A160}"/>
          </ac:picMkLst>
        </pc:picChg>
        <pc:picChg chg="add mod">
          <ac:chgData name="Aurelien Domont" userId="6da7715ce44349b3" providerId="LiveId" clId="{AABA1416-4740-4FEA-A91C-A3DACBE38F86}" dt="2023-11-05T22:47:19.866" v="12606" actId="571"/>
          <ac:picMkLst>
            <pc:docMk/>
            <pc:sldMk cId="4113459810" sldId="3287"/>
            <ac:picMk id="8" creationId="{56547D06-8658-5CE1-37B9-9EDB3E20F006}"/>
          </ac:picMkLst>
        </pc:picChg>
        <pc:picChg chg="add del">
          <ac:chgData name="Aurelien Domont" userId="6da7715ce44349b3" providerId="LiveId" clId="{AABA1416-4740-4FEA-A91C-A3DACBE38F86}" dt="2023-11-03T04:28:08.823" v="6349" actId="478"/>
          <ac:picMkLst>
            <pc:docMk/>
            <pc:sldMk cId="4113459810" sldId="3287"/>
            <ac:picMk id="8" creationId="{B2D243C9-509D-5C45-1718-4C13C0CBF08C}"/>
          </ac:picMkLst>
        </pc:picChg>
        <pc:picChg chg="add del">
          <ac:chgData name="Aurelien Domont" userId="6da7715ce44349b3" providerId="LiveId" clId="{AABA1416-4740-4FEA-A91C-A3DACBE38F86}" dt="2023-11-03T04:28:19.600" v="6351" actId="478"/>
          <ac:picMkLst>
            <pc:docMk/>
            <pc:sldMk cId="4113459810" sldId="3287"/>
            <ac:picMk id="9" creationId="{11D0A654-BF53-15E1-53DF-DE25C784F369}"/>
          </ac:picMkLst>
        </pc:picChg>
        <pc:picChg chg="add del mod ord">
          <ac:chgData name="Aurelien Domont" userId="6da7715ce44349b3" providerId="LiveId" clId="{AABA1416-4740-4FEA-A91C-A3DACBE38F86}" dt="2023-11-05T22:47:21.545" v="12607" actId="478"/>
          <ac:picMkLst>
            <pc:docMk/>
            <pc:sldMk cId="4113459810" sldId="3287"/>
            <ac:picMk id="10" creationId="{7C5DDFDC-6A4C-E3C7-7F3A-7F08C2CCCF55}"/>
          </ac:picMkLst>
        </pc:picChg>
        <pc:picChg chg="add mod ord">
          <ac:chgData name="Aurelien Domont" userId="6da7715ce44349b3" providerId="LiveId" clId="{AABA1416-4740-4FEA-A91C-A3DACBE38F86}" dt="2023-11-05T22:47:33.701" v="12614" actId="1038"/>
          <ac:picMkLst>
            <pc:docMk/>
            <pc:sldMk cId="4113459810" sldId="3287"/>
            <ac:picMk id="11" creationId="{7AF6EA4A-FE6D-73F5-F307-C55457C7DDBB}"/>
          </ac:picMkLst>
        </pc:picChg>
        <pc:picChg chg="add mod ord">
          <ac:chgData name="Aurelien Domont" userId="6da7715ce44349b3" providerId="LiveId" clId="{AABA1416-4740-4FEA-A91C-A3DACBE38F86}" dt="2023-11-05T22:47:28.086" v="12608" actId="12788"/>
          <ac:picMkLst>
            <pc:docMk/>
            <pc:sldMk cId="4113459810" sldId="3287"/>
            <ac:picMk id="13" creationId="{D51C5866-92AD-1085-5C5D-B9BCA46401A1}"/>
          </ac:picMkLst>
        </pc:picChg>
        <pc:picChg chg="mod ord">
          <ac:chgData name="Aurelien Domont" userId="6da7715ce44349b3" providerId="LiveId" clId="{AABA1416-4740-4FEA-A91C-A3DACBE38F86}" dt="2023-11-05T22:46:33.917" v="12560"/>
          <ac:picMkLst>
            <pc:docMk/>
            <pc:sldMk cId="4113459810" sldId="3287"/>
            <ac:picMk id="21" creationId="{55C0EEEA-D196-5D4A-0E6C-48562BA818D4}"/>
          </ac:picMkLst>
        </pc:picChg>
        <pc:picChg chg="mod ord">
          <ac:chgData name="Aurelien Domont" userId="6da7715ce44349b3" providerId="LiveId" clId="{AABA1416-4740-4FEA-A91C-A3DACBE38F86}" dt="2023-11-05T22:46:33.917" v="12562"/>
          <ac:picMkLst>
            <pc:docMk/>
            <pc:sldMk cId="4113459810" sldId="3287"/>
            <ac:picMk id="22" creationId="{A505F267-E3B5-4559-8DBB-D387D74271CB}"/>
          </ac:picMkLst>
        </pc:picChg>
        <pc:picChg chg="del mod ord">
          <ac:chgData name="Aurelien Domont" userId="6da7715ce44349b3" providerId="LiveId" clId="{AABA1416-4740-4FEA-A91C-A3DACBE38F86}" dt="2023-11-03T04:30:58.125" v="6438" actId="478"/>
          <ac:picMkLst>
            <pc:docMk/>
            <pc:sldMk cId="4113459810" sldId="3287"/>
            <ac:picMk id="23" creationId="{5E55D405-BC29-307B-E649-05ACB7142A22}"/>
          </ac:picMkLst>
        </pc:picChg>
        <pc:picChg chg="mod ord">
          <ac:chgData name="Aurelien Domont" userId="6da7715ce44349b3" providerId="LiveId" clId="{AABA1416-4740-4FEA-A91C-A3DACBE38F86}" dt="2023-11-05T22:46:33.917" v="12564"/>
          <ac:picMkLst>
            <pc:docMk/>
            <pc:sldMk cId="4113459810" sldId="3287"/>
            <ac:picMk id="24" creationId="{C3E08E48-91DC-4C1F-99DB-2B28D33A03AF}"/>
          </ac:picMkLst>
        </pc:picChg>
        <pc:picChg chg="del mod ord">
          <ac:chgData name="Aurelien Domont" userId="6da7715ce44349b3" providerId="LiveId" clId="{AABA1416-4740-4FEA-A91C-A3DACBE38F86}" dt="2023-11-03T04:30:54.455" v="6436" actId="478"/>
          <ac:picMkLst>
            <pc:docMk/>
            <pc:sldMk cId="4113459810" sldId="3287"/>
            <ac:picMk id="25" creationId="{0F0750C7-CDF1-C7DC-C299-1B032B165223}"/>
          </ac:picMkLst>
        </pc:picChg>
        <pc:picChg chg="add mod ord">
          <ac:chgData name="Aurelien Domont" userId="6da7715ce44349b3" providerId="LiveId" clId="{AABA1416-4740-4FEA-A91C-A3DACBE38F86}" dt="2023-11-05T22:47:28.086" v="12608" actId="12788"/>
          <ac:picMkLst>
            <pc:docMk/>
            <pc:sldMk cId="4113459810" sldId="3287"/>
            <ac:picMk id="26" creationId="{7A75B4F6-CBD2-AFDD-8991-B16AC612FD2B}"/>
          </ac:picMkLst>
        </pc:picChg>
        <pc:picChg chg="mod ord">
          <ac:chgData name="Aurelien Domont" userId="6da7715ce44349b3" providerId="LiveId" clId="{AABA1416-4740-4FEA-A91C-A3DACBE38F86}" dt="2023-11-05T22:46:33.917" v="12566"/>
          <ac:picMkLst>
            <pc:docMk/>
            <pc:sldMk cId="4113459810" sldId="3287"/>
            <ac:picMk id="28" creationId="{570D065C-7397-1F30-84E3-E02A480D7274}"/>
          </ac:picMkLst>
        </pc:picChg>
        <pc:picChg chg="del mod ord">
          <ac:chgData name="Aurelien Domont" userId="6da7715ce44349b3" providerId="LiveId" clId="{AABA1416-4740-4FEA-A91C-A3DACBE38F86}" dt="2023-11-03T04:30:57.482" v="6437" actId="478"/>
          <ac:picMkLst>
            <pc:docMk/>
            <pc:sldMk cId="4113459810" sldId="3287"/>
            <ac:picMk id="29" creationId="{378EE4D2-1A0C-F254-EBB0-11577962F7FA}"/>
          </ac:picMkLst>
        </pc:picChg>
        <pc:picChg chg="del mod ord">
          <ac:chgData name="Aurelien Domont" userId="6da7715ce44349b3" providerId="LiveId" clId="{AABA1416-4740-4FEA-A91C-A3DACBE38F86}" dt="2023-11-03T04:31:00.384" v="6441" actId="478"/>
          <ac:picMkLst>
            <pc:docMk/>
            <pc:sldMk cId="4113459810" sldId="3287"/>
            <ac:picMk id="30" creationId="{5555D51A-9BB2-BE2B-C61C-6C8FD0B9FFB8}"/>
          </ac:picMkLst>
        </pc:picChg>
        <pc:picChg chg="del mod ord">
          <ac:chgData name="Aurelien Domont" userId="6da7715ce44349b3" providerId="LiveId" clId="{AABA1416-4740-4FEA-A91C-A3DACBE38F86}" dt="2023-11-03T04:30:59.757" v="6440" actId="478"/>
          <ac:picMkLst>
            <pc:docMk/>
            <pc:sldMk cId="4113459810" sldId="3287"/>
            <ac:picMk id="31" creationId="{DDF2B3F6-EA66-2AB0-26ED-E399C9A934C6}"/>
          </ac:picMkLst>
        </pc:picChg>
        <pc:picChg chg="add del mod ord">
          <ac:chgData name="Aurelien Domont" userId="6da7715ce44349b3" providerId="LiveId" clId="{AABA1416-4740-4FEA-A91C-A3DACBE38F86}" dt="2023-11-03T04:31:50.696" v="6502" actId="478"/>
          <ac:picMkLst>
            <pc:docMk/>
            <pc:sldMk cId="4113459810" sldId="3287"/>
            <ac:picMk id="32" creationId="{30402640-4C75-C111-8B10-7C879A10F623}"/>
          </ac:picMkLst>
        </pc:picChg>
        <pc:picChg chg="add mod ord">
          <ac:chgData name="Aurelien Domont" userId="6da7715ce44349b3" providerId="LiveId" clId="{AABA1416-4740-4FEA-A91C-A3DACBE38F86}" dt="2023-11-05T22:46:51.054" v="12583" actId="1038"/>
          <ac:picMkLst>
            <pc:docMk/>
            <pc:sldMk cId="4113459810" sldId="3287"/>
            <ac:picMk id="34" creationId="{0549FF7A-8D13-423D-C545-02DEB5BD3906}"/>
          </ac:picMkLst>
        </pc:picChg>
        <pc:picChg chg="del mod ord">
          <ac:chgData name="Aurelien Domont" userId="6da7715ce44349b3" providerId="LiveId" clId="{AABA1416-4740-4FEA-A91C-A3DACBE38F86}" dt="2023-11-03T04:30:59.131" v="6439" actId="478"/>
          <ac:picMkLst>
            <pc:docMk/>
            <pc:sldMk cId="4113459810" sldId="3287"/>
            <ac:picMk id="35" creationId="{BDD86646-708A-8DDC-5043-EFE6D7DC8A0A}"/>
          </ac:picMkLst>
        </pc:picChg>
      </pc:sldChg>
      <pc:sldChg chg="addSp delSp modSp add del mod">
        <pc:chgData name="Aurelien Domont" userId="6da7715ce44349b3" providerId="LiveId" clId="{AABA1416-4740-4FEA-A91C-A3DACBE38F86}" dt="2023-11-08T01:25:37.528" v="12779" actId="47"/>
        <pc:sldMkLst>
          <pc:docMk/>
          <pc:sldMk cId="2097315898" sldId="3288"/>
        </pc:sldMkLst>
        <pc:spChg chg="mod">
          <ac:chgData name="Aurelien Domont" userId="6da7715ce44349b3" providerId="LiveId" clId="{AABA1416-4740-4FEA-A91C-A3DACBE38F86}" dt="2023-11-05T22:32:24.205" v="12096" actId="948"/>
          <ac:spMkLst>
            <pc:docMk/>
            <pc:sldMk cId="2097315898" sldId="3288"/>
            <ac:spMk id="2" creationId="{12009DA8-0966-101B-E219-F283F194BD59}"/>
          </ac:spMkLst>
        </pc:spChg>
        <pc:spChg chg="add del mod modVis">
          <ac:chgData name="Aurelien Domont" userId="6da7715ce44349b3" providerId="LiveId" clId="{AABA1416-4740-4FEA-A91C-A3DACBE38F86}" dt="2023-11-03T04:48:21.056" v="6585"/>
          <ac:spMkLst>
            <pc:docMk/>
            <pc:sldMk cId="2097315898" sldId="3288"/>
            <ac:spMk id="3" creationId="{16384971-4F4F-2CD9-101E-723CA7ACAC46}"/>
          </ac:spMkLst>
        </pc:spChg>
        <pc:spChg chg="add del mod modVis">
          <ac:chgData name="Aurelien Domont" userId="6da7715ce44349b3" providerId="LiveId" clId="{AABA1416-4740-4FEA-A91C-A3DACBE38F86}" dt="2023-11-05T22:31:57.044" v="11875"/>
          <ac:spMkLst>
            <pc:docMk/>
            <pc:sldMk cId="2097315898" sldId="3288"/>
            <ac:spMk id="3" creationId="{8A0DB3CB-3EA9-9280-4863-42293EB5ACBE}"/>
          </ac:spMkLst>
        </pc:spChg>
        <pc:spChg chg="add del mod modVis">
          <ac:chgData name="Aurelien Domont" userId="6da7715ce44349b3" providerId="LiveId" clId="{AABA1416-4740-4FEA-A91C-A3DACBE38F86}" dt="2023-11-03T05:46:54.312" v="11635" actId="478"/>
          <ac:spMkLst>
            <pc:docMk/>
            <pc:sldMk cId="2097315898" sldId="3288"/>
            <ac:spMk id="3" creationId="{9890B160-6081-EBD5-8DE0-C286CB2D7A23}"/>
          </ac:spMkLst>
        </pc:spChg>
        <pc:spChg chg="add del mod modVis">
          <ac:chgData name="Aurelien Domont" userId="6da7715ce44349b3" providerId="LiveId" clId="{AABA1416-4740-4FEA-A91C-A3DACBE38F86}" dt="2023-11-05T22:31:58.995" v="11913"/>
          <ac:spMkLst>
            <pc:docMk/>
            <pc:sldMk cId="2097315898" sldId="3288"/>
            <ac:spMk id="4" creationId="{25A88FDE-AB16-D95D-A51C-E119D403275A}"/>
          </ac:spMkLst>
        </pc:spChg>
        <pc:spChg chg="mod topLvl modVis">
          <ac:chgData name="Aurelien Domont" userId="6da7715ce44349b3" providerId="LiveId" clId="{AABA1416-4740-4FEA-A91C-A3DACBE38F86}" dt="2023-11-07T22:39:07.063" v="12775"/>
          <ac:spMkLst>
            <pc:docMk/>
            <pc:sldMk cId="2097315898" sldId="3288"/>
            <ac:spMk id="4" creationId="{B9E0AE3C-B9D4-206B-103B-4ECBB657B2A3}"/>
          </ac:spMkLst>
        </pc:spChg>
        <pc:spChg chg="add del mod modVis">
          <ac:chgData name="Aurelien Domont" userId="6da7715ce44349b3" providerId="LiveId" clId="{AABA1416-4740-4FEA-A91C-A3DACBE38F86}" dt="2023-11-03T04:51:06.867" v="8838"/>
          <ac:spMkLst>
            <pc:docMk/>
            <pc:sldMk cId="2097315898" sldId="3288"/>
            <ac:spMk id="4" creationId="{C09466A1-3CB6-B28D-536F-C3AD0B49C7DF}"/>
          </ac:spMkLst>
        </pc:spChg>
        <pc:spChg chg="mod topLvl modVis">
          <ac:chgData name="Aurelien Domont" userId="6da7715ce44349b3" providerId="LiveId" clId="{AABA1416-4740-4FEA-A91C-A3DACBE38F86}" dt="2023-11-07T22:39:07.063" v="12775"/>
          <ac:spMkLst>
            <pc:docMk/>
            <pc:sldMk cId="2097315898" sldId="3288"/>
            <ac:spMk id="7" creationId="{557DD10A-6606-0D18-625A-DB0B83E23797}"/>
          </ac:spMkLst>
        </pc:spChg>
        <pc:spChg chg="add del mod modVis">
          <ac:chgData name="Aurelien Domont" userId="6da7715ce44349b3" providerId="LiveId" clId="{AABA1416-4740-4FEA-A91C-A3DACBE38F86}" dt="2023-11-05T22:31:59.714" v="11941"/>
          <ac:spMkLst>
            <pc:docMk/>
            <pc:sldMk cId="2097315898" sldId="3288"/>
            <ac:spMk id="7" creationId="{9A07593A-4198-AB6F-A607-63E781876905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7" creationId="{FC2426D1-3A12-5B74-DF10-A320B6BC37C5}"/>
          </ac:spMkLst>
        </pc:spChg>
        <pc:spChg chg="mod topLvl modVis">
          <ac:chgData name="Aurelien Domont" userId="6da7715ce44349b3" providerId="LiveId" clId="{AABA1416-4740-4FEA-A91C-A3DACBE38F86}" dt="2023-11-07T22:39:07.063" v="12775"/>
          <ac:spMkLst>
            <pc:docMk/>
            <pc:sldMk cId="2097315898" sldId="3288"/>
            <ac:spMk id="10" creationId="{82EB0FFC-75CC-AD0C-B603-F5116E9E170D}"/>
          </ac:spMkLst>
        </pc:spChg>
        <pc:spChg chg="add del mod modVis">
          <ac:chgData name="Aurelien Domont" userId="6da7715ce44349b3" providerId="LiveId" clId="{AABA1416-4740-4FEA-A91C-A3DACBE38F86}" dt="2023-11-05T22:32:00.263" v="11969"/>
          <ac:spMkLst>
            <pc:docMk/>
            <pc:sldMk cId="2097315898" sldId="3288"/>
            <ac:spMk id="10" creationId="{9C353CA6-B2DC-A03F-7614-3079CFD5F798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10" creationId="{A8172924-ADEC-A3F6-2C39-A5ECF38EC733}"/>
          </ac:spMkLst>
        </pc:spChg>
        <pc:spChg chg="mod topLvl modVis">
          <ac:chgData name="Aurelien Domont" userId="6da7715ce44349b3" providerId="LiveId" clId="{AABA1416-4740-4FEA-A91C-A3DACBE38F86}" dt="2023-11-07T22:39:07.063" v="12775"/>
          <ac:spMkLst>
            <pc:docMk/>
            <pc:sldMk cId="2097315898" sldId="3288"/>
            <ac:spMk id="11" creationId="{543244C4-C842-16F8-D916-F867D64CB61D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11" creationId="{BF753726-7421-2BD9-DF99-5CCFBD147F08}"/>
          </ac:spMkLst>
        </pc:spChg>
        <pc:spChg chg="add del mod modVis">
          <ac:chgData name="Aurelien Domont" userId="6da7715ce44349b3" providerId="LiveId" clId="{AABA1416-4740-4FEA-A91C-A3DACBE38F86}" dt="2023-11-05T22:32:12.445" v="12003"/>
          <ac:spMkLst>
            <pc:docMk/>
            <pc:sldMk cId="2097315898" sldId="3288"/>
            <ac:spMk id="11" creationId="{FD6DD3C3-F443-8196-7F08-1B05E1238CD6}"/>
          </ac:spMkLst>
        </pc:spChg>
        <pc:spChg chg="add del mod modVis">
          <ac:chgData name="Aurelien Domont" userId="6da7715ce44349b3" providerId="LiveId" clId="{AABA1416-4740-4FEA-A91C-A3DACBE38F86}" dt="2023-11-05T22:32:15.564" v="12044"/>
          <ac:spMkLst>
            <pc:docMk/>
            <pc:sldMk cId="2097315898" sldId="3288"/>
            <ac:spMk id="12" creationId="{8D064BA1-56E4-8C73-01AE-C070F0FADC3F}"/>
          </ac:spMkLst>
        </pc:spChg>
        <pc:spChg chg="del">
          <ac:chgData name="Aurelien Domont" userId="6da7715ce44349b3" providerId="LiveId" clId="{AABA1416-4740-4FEA-A91C-A3DACBE38F86}" dt="2023-11-03T04:46:28.010" v="6559" actId="478"/>
          <ac:spMkLst>
            <pc:docMk/>
            <pc:sldMk cId="2097315898" sldId="3288"/>
            <ac:spMk id="12" creationId="{E5C880B1-3661-390E-F882-CB4F6F931514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12" creationId="{EEC79FF4-56D0-3E1F-6434-2F44964EEABB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13" creationId="{50A221B4-3BE9-DCE9-88E7-48357CCF9775}"/>
          </ac:spMkLst>
        </pc:spChg>
        <pc:spChg chg="add del mod modVis">
          <ac:chgData name="Aurelien Domont" userId="6da7715ce44349b3" providerId="LiveId" clId="{AABA1416-4740-4FEA-A91C-A3DACBE38F86}" dt="2023-11-05T22:32:23.546" v="12089"/>
          <ac:spMkLst>
            <pc:docMk/>
            <pc:sldMk cId="2097315898" sldId="3288"/>
            <ac:spMk id="13" creationId="{62E09FF3-548D-6FFD-EA6F-B4DD304EF981}"/>
          </ac:spMkLst>
        </pc:spChg>
        <pc:spChg chg="del">
          <ac:chgData name="Aurelien Domont" userId="6da7715ce44349b3" providerId="LiveId" clId="{AABA1416-4740-4FEA-A91C-A3DACBE38F86}" dt="2023-11-03T04:46:28.010" v="6559" actId="478"/>
          <ac:spMkLst>
            <pc:docMk/>
            <pc:sldMk cId="2097315898" sldId="3288"/>
            <ac:spMk id="14" creationId="{2D61A940-E2A4-8F8B-BEEB-527EA37FB376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14" creationId="{5ACA9072-896B-A5D9-CDEA-E7B4CF4BCD23}"/>
          </ac:spMkLst>
        </pc:spChg>
        <pc:spChg chg="add del mod modVis">
          <ac:chgData name="Aurelien Domont" userId="6da7715ce44349b3" providerId="LiveId" clId="{AABA1416-4740-4FEA-A91C-A3DACBE38F86}" dt="2023-11-05T22:32:24.220" v="12120"/>
          <ac:spMkLst>
            <pc:docMk/>
            <pc:sldMk cId="2097315898" sldId="3288"/>
            <ac:spMk id="14" creationId="{92609F72-C067-7E4A-9A4D-C48622E27272}"/>
          </ac:spMkLst>
        </pc:spChg>
        <pc:spChg chg="del">
          <ac:chgData name="Aurelien Domont" userId="6da7715ce44349b3" providerId="LiveId" clId="{AABA1416-4740-4FEA-A91C-A3DACBE38F86}" dt="2023-11-03T04:46:28.010" v="6559" actId="478"/>
          <ac:spMkLst>
            <pc:docMk/>
            <pc:sldMk cId="2097315898" sldId="3288"/>
            <ac:spMk id="15" creationId="{274392A5-1E09-AADB-1902-0598AA87A564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15" creationId="{8163789F-DA8B-D600-16E6-51EA8CB1D95F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16" creationId="{693FB33D-6C7D-DD02-06B7-8E98F1C6211C}"/>
          </ac:spMkLst>
        </pc:spChg>
        <pc:spChg chg="del">
          <ac:chgData name="Aurelien Domont" userId="6da7715ce44349b3" providerId="LiveId" clId="{AABA1416-4740-4FEA-A91C-A3DACBE38F86}" dt="2023-11-03T04:46:28.010" v="6559" actId="478"/>
          <ac:spMkLst>
            <pc:docMk/>
            <pc:sldMk cId="2097315898" sldId="3288"/>
            <ac:spMk id="16" creationId="{D7BABEBB-009A-B3CC-DD7C-AC6B17E66EBD}"/>
          </ac:spMkLst>
        </pc:spChg>
        <pc:spChg chg="del">
          <ac:chgData name="Aurelien Domont" userId="6da7715ce44349b3" providerId="LiveId" clId="{AABA1416-4740-4FEA-A91C-A3DACBE38F86}" dt="2023-11-03T04:46:28.010" v="6559" actId="478"/>
          <ac:spMkLst>
            <pc:docMk/>
            <pc:sldMk cId="2097315898" sldId="3288"/>
            <ac:spMk id="17" creationId="{5A4EBC52-4520-716E-F7FC-5C1748C76EC9}"/>
          </ac:spMkLst>
        </pc:spChg>
        <pc:spChg chg="del mod modVis">
          <ac:chgData name="Aurelien Domont" userId="6da7715ce44349b3" providerId="LiveId" clId="{AABA1416-4740-4FEA-A91C-A3DACBE38F86}" dt="2023-11-03T05:47:09.022" v="11640" actId="478"/>
          <ac:spMkLst>
            <pc:docMk/>
            <pc:sldMk cId="2097315898" sldId="3288"/>
            <ac:spMk id="17" creationId="{61B75503-4E71-E189-C199-20B84B6143F0}"/>
          </ac:spMkLst>
        </pc:spChg>
        <pc:spChg chg="del">
          <ac:chgData name="Aurelien Domont" userId="6da7715ce44349b3" providerId="LiveId" clId="{AABA1416-4740-4FEA-A91C-A3DACBE38F86}" dt="2023-11-03T04:46:28.010" v="6559" actId="478"/>
          <ac:spMkLst>
            <pc:docMk/>
            <pc:sldMk cId="2097315898" sldId="3288"/>
            <ac:spMk id="18" creationId="{49B65B9F-63BA-FB4C-B12B-B72843B3717D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18" creationId="{DBAC3965-AE09-32A4-358B-D70A3F0D2B0D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19" creationId="{3A1D649B-3526-473B-D372-0D4438972D60}"/>
          </ac:spMkLst>
        </pc:spChg>
        <pc:spChg chg="del">
          <ac:chgData name="Aurelien Domont" userId="6da7715ce44349b3" providerId="LiveId" clId="{AABA1416-4740-4FEA-A91C-A3DACBE38F86}" dt="2023-11-03T04:46:28.010" v="6559" actId="478"/>
          <ac:spMkLst>
            <pc:docMk/>
            <pc:sldMk cId="2097315898" sldId="3288"/>
            <ac:spMk id="19" creationId="{D37A2CA0-E224-A57E-B83D-3F8EBC0B08EB}"/>
          </ac:spMkLst>
        </pc:spChg>
        <pc:spChg chg="del">
          <ac:chgData name="Aurelien Domont" userId="6da7715ce44349b3" providerId="LiveId" clId="{AABA1416-4740-4FEA-A91C-A3DACBE38F86}" dt="2023-11-03T04:46:28.010" v="6559" actId="478"/>
          <ac:spMkLst>
            <pc:docMk/>
            <pc:sldMk cId="2097315898" sldId="3288"/>
            <ac:spMk id="20" creationId="{0CA3FB12-AFA3-4D30-44A1-2208EFD37686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20" creationId="{C0E68C05-F49B-029E-04D9-886D33B2AA7D}"/>
          </ac:spMkLst>
        </pc:spChg>
        <pc:spChg chg="mod modVis">
          <ac:chgData name="Aurelien Domont" userId="6da7715ce44349b3" providerId="LiveId" clId="{AABA1416-4740-4FEA-A91C-A3DACBE38F86}" dt="2023-11-03T05:47:14.407" v="11644" actId="20577"/>
          <ac:spMkLst>
            <pc:docMk/>
            <pc:sldMk cId="2097315898" sldId="3288"/>
            <ac:spMk id="21" creationId="{200CAF41-258F-667E-6CF2-D5ECE0EAAD38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22" creationId="{0A029F87-ED8B-7CB1-8C5A-245286B3FD85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23" creationId="{4AE8AACE-E5E1-48E3-CB01-2930DBA64D5E}"/>
          </ac:spMkLst>
        </pc:spChg>
        <pc:spChg chg="del mod">
          <ac:chgData name="Aurelien Domont" userId="6da7715ce44349b3" providerId="LiveId" clId="{AABA1416-4740-4FEA-A91C-A3DACBE38F86}" dt="2023-11-03T05:10:40.615" v="8866" actId="478"/>
          <ac:spMkLst>
            <pc:docMk/>
            <pc:sldMk cId="2097315898" sldId="3288"/>
            <ac:spMk id="23" creationId="{7E85D8BB-9494-AE26-AE4D-C09B2678A380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24" creationId="{3BE70D39-DBCB-622B-55D8-14998232A8E1}"/>
          </ac:spMkLst>
        </pc:spChg>
        <pc:spChg chg="mod">
          <ac:chgData name="Aurelien Domont" userId="6da7715ce44349b3" providerId="LiveId" clId="{AABA1416-4740-4FEA-A91C-A3DACBE38F86}" dt="2023-11-03T05:10:43.746" v="8867" actId="207"/>
          <ac:spMkLst>
            <pc:docMk/>
            <pc:sldMk cId="2097315898" sldId="3288"/>
            <ac:spMk id="25" creationId="{A8BFD145-8D64-F6BD-9377-A5681D8D1CC4}"/>
          </ac:spMkLst>
        </pc:spChg>
        <pc:spChg chg="mod modVis">
          <ac:chgData name="Aurelien Domont" userId="6da7715ce44349b3" providerId="LiveId" clId="{AABA1416-4740-4FEA-A91C-A3DACBE38F86}" dt="2023-11-03T05:47:12.115" v="11641" actId="1076"/>
          <ac:spMkLst>
            <pc:docMk/>
            <pc:sldMk cId="2097315898" sldId="3288"/>
            <ac:spMk id="26" creationId="{8DD741D1-26B3-9303-56E1-F29C9A2413C5}"/>
          </ac:spMkLst>
        </pc:spChg>
        <pc:spChg chg="mod">
          <ac:chgData name="Aurelien Domont" userId="6da7715ce44349b3" providerId="LiveId" clId="{AABA1416-4740-4FEA-A91C-A3DACBE38F86}" dt="2023-11-03T05:10:43.746" v="8867" actId="207"/>
          <ac:spMkLst>
            <pc:docMk/>
            <pc:sldMk cId="2097315898" sldId="3288"/>
            <ac:spMk id="27" creationId="{2D0246D4-BC6A-EEC1-63B4-C1C0068046E4}"/>
          </ac:spMkLst>
        </pc:spChg>
        <pc:spChg chg="mod">
          <ac:chgData name="Aurelien Domont" userId="6da7715ce44349b3" providerId="LiveId" clId="{AABA1416-4740-4FEA-A91C-A3DACBE38F86}" dt="2023-11-05T22:32:37.224" v="12123" actId="1582"/>
          <ac:spMkLst>
            <pc:docMk/>
            <pc:sldMk cId="2097315898" sldId="3288"/>
            <ac:spMk id="29" creationId="{4CD3BBF8-43B4-87D4-6A58-FA1CEEADCCF9}"/>
          </ac:spMkLst>
        </pc:spChg>
        <pc:spChg chg="mod">
          <ac:chgData name="Aurelien Domont" userId="6da7715ce44349b3" providerId="LiveId" clId="{AABA1416-4740-4FEA-A91C-A3DACBE38F86}" dt="2023-11-05T22:32:55.842" v="12125" actId="1076"/>
          <ac:spMkLst>
            <pc:docMk/>
            <pc:sldMk cId="2097315898" sldId="3288"/>
            <ac:spMk id="30" creationId="{ED881C81-0079-1754-2474-D6B116FED6F5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31" creationId="{184861BA-1B50-60E8-7474-D9EAF77200B2}"/>
          </ac:spMkLst>
        </pc:spChg>
        <pc:spChg chg="add del mod modVis">
          <ac:chgData name="Aurelien Domont" userId="6da7715ce44349b3" providerId="LiveId" clId="{AABA1416-4740-4FEA-A91C-A3DACBE38F86}" dt="2023-11-03T05:11:53.782" v="8898"/>
          <ac:spMkLst>
            <pc:docMk/>
            <pc:sldMk cId="2097315898" sldId="3288"/>
            <ac:spMk id="31" creationId="{8D11E323-455B-76B8-DCE3-D6927B4BE089}"/>
          </ac:spMkLst>
        </pc:spChg>
        <pc:spChg chg="add del mod modVis">
          <ac:chgData name="Aurelien Domont" userId="6da7715ce44349b3" providerId="LiveId" clId="{AABA1416-4740-4FEA-A91C-A3DACBE38F86}" dt="2023-11-03T05:11:54.539" v="8926"/>
          <ac:spMkLst>
            <pc:docMk/>
            <pc:sldMk cId="2097315898" sldId="3288"/>
            <ac:spMk id="32" creationId="{150C0B4D-06BD-588F-C801-E38C71F7FA07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32" creationId="{7483EAC9-CA0F-B547-3F6B-ACB1146C339B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33" creationId="{3367180D-39F2-19D4-9600-C6DE3E395304}"/>
          </ac:spMkLst>
        </pc:spChg>
        <pc:spChg chg="add del mod modVis">
          <ac:chgData name="Aurelien Domont" userId="6da7715ce44349b3" providerId="LiveId" clId="{AABA1416-4740-4FEA-A91C-A3DACBE38F86}" dt="2023-11-03T05:11:57.266" v="8972"/>
          <ac:spMkLst>
            <pc:docMk/>
            <pc:sldMk cId="2097315898" sldId="3288"/>
            <ac:spMk id="33" creationId="{CC4815D0-42C2-69CE-5096-D05DB071E7A7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34" creationId="{3227A1FB-AF44-0C0C-E355-0095C53CD01A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35" creationId="{983DB50B-3EE9-D61B-0E6F-B9355BB4BB06}"/>
          </ac:spMkLst>
        </pc:spChg>
        <pc:spChg chg="add del mod modVis">
          <ac:chgData name="Aurelien Domont" userId="6da7715ce44349b3" providerId="LiveId" clId="{AABA1416-4740-4FEA-A91C-A3DACBE38F86}" dt="2023-11-03T05:11:59.246" v="9000"/>
          <ac:spMkLst>
            <pc:docMk/>
            <pc:sldMk cId="2097315898" sldId="3288"/>
            <ac:spMk id="35" creationId="{CE0ABC8E-14F8-CE35-ADEF-E6748DB053FB}"/>
          </ac:spMkLst>
        </pc:spChg>
        <pc:spChg chg="mod">
          <ac:chgData name="Aurelien Domont" userId="6da7715ce44349b3" providerId="LiveId" clId="{AABA1416-4740-4FEA-A91C-A3DACBE38F86}" dt="2023-11-03T04:51:06.596" v="8642" actId="947"/>
          <ac:spMkLst>
            <pc:docMk/>
            <pc:sldMk cId="2097315898" sldId="3288"/>
            <ac:spMk id="36" creationId="{53EC8E5B-4A23-1746-2240-1A6806D6F293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36" creationId="{DCD723B1-0481-C57F-BDE7-7223CC8810DB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37" creationId="{0B4D0EF3-62D3-4AF3-B1E5-812A2A32B6EB}"/>
          </ac:spMkLst>
        </pc:spChg>
        <pc:spChg chg="add del mod modVis">
          <ac:chgData name="Aurelien Domont" userId="6da7715ce44349b3" providerId="LiveId" clId="{AABA1416-4740-4FEA-A91C-A3DACBE38F86}" dt="2023-11-03T05:12:01.791" v="9034"/>
          <ac:spMkLst>
            <pc:docMk/>
            <pc:sldMk cId="2097315898" sldId="3288"/>
            <ac:spMk id="37" creationId="{55B6E331-3E19-456C-B7B3-5F6059E474C3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38" creationId="{16ADD463-D412-7346-E99F-8FD7166FAF00}"/>
          </ac:spMkLst>
        </pc:spChg>
        <pc:spChg chg="add del mod modVis">
          <ac:chgData name="Aurelien Domont" userId="6da7715ce44349b3" providerId="LiveId" clId="{AABA1416-4740-4FEA-A91C-A3DACBE38F86}" dt="2023-11-03T05:12:06.417" v="9082"/>
          <ac:spMkLst>
            <pc:docMk/>
            <pc:sldMk cId="2097315898" sldId="3288"/>
            <ac:spMk id="38" creationId="{40598AC5-4EBD-2CE0-EB26-962F14654857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39" creationId="{03C61871-C0A6-51D6-573A-4B07B28012B6}"/>
          </ac:spMkLst>
        </pc:spChg>
        <pc:spChg chg="add del mod modVis">
          <ac:chgData name="Aurelien Domont" userId="6da7715ce44349b3" providerId="LiveId" clId="{AABA1416-4740-4FEA-A91C-A3DACBE38F86}" dt="2023-11-03T05:12:08.748" v="9111"/>
          <ac:spMkLst>
            <pc:docMk/>
            <pc:sldMk cId="2097315898" sldId="3288"/>
            <ac:spMk id="39" creationId="{B4F9FBD7-7131-27FB-DA90-5CE9F86CC837}"/>
          </ac:spMkLst>
        </pc:spChg>
        <pc:spChg chg="add del mod modVis">
          <ac:chgData name="Aurelien Domont" userId="6da7715ce44349b3" providerId="LiveId" clId="{AABA1416-4740-4FEA-A91C-A3DACBE38F86}" dt="2023-11-03T05:12:18.243" v="9140"/>
          <ac:spMkLst>
            <pc:docMk/>
            <pc:sldMk cId="2097315898" sldId="3288"/>
            <ac:spMk id="40" creationId="{6E786DF8-08B2-CBC0-DCD5-DE0198A74CF9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40" creationId="{F9FA0564-2F64-434A-7EDC-69B6134659DE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41" creationId="{28BA5D6A-8499-6C16-91B2-A0A0AEB5F56A}"/>
          </ac:spMkLst>
        </pc:spChg>
        <pc:spChg chg="add del mod modVis">
          <ac:chgData name="Aurelien Domont" userId="6da7715ce44349b3" providerId="LiveId" clId="{AABA1416-4740-4FEA-A91C-A3DACBE38F86}" dt="2023-11-03T05:12:19.750" v="9173"/>
          <ac:spMkLst>
            <pc:docMk/>
            <pc:sldMk cId="2097315898" sldId="3288"/>
            <ac:spMk id="41" creationId="{67510B37-3B5B-4A75-486B-702128B267DE}"/>
          </ac:spMkLst>
        </pc:spChg>
        <pc:spChg chg="add del mod modVis">
          <ac:chgData name="Aurelien Domont" userId="6da7715ce44349b3" providerId="LiveId" clId="{AABA1416-4740-4FEA-A91C-A3DACBE38F86}" dt="2023-11-03T05:12:39.227" v="9207"/>
          <ac:spMkLst>
            <pc:docMk/>
            <pc:sldMk cId="2097315898" sldId="3288"/>
            <ac:spMk id="42" creationId="{85643B0D-F4E4-0EEA-57A1-7FEA37D97D20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42" creationId="{A1BE8585-7721-5FFE-6AF8-C45890013544}"/>
          </ac:spMkLst>
        </pc:spChg>
        <pc:spChg chg="add del mod modVis">
          <ac:chgData name="Aurelien Domont" userId="6da7715ce44349b3" providerId="LiveId" clId="{AABA1416-4740-4FEA-A91C-A3DACBE38F86}" dt="2023-11-03T05:12:41.083" v="9240"/>
          <ac:spMkLst>
            <pc:docMk/>
            <pc:sldMk cId="2097315898" sldId="3288"/>
            <ac:spMk id="43" creationId="{19F3DC13-65C3-7143-B16A-CD433E061363}"/>
          </ac:spMkLst>
        </pc:spChg>
        <pc:spChg chg="del 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43" creationId="{C1517CA5-EE60-362F-F7D7-3A81003ADF53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44" creationId="{0945E892-9E06-CD41-5796-161BC8F2D62F}"/>
          </ac:spMkLst>
        </pc:spChg>
        <pc:spChg chg="add del mod modVis">
          <ac:chgData name="Aurelien Domont" userId="6da7715ce44349b3" providerId="LiveId" clId="{AABA1416-4740-4FEA-A91C-A3DACBE38F86}" dt="2023-11-03T05:12:41.697" v="9268"/>
          <ac:spMkLst>
            <pc:docMk/>
            <pc:sldMk cId="2097315898" sldId="3288"/>
            <ac:spMk id="44" creationId="{A95B60C7-52D7-D985-478C-12ED04403439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45" creationId="{1B1BC457-D741-DFD6-EC3F-29EF1990AA55}"/>
          </ac:spMkLst>
        </pc:spChg>
        <pc:spChg chg="add del mod modVis">
          <ac:chgData name="Aurelien Domont" userId="6da7715ce44349b3" providerId="LiveId" clId="{AABA1416-4740-4FEA-A91C-A3DACBE38F86}" dt="2023-11-03T05:12:46.670" v="9306"/>
          <ac:spMkLst>
            <pc:docMk/>
            <pc:sldMk cId="2097315898" sldId="3288"/>
            <ac:spMk id="45" creationId="{F9F980AA-12F6-74F0-1322-F47CA15163F6}"/>
          </ac:spMkLst>
        </pc:spChg>
        <pc:spChg chg="mod modVis">
          <ac:chgData name="Aurelien Domont" userId="6da7715ce44349b3" providerId="LiveId" clId="{AABA1416-4740-4FEA-A91C-A3DACBE38F86}" dt="2023-11-03T05:47:04.459" v="11638" actId="478"/>
          <ac:spMkLst>
            <pc:docMk/>
            <pc:sldMk cId="2097315898" sldId="3288"/>
            <ac:spMk id="46" creationId="{4CEE7A60-84EE-0A00-510D-397B6F0A97EA}"/>
          </ac:spMkLst>
        </pc:spChg>
        <pc:spChg chg="add del mod modVis">
          <ac:chgData name="Aurelien Domont" userId="6da7715ce44349b3" providerId="LiveId" clId="{AABA1416-4740-4FEA-A91C-A3DACBE38F86}" dt="2023-11-03T05:12:46.876" v="9334"/>
          <ac:spMkLst>
            <pc:docMk/>
            <pc:sldMk cId="2097315898" sldId="3288"/>
            <ac:spMk id="46" creationId="{7112B156-B555-C8E3-285A-D27817F270FA}"/>
          </ac:spMkLst>
        </pc:spChg>
        <pc:spChg chg="del mod modVis">
          <ac:chgData name="Aurelien Domont" userId="6da7715ce44349b3" providerId="LiveId" clId="{AABA1416-4740-4FEA-A91C-A3DACBE38F86}" dt="2023-11-03T05:47:02.033" v="11637" actId="478"/>
          <ac:spMkLst>
            <pc:docMk/>
            <pc:sldMk cId="2097315898" sldId="3288"/>
            <ac:spMk id="47" creationId="{AC0756D6-ECD6-9183-8AD1-7B2AB9891FF5}"/>
          </ac:spMkLst>
        </pc:spChg>
        <pc:spChg chg="add del mod modVis">
          <ac:chgData name="Aurelien Domont" userId="6da7715ce44349b3" providerId="LiveId" clId="{AABA1416-4740-4FEA-A91C-A3DACBE38F86}" dt="2023-11-03T05:12:48.132" v="9364"/>
          <ac:spMkLst>
            <pc:docMk/>
            <pc:sldMk cId="2097315898" sldId="3288"/>
            <ac:spMk id="47" creationId="{E7628B82-2EAB-F8E0-266D-1D5FC198769C}"/>
          </ac:spMkLst>
        </pc:spChg>
        <pc:spChg chg="add del mod modVis">
          <ac:chgData name="Aurelien Domont" userId="6da7715ce44349b3" providerId="LiveId" clId="{AABA1416-4740-4FEA-A91C-A3DACBE38F86}" dt="2023-11-03T05:12:49.452" v="9393"/>
          <ac:spMkLst>
            <pc:docMk/>
            <pc:sldMk cId="2097315898" sldId="3288"/>
            <ac:spMk id="48" creationId="{DEED45AA-1A11-62BF-8373-0608DC9B3BEE}"/>
          </ac:spMkLst>
        </pc:spChg>
        <pc:spChg chg="add del mod modVis">
          <ac:chgData name="Aurelien Domont" userId="6da7715ce44349b3" providerId="LiveId" clId="{AABA1416-4740-4FEA-A91C-A3DACBE38F86}" dt="2023-11-03T05:12:50.661" v="9423"/>
          <ac:spMkLst>
            <pc:docMk/>
            <pc:sldMk cId="2097315898" sldId="3288"/>
            <ac:spMk id="49" creationId="{0BB23824-B3A2-F9B6-7C52-EB928EDDC5EA}"/>
          </ac:spMkLst>
        </pc:spChg>
        <pc:spChg chg="add del mod modVis">
          <ac:chgData name="Aurelien Domont" userId="6da7715ce44349b3" providerId="LiveId" clId="{AABA1416-4740-4FEA-A91C-A3DACBE38F86}" dt="2023-11-03T05:12:54.823" v="9468"/>
          <ac:spMkLst>
            <pc:docMk/>
            <pc:sldMk cId="2097315898" sldId="3288"/>
            <ac:spMk id="50" creationId="{6BAD42C6-1378-3817-EF43-9117C5C026E8}"/>
          </ac:spMkLst>
        </pc:spChg>
        <pc:spChg chg="add del mod modVis">
          <ac:chgData name="Aurelien Domont" userId="6da7715ce44349b3" providerId="LiveId" clId="{AABA1416-4740-4FEA-A91C-A3DACBE38F86}" dt="2023-11-03T05:12:55.859" v="9498"/>
          <ac:spMkLst>
            <pc:docMk/>
            <pc:sldMk cId="2097315898" sldId="3288"/>
            <ac:spMk id="51" creationId="{62CF9EF0-774E-21FC-BF3E-4BCBA1193DDB}"/>
          </ac:spMkLst>
        </pc:spChg>
        <pc:spChg chg="add del mod modVis">
          <ac:chgData name="Aurelien Domont" userId="6da7715ce44349b3" providerId="LiveId" clId="{AABA1416-4740-4FEA-A91C-A3DACBE38F86}" dt="2023-11-03T05:12:56.535" v="9528"/>
          <ac:spMkLst>
            <pc:docMk/>
            <pc:sldMk cId="2097315898" sldId="3288"/>
            <ac:spMk id="52" creationId="{172F85AE-75B6-E8A1-58BA-F6A74E78548A}"/>
          </ac:spMkLst>
        </pc:spChg>
        <pc:spChg chg="add del mod modVis">
          <ac:chgData name="Aurelien Domont" userId="6da7715ce44349b3" providerId="LiveId" clId="{AABA1416-4740-4FEA-A91C-A3DACBE38F86}" dt="2023-11-03T05:12:58.231" v="9560"/>
          <ac:spMkLst>
            <pc:docMk/>
            <pc:sldMk cId="2097315898" sldId="3288"/>
            <ac:spMk id="53" creationId="{CDFEDC37-B735-24F9-5AAB-25BFB21BA381}"/>
          </ac:spMkLst>
        </pc:spChg>
        <pc:spChg chg="add del mod modVis">
          <ac:chgData name="Aurelien Domont" userId="6da7715ce44349b3" providerId="LiveId" clId="{AABA1416-4740-4FEA-A91C-A3DACBE38F86}" dt="2023-11-03T05:13:00.698" v="9588"/>
          <ac:spMkLst>
            <pc:docMk/>
            <pc:sldMk cId="2097315898" sldId="3288"/>
            <ac:spMk id="54" creationId="{91CC13A5-B660-2D56-E271-A0DD5F77B3DC}"/>
          </ac:spMkLst>
        </pc:spChg>
        <pc:spChg chg="add del mod modVis">
          <ac:chgData name="Aurelien Domont" userId="6da7715ce44349b3" providerId="LiveId" clId="{AABA1416-4740-4FEA-A91C-A3DACBE38F86}" dt="2023-11-03T05:13:02.018" v="9616"/>
          <ac:spMkLst>
            <pc:docMk/>
            <pc:sldMk cId="2097315898" sldId="3288"/>
            <ac:spMk id="55" creationId="{0AE01085-3535-C6E1-B1E3-C288F3806947}"/>
          </ac:spMkLst>
        </pc:spChg>
        <pc:spChg chg="add del mod modVis">
          <ac:chgData name="Aurelien Domont" userId="6da7715ce44349b3" providerId="LiveId" clId="{AABA1416-4740-4FEA-A91C-A3DACBE38F86}" dt="2023-11-03T05:13:03.627" v="9644"/>
          <ac:spMkLst>
            <pc:docMk/>
            <pc:sldMk cId="2097315898" sldId="3288"/>
            <ac:spMk id="56" creationId="{75C0DD72-0121-DCD7-A61F-59CB81E7EE63}"/>
          </ac:spMkLst>
        </pc:spChg>
        <pc:spChg chg="add del mod modVis">
          <ac:chgData name="Aurelien Domont" userId="6da7715ce44349b3" providerId="LiveId" clId="{AABA1416-4740-4FEA-A91C-A3DACBE38F86}" dt="2023-11-03T05:13:05.533" v="9675"/>
          <ac:spMkLst>
            <pc:docMk/>
            <pc:sldMk cId="2097315898" sldId="3288"/>
            <ac:spMk id="57" creationId="{D9A79BB3-62D0-E324-4C53-BBE2ED02F342}"/>
          </ac:spMkLst>
        </pc:spChg>
        <pc:spChg chg="add del mod modVis">
          <ac:chgData name="Aurelien Domont" userId="6da7715ce44349b3" providerId="LiveId" clId="{AABA1416-4740-4FEA-A91C-A3DACBE38F86}" dt="2023-11-03T05:13:07.099" v="9703"/>
          <ac:spMkLst>
            <pc:docMk/>
            <pc:sldMk cId="2097315898" sldId="3288"/>
            <ac:spMk id="58" creationId="{7F299F6A-B3A0-339C-EC61-C94878557C43}"/>
          </ac:spMkLst>
        </pc:spChg>
        <pc:spChg chg="add del mod modVis">
          <ac:chgData name="Aurelien Domont" userId="6da7715ce44349b3" providerId="LiveId" clId="{AABA1416-4740-4FEA-A91C-A3DACBE38F86}" dt="2023-11-03T05:13:13.909" v="9732"/>
          <ac:spMkLst>
            <pc:docMk/>
            <pc:sldMk cId="2097315898" sldId="3288"/>
            <ac:spMk id="59" creationId="{44D1DD27-FA31-1A4E-141D-133447D3868D}"/>
          </ac:spMkLst>
        </pc:spChg>
        <pc:spChg chg="add del mod modVis">
          <ac:chgData name="Aurelien Domont" userId="6da7715ce44349b3" providerId="LiveId" clId="{AABA1416-4740-4FEA-A91C-A3DACBE38F86}" dt="2023-11-03T05:14:05.493" v="9769"/>
          <ac:spMkLst>
            <pc:docMk/>
            <pc:sldMk cId="2097315898" sldId="3288"/>
            <ac:spMk id="60" creationId="{BA25E60C-2443-2BE4-DADF-FB815BBB777B}"/>
          </ac:spMkLst>
        </pc:spChg>
        <pc:spChg chg="add del mod modVis">
          <ac:chgData name="Aurelien Domont" userId="6da7715ce44349b3" providerId="LiveId" clId="{AABA1416-4740-4FEA-A91C-A3DACBE38F86}" dt="2023-11-03T05:14:06.909" v="9801"/>
          <ac:spMkLst>
            <pc:docMk/>
            <pc:sldMk cId="2097315898" sldId="3288"/>
            <ac:spMk id="61" creationId="{52F74C1D-7360-964B-2DFA-3489FE4A025A}"/>
          </ac:spMkLst>
        </pc:spChg>
        <pc:spChg chg="add del mod modVis">
          <ac:chgData name="Aurelien Domont" userId="6da7715ce44349b3" providerId="LiveId" clId="{AABA1416-4740-4FEA-A91C-A3DACBE38F86}" dt="2023-11-03T05:14:08.591" v="9837"/>
          <ac:spMkLst>
            <pc:docMk/>
            <pc:sldMk cId="2097315898" sldId="3288"/>
            <ac:spMk id="62" creationId="{97DCF3BC-8CC2-6793-CC6B-7A5F838EF98A}"/>
          </ac:spMkLst>
        </pc:spChg>
        <pc:spChg chg="add del mod modVis">
          <ac:chgData name="Aurelien Domont" userId="6da7715ce44349b3" providerId="LiveId" clId="{AABA1416-4740-4FEA-A91C-A3DACBE38F86}" dt="2023-11-03T05:14:11.735" v="9870"/>
          <ac:spMkLst>
            <pc:docMk/>
            <pc:sldMk cId="2097315898" sldId="3288"/>
            <ac:spMk id="63" creationId="{E10ABDD6-E243-638D-51AD-A9FD154726C0}"/>
          </ac:spMkLst>
        </pc:spChg>
        <pc:spChg chg="add del mod modVis">
          <ac:chgData name="Aurelien Domont" userId="6da7715ce44349b3" providerId="LiveId" clId="{AABA1416-4740-4FEA-A91C-A3DACBE38F86}" dt="2023-11-03T05:14:14.906" v="9898"/>
          <ac:spMkLst>
            <pc:docMk/>
            <pc:sldMk cId="2097315898" sldId="3288"/>
            <ac:spMk id="64" creationId="{2A1DBC13-3BC3-D17F-5AB8-7695DB0CF06E}"/>
          </ac:spMkLst>
        </pc:spChg>
        <pc:spChg chg="add del mod modVis">
          <ac:chgData name="Aurelien Domont" userId="6da7715ce44349b3" providerId="LiveId" clId="{AABA1416-4740-4FEA-A91C-A3DACBE38F86}" dt="2023-11-03T05:14:42.947" v="9943"/>
          <ac:spMkLst>
            <pc:docMk/>
            <pc:sldMk cId="2097315898" sldId="3288"/>
            <ac:spMk id="65" creationId="{05E241C7-A535-4995-FAAF-F2797F50D5BE}"/>
          </ac:spMkLst>
        </pc:spChg>
        <pc:spChg chg="add del mod modVis">
          <ac:chgData name="Aurelien Domont" userId="6da7715ce44349b3" providerId="LiveId" clId="{AABA1416-4740-4FEA-A91C-A3DACBE38F86}" dt="2023-11-03T05:14:45.621" v="9982"/>
          <ac:spMkLst>
            <pc:docMk/>
            <pc:sldMk cId="2097315898" sldId="3288"/>
            <ac:spMk id="66" creationId="{F188CC85-8021-AA88-6C16-FF771C2C2D64}"/>
          </ac:spMkLst>
        </pc:spChg>
        <pc:spChg chg="add del mod modVis">
          <ac:chgData name="Aurelien Domont" userId="6da7715ce44349b3" providerId="LiveId" clId="{AABA1416-4740-4FEA-A91C-A3DACBE38F86}" dt="2023-11-03T05:15:01.580" v="10026"/>
          <ac:spMkLst>
            <pc:docMk/>
            <pc:sldMk cId="2097315898" sldId="3288"/>
            <ac:spMk id="67" creationId="{06B294F8-072F-9B6E-EAFB-611BCD800B68}"/>
          </ac:spMkLst>
        </pc:spChg>
        <pc:spChg chg="add del mod modVis">
          <ac:chgData name="Aurelien Domont" userId="6da7715ce44349b3" providerId="LiveId" clId="{AABA1416-4740-4FEA-A91C-A3DACBE38F86}" dt="2023-11-03T05:15:03.997" v="10062"/>
          <ac:spMkLst>
            <pc:docMk/>
            <pc:sldMk cId="2097315898" sldId="3288"/>
            <ac:spMk id="68" creationId="{C9104190-B099-FE6E-D591-ABE5D503BC70}"/>
          </ac:spMkLst>
        </pc:spChg>
        <pc:spChg chg="add del mod modVis">
          <ac:chgData name="Aurelien Domont" userId="6da7715ce44349b3" providerId="LiveId" clId="{AABA1416-4740-4FEA-A91C-A3DACBE38F86}" dt="2023-11-03T05:15:04.892" v="10102"/>
          <ac:spMkLst>
            <pc:docMk/>
            <pc:sldMk cId="2097315898" sldId="3288"/>
            <ac:spMk id="69" creationId="{CD538DA5-7242-89B6-7D54-828B386A6B08}"/>
          </ac:spMkLst>
        </pc:spChg>
        <pc:spChg chg="add del mod modVis">
          <ac:chgData name="Aurelien Domont" userId="6da7715ce44349b3" providerId="LiveId" clId="{AABA1416-4740-4FEA-A91C-A3DACBE38F86}" dt="2023-11-03T05:15:10.919" v="10132"/>
          <ac:spMkLst>
            <pc:docMk/>
            <pc:sldMk cId="2097315898" sldId="3288"/>
            <ac:spMk id="70" creationId="{06842A54-CDA8-0F79-C829-DF725DD06A2C}"/>
          </ac:spMkLst>
        </pc:spChg>
        <pc:spChg chg="add del mod modVis">
          <ac:chgData name="Aurelien Domont" userId="6da7715ce44349b3" providerId="LiveId" clId="{AABA1416-4740-4FEA-A91C-A3DACBE38F86}" dt="2023-11-03T05:15:13.756" v="10160"/>
          <ac:spMkLst>
            <pc:docMk/>
            <pc:sldMk cId="2097315898" sldId="3288"/>
            <ac:spMk id="71" creationId="{9C0EBC48-8D3D-3095-2714-2AB8169E23EF}"/>
          </ac:spMkLst>
        </pc:spChg>
        <pc:spChg chg="add del mod modVis">
          <ac:chgData name="Aurelien Domont" userId="6da7715ce44349b3" providerId="LiveId" clId="{AABA1416-4740-4FEA-A91C-A3DACBE38F86}" dt="2023-11-03T05:15:30.938" v="10203"/>
          <ac:spMkLst>
            <pc:docMk/>
            <pc:sldMk cId="2097315898" sldId="3288"/>
            <ac:spMk id="72" creationId="{2E00B6C0-D453-D277-C257-6A7A633FDAB8}"/>
          </ac:spMkLst>
        </pc:spChg>
        <pc:spChg chg="add del mod modVis">
          <ac:chgData name="Aurelien Domont" userId="6da7715ce44349b3" providerId="LiveId" clId="{AABA1416-4740-4FEA-A91C-A3DACBE38F86}" dt="2023-11-03T05:15:41.287" v="10232"/>
          <ac:spMkLst>
            <pc:docMk/>
            <pc:sldMk cId="2097315898" sldId="3288"/>
            <ac:spMk id="73" creationId="{BAE7E6E1-9840-4984-EAFC-8F276A514BFF}"/>
          </ac:spMkLst>
        </pc:spChg>
        <pc:spChg chg="add del mod modVis">
          <ac:chgData name="Aurelien Domont" userId="6da7715ce44349b3" providerId="LiveId" clId="{AABA1416-4740-4FEA-A91C-A3DACBE38F86}" dt="2023-11-03T05:15:55.076" v="10289"/>
          <ac:spMkLst>
            <pc:docMk/>
            <pc:sldMk cId="2097315898" sldId="3288"/>
            <ac:spMk id="74" creationId="{1C403977-5C0A-ACE5-65B9-02C4B8BB5FC4}"/>
          </ac:spMkLst>
        </pc:spChg>
        <pc:spChg chg="add del mod modVis">
          <ac:chgData name="Aurelien Domont" userId="6da7715ce44349b3" providerId="LiveId" clId="{AABA1416-4740-4FEA-A91C-A3DACBE38F86}" dt="2023-11-03T05:15:58.045" v="10319"/>
          <ac:spMkLst>
            <pc:docMk/>
            <pc:sldMk cId="2097315898" sldId="3288"/>
            <ac:spMk id="75" creationId="{DA16436C-B297-B56A-E588-15CA262794AC}"/>
          </ac:spMkLst>
        </pc:spChg>
        <pc:spChg chg="add del mod modVis">
          <ac:chgData name="Aurelien Domont" userId="6da7715ce44349b3" providerId="LiveId" clId="{AABA1416-4740-4FEA-A91C-A3DACBE38F86}" dt="2023-11-03T05:16:00.528" v="10357"/>
          <ac:spMkLst>
            <pc:docMk/>
            <pc:sldMk cId="2097315898" sldId="3288"/>
            <ac:spMk id="76" creationId="{781914AC-BFBD-951C-8D99-684D42FA99E7}"/>
          </ac:spMkLst>
        </pc:spChg>
        <pc:spChg chg="add del mod modVis">
          <ac:chgData name="Aurelien Domont" userId="6da7715ce44349b3" providerId="LiveId" clId="{AABA1416-4740-4FEA-A91C-A3DACBE38F86}" dt="2023-11-03T05:16:16.116" v="10385"/>
          <ac:spMkLst>
            <pc:docMk/>
            <pc:sldMk cId="2097315898" sldId="3288"/>
            <ac:spMk id="77" creationId="{281D6E92-26BE-84D4-3520-628B8F3F3035}"/>
          </ac:spMkLst>
        </pc:spChg>
        <pc:spChg chg="add del mod modVis">
          <ac:chgData name="Aurelien Domont" userId="6da7715ce44349b3" providerId="LiveId" clId="{AABA1416-4740-4FEA-A91C-A3DACBE38F86}" dt="2023-11-03T05:16:19.079" v="10419"/>
          <ac:spMkLst>
            <pc:docMk/>
            <pc:sldMk cId="2097315898" sldId="3288"/>
            <ac:spMk id="78" creationId="{1E1BC8E7-3CED-0437-E0BD-172A58244965}"/>
          </ac:spMkLst>
        </pc:spChg>
        <pc:spChg chg="add del mod modVis">
          <ac:chgData name="Aurelien Domont" userId="6da7715ce44349b3" providerId="LiveId" clId="{AABA1416-4740-4FEA-A91C-A3DACBE38F86}" dt="2023-11-03T05:16:33.108" v="10467"/>
          <ac:spMkLst>
            <pc:docMk/>
            <pc:sldMk cId="2097315898" sldId="3288"/>
            <ac:spMk id="79" creationId="{4192ED42-3B3D-6358-DB15-9B4371CD6BB5}"/>
          </ac:spMkLst>
        </pc:spChg>
        <pc:spChg chg="add del mod modVis">
          <ac:chgData name="Aurelien Domont" userId="6da7715ce44349b3" providerId="LiveId" clId="{AABA1416-4740-4FEA-A91C-A3DACBE38F86}" dt="2023-11-03T05:16:33.784" v="10495"/>
          <ac:spMkLst>
            <pc:docMk/>
            <pc:sldMk cId="2097315898" sldId="3288"/>
            <ac:spMk id="80" creationId="{1900075D-1FA4-36B6-A9CA-B8B5AF2D1785}"/>
          </ac:spMkLst>
        </pc:spChg>
        <pc:spChg chg="add del mod modVis">
          <ac:chgData name="Aurelien Domont" userId="6da7715ce44349b3" providerId="LiveId" clId="{AABA1416-4740-4FEA-A91C-A3DACBE38F86}" dt="2023-11-03T05:16:34.224" v="10523"/>
          <ac:spMkLst>
            <pc:docMk/>
            <pc:sldMk cId="2097315898" sldId="3288"/>
            <ac:spMk id="81" creationId="{C73243A9-252F-A179-48A0-9299DF5B3878}"/>
          </ac:spMkLst>
        </pc:spChg>
        <pc:spChg chg="add del mod modVis">
          <ac:chgData name="Aurelien Domont" userId="6da7715ce44349b3" providerId="LiveId" clId="{AABA1416-4740-4FEA-A91C-A3DACBE38F86}" dt="2023-11-03T05:16:38.991" v="10572"/>
          <ac:spMkLst>
            <pc:docMk/>
            <pc:sldMk cId="2097315898" sldId="3288"/>
            <ac:spMk id="82" creationId="{4AF6117A-2AE7-6DEB-B53C-6D6C683B46EB}"/>
          </ac:spMkLst>
        </pc:spChg>
        <pc:spChg chg="add del mod modVis">
          <ac:chgData name="Aurelien Domont" userId="6da7715ce44349b3" providerId="LiveId" clId="{AABA1416-4740-4FEA-A91C-A3DACBE38F86}" dt="2023-11-03T05:16:39.761" v="10603"/>
          <ac:spMkLst>
            <pc:docMk/>
            <pc:sldMk cId="2097315898" sldId="3288"/>
            <ac:spMk id="83" creationId="{E26ECA56-5F5B-64FB-8DBB-04534D35380F}"/>
          </ac:spMkLst>
        </pc:spChg>
        <pc:spChg chg="add del mod modVis">
          <ac:chgData name="Aurelien Domont" userId="6da7715ce44349b3" providerId="LiveId" clId="{AABA1416-4740-4FEA-A91C-A3DACBE38F86}" dt="2023-11-03T05:16:41.379" v="10656" actId="962"/>
          <ac:spMkLst>
            <pc:docMk/>
            <pc:sldMk cId="2097315898" sldId="3288"/>
            <ac:spMk id="84" creationId="{B58B20E6-A8B4-A53E-39EC-90FFB245D075}"/>
          </ac:spMkLst>
        </pc:spChg>
        <pc:spChg chg="add del mod modVis">
          <ac:chgData name="Aurelien Domont" userId="6da7715ce44349b3" providerId="LiveId" clId="{AABA1416-4740-4FEA-A91C-A3DACBE38F86}" dt="2023-11-03T05:17:04.620" v="10686"/>
          <ac:spMkLst>
            <pc:docMk/>
            <pc:sldMk cId="2097315898" sldId="3288"/>
            <ac:spMk id="85" creationId="{C21E2A86-A433-AF08-CAF5-4E3F8690D852}"/>
          </ac:spMkLst>
        </pc:spChg>
        <pc:spChg chg="add del mod modVis">
          <ac:chgData name="Aurelien Domont" userId="6da7715ce44349b3" providerId="LiveId" clId="{AABA1416-4740-4FEA-A91C-A3DACBE38F86}" dt="2023-11-03T05:17:10.487" v="10717"/>
          <ac:spMkLst>
            <pc:docMk/>
            <pc:sldMk cId="2097315898" sldId="3288"/>
            <ac:spMk id="86" creationId="{4ED41542-8C15-EEF2-1875-F5FF798DA070}"/>
          </ac:spMkLst>
        </pc:spChg>
        <pc:spChg chg="add del mod modVis">
          <ac:chgData name="Aurelien Domont" userId="6da7715ce44349b3" providerId="LiveId" clId="{AABA1416-4740-4FEA-A91C-A3DACBE38F86}" dt="2023-11-03T05:17:12.689" v="10747"/>
          <ac:spMkLst>
            <pc:docMk/>
            <pc:sldMk cId="2097315898" sldId="3288"/>
            <ac:spMk id="87" creationId="{BAF8E8E9-EA10-FB82-527B-CB506E70F8CE}"/>
          </ac:spMkLst>
        </pc:spChg>
        <pc:spChg chg="add del mod modVis">
          <ac:chgData name="Aurelien Domont" userId="6da7715ce44349b3" providerId="LiveId" clId="{AABA1416-4740-4FEA-A91C-A3DACBE38F86}" dt="2023-11-03T05:17:17.954" v="10801"/>
          <ac:spMkLst>
            <pc:docMk/>
            <pc:sldMk cId="2097315898" sldId="3288"/>
            <ac:spMk id="88" creationId="{E7EF6A70-2698-4744-034C-D6D0B9FDD83F}"/>
          </ac:spMkLst>
        </pc:spChg>
        <pc:spChg chg="add del mod modVis">
          <ac:chgData name="Aurelien Domont" userId="6da7715ce44349b3" providerId="LiveId" clId="{AABA1416-4740-4FEA-A91C-A3DACBE38F86}" dt="2023-11-03T05:17:19.792" v="10838"/>
          <ac:spMkLst>
            <pc:docMk/>
            <pc:sldMk cId="2097315898" sldId="3288"/>
            <ac:spMk id="89" creationId="{7093B64B-2E69-10FF-89B6-2C4859D9CD52}"/>
          </ac:spMkLst>
        </pc:spChg>
        <pc:spChg chg="add del mod modVis">
          <ac:chgData name="Aurelien Domont" userId="6da7715ce44349b3" providerId="LiveId" clId="{AABA1416-4740-4FEA-A91C-A3DACBE38F86}" dt="2023-11-03T05:18:00.878" v="10866"/>
          <ac:spMkLst>
            <pc:docMk/>
            <pc:sldMk cId="2097315898" sldId="3288"/>
            <ac:spMk id="90" creationId="{D7052369-AA7B-3F30-B7B6-107556EF9993}"/>
          </ac:spMkLst>
        </pc:spChg>
        <pc:spChg chg="add del mod modVis">
          <ac:chgData name="Aurelien Domont" userId="6da7715ce44349b3" providerId="LiveId" clId="{AABA1416-4740-4FEA-A91C-A3DACBE38F86}" dt="2023-11-03T05:18:02.264" v="10894"/>
          <ac:spMkLst>
            <pc:docMk/>
            <pc:sldMk cId="2097315898" sldId="3288"/>
            <ac:spMk id="91" creationId="{57C469F7-4FB8-C5D4-22FB-2346614E673A}"/>
          </ac:spMkLst>
        </pc:spChg>
        <pc:grpChg chg="add del mod modVis">
          <ac:chgData name="Aurelien Domont" userId="6da7715ce44349b3" providerId="LiveId" clId="{AABA1416-4740-4FEA-A91C-A3DACBE38F86}" dt="2023-11-07T22:39:07.056" v="12766"/>
          <ac:grpSpMkLst>
            <pc:docMk/>
            <pc:sldMk cId="2097315898" sldId="3288"/>
            <ac:grpSpMk id="3" creationId="{859BDFF5-01A1-34A7-D2D5-12A776D56D80}"/>
          </ac:grpSpMkLst>
        </pc:grpChg>
        <pc:grpChg chg="add del mod modVis">
          <ac:chgData name="Aurelien Domont" userId="6da7715ce44349b3" providerId="LiveId" clId="{AABA1416-4740-4FEA-A91C-A3DACBE38F86}" dt="2023-11-03T05:47:16.340" v="11645" actId="478"/>
          <ac:grpSpMkLst>
            <pc:docMk/>
            <pc:sldMk cId="2097315898" sldId="3288"/>
            <ac:grpSpMk id="4" creationId="{EBD5E738-194E-8977-51D6-D88B3EA68BD6}"/>
          </ac:grpSpMkLst>
        </pc:grpChg>
        <pc:grpChg chg="add del mod">
          <ac:chgData name="Aurelien Domont" userId="6da7715ce44349b3" providerId="LiveId" clId="{AABA1416-4740-4FEA-A91C-A3DACBE38F86}" dt="2023-11-07T22:39:09.587" v="12777" actId="478"/>
          <ac:grpSpMkLst>
            <pc:docMk/>
            <pc:sldMk cId="2097315898" sldId="3288"/>
            <ac:grpSpMk id="9" creationId="{C40A0C5E-0733-F0DC-E506-7324B81722DF}"/>
          </ac:grpSpMkLst>
        </pc:grpChg>
        <pc:grpChg chg="add mod replST">
          <ac:chgData name="Aurelien Domont" userId="6da7715ce44349b3" providerId="LiveId" clId="{AABA1416-4740-4FEA-A91C-A3DACBE38F86}" dt="2023-11-07T22:39:13.394" v="12778" actId="1076"/>
          <ac:grpSpMkLst>
            <pc:docMk/>
            <pc:sldMk cId="2097315898" sldId="3288"/>
            <ac:grpSpMk id="12" creationId="{515F16AA-2230-4A64-5D97-6DFB991C8C66}"/>
          </ac:grpSpMkLst>
        </pc:grpChg>
        <pc:grpChg chg="add del mod modVis">
          <ac:chgData name="Aurelien Domont" userId="6da7715ce44349b3" providerId="LiveId" clId="{AABA1416-4740-4FEA-A91C-A3DACBE38F86}" dt="2023-11-03T05:47:04.820" v="11639" actId="478"/>
          <ac:grpSpMkLst>
            <pc:docMk/>
            <pc:sldMk cId="2097315898" sldId="3288"/>
            <ac:grpSpMk id="28" creationId="{4070E822-7FFD-09ED-BFC4-B7889AEC54DA}"/>
          </ac:grpSpMkLst>
        </pc:grpChg>
        <pc:graphicFrameChg chg="mod">
          <ac:chgData name="Aurelien Domont" userId="6da7715ce44349b3" providerId="LiveId" clId="{AABA1416-4740-4FEA-A91C-A3DACBE38F86}" dt="2023-11-05T22:32:24.236" v="12122"/>
          <ac:graphicFrameMkLst>
            <pc:docMk/>
            <pc:sldMk cId="2097315898" sldId="3288"/>
            <ac:graphicFrameMk id="6" creationId="{F5887244-1866-E102-5FD5-79FA1304146D}"/>
          </ac:graphicFrameMkLst>
        </pc:graphicFrameChg>
        <pc:picChg chg="add mod">
          <ac:chgData name="Aurelien Domont" userId="6da7715ce44349b3" providerId="LiveId" clId="{AABA1416-4740-4FEA-A91C-A3DACBE38F86}" dt="2023-11-03T05:10:49.106" v="8870" actId="1036"/>
          <ac:picMkLst>
            <pc:docMk/>
            <pc:sldMk cId="2097315898" sldId="3288"/>
            <ac:picMk id="5" creationId="{26CB25D6-E336-2693-E7E3-2FCC6B9AE02E}"/>
          </ac:picMkLst>
        </pc:picChg>
        <pc:picChg chg="del">
          <ac:chgData name="Aurelien Domont" userId="6da7715ce44349b3" providerId="LiveId" clId="{AABA1416-4740-4FEA-A91C-A3DACBE38F86}" dt="2023-11-03T04:46:28.010" v="6559" actId="478"/>
          <ac:picMkLst>
            <pc:docMk/>
            <pc:sldMk cId="2097315898" sldId="3288"/>
            <ac:picMk id="7" creationId="{3BB53541-0F6E-E47E-20DD-ECB87EE2A160}"/>
          </ac:picMkLst>
        </pc:picChg>
        <pc:picChg chg="add mod">
          <ac:chgData name="Aurelien Domont" userId="6da7715ce44349b3" providerId="LiveId" clId="{AABA1416-4740-4FEA-A91C-A3DACBE38F86}" dt="2023-11-03T05:10:49.106" v="8870" actId="1036"/>
          <ac:picMkLst>
            <pc:docMk/>
            <pc:sldMk cId="2097315898" sldId="3288"/>
            <ac:picMk id="8" creationId="{99A1FB12-03AC-A707-CE5A-978531CE93E4}"/>
          </ac:picMkLst>
        </pc:picChg>
        <pc:picChg chg="del">
          <ac:chgData name="Aurelien Domont" userId="6da7715ce44349b3" providerId="LiveId" clId="{AABA1416-4740-4FEA-A91C-A3DACBE38F86}" dt="2023-11-03T04:46:28.010" v="6559" actId="478"/>
          <ac:picMkLst>
            <pc:docMk/>
            <pc:sldMk cId="2097315898" sldId="3288"/>
            <ac:picMk id="10" creationId="{7C5DDFDC-6A4C-E3C7-7F3A-7F08C2CCCF55}"/>
          </ac:picMkLst>
        </pc:picChg>
        <pc:picChg chg="del">
          <ac:chgData name="Aurelien Domont" userId="6da7715ce44349b3" providerId="LiveId" clId="{AABA1416-4740-4FEA-A91C-A3DACBE38F86}" dt="2023-11-03T04:46:28.010" v="6559" actId="478"/>
          <ac:picMkLst>
            <pc:docMk/>
            <pc:sldMk cId="2097315898" sldId="3288"/>
            <ac:picMk id="11" creationId="{7AF6EA4A-FE6D-73F5-F307-C55457C7DDBB}"/>
          </ac:picMkLst>
        </pc:picChg>
        <pc:picChg chg="del">
          <ac:chgData name="Aurelien Domont" userId="6da7715ce44349b3" providerId="LiveId" clId="{AABA1416-4740-4FEA-A91C-A3DACBE38F86}" dt="2023-11-03T04:46:28.010" v="6559" actId="478"/>
          <ac:picMkLst>
            <pc:docMk/>
            <pc:sldMk cId="2097315898" sldId="3288"/>
            <ac:picMk id="13" creationId="{D51C5866-92AD-1085-5C5D-B9BCA46401A1}"/>
          </ac:picMkLst>
        </pc:picChg>
        <pc:picChg chg="del">
          <ac:chgData name="Aurelien Domont" userId="6da7715ce44349b3" providerId="LiveId" clId="{AABA1416-4740-4FEA-A91C-A3DACBE38F86}" dt="2023-11-03T04:46:28.010" v="6559" actId="478"/>
          <ac:picMkLst>
            <pc:docMk/>
            <pc:sldMk cId="2097315898" sldId="3288"/>
            <ac:picMk id="21" creationId="{55C0EEEA-D196-5D4A-0E6C-48562BA818D4}"/>
          </ac:picMkLst>
        </pc:picChg>
        <pc:picChg chg="del">
          <ac:chgData name="Aurelien Domont" userId="6da7715ce44349b3" providerId="LiveId" clId="{AABA1416-4740-4FEA-A91C-A3DACBE38F86}" dt="2023-11-03T04:46:28.010" v="6559" actId="478"/>
          <ac:picMkLst>
            <pc:docMk/>
            <pc:sldMk cId="2097315898" sldId="3288"/>
            <ac:picMk id="22" creationId="{A505F267-E3B5-4559-8DBB-D387D74271CB}"/>
          </ac:picMkLst>
        </pc:picChg>
        <pc:picChg chg="del">
          <ac:chgData name="Aurelien Domont" userId="6da7715ce44349b3" providerId="LiveId" clId="{AABA1416-4740-4FEA-A91C-A3DACBE38F86}" dt="2023-11-03T04:46:28.010" v="6559" actId="478"/>
          <ac:picMkLst>
            <pc:docMk/>
            <pc:sldMk cId="2097315898" sldId="3288"/>
            <ac:picMk id="24" creationId="{C3E08E48-91DC-4C1F-99DB-2B28D33A03AF}"/>
          </ac:picMkLst>
        </pc:picChg>
        <pc:picChg chg="del">
          <ac:chgData name="Aurelien Domont" userId="6da7715ce44349b3" providerId="LiveId" clId="{AABA1416-4740-4FEA-A91C-A3DACBE38F86}" dt="2023-11-03T04:46:28.010" v="6559" actId="478"/>
          <ac:picMkLst>
            <pc:docMk/>
            <pc:sldMk cId="2097315898" sldId="3288"/>
            <ac:picMk id="26" creationId="{7A75B4F6-CBD2-AFDD-8991-B16AC612FD2B}"/>
          </ac:picMkLst>
        </pc:picChg>
        <pc:picChg chg="del">
          <ac:chgData name="Aurelien Domont" userId="6da7715ce44349b3" providerId="LiveId" clId="{AABA1416-4740-4FEA-A91C-A3DACBE38F86}" dt="2023-11-03T04:46:28.010" v="6559" actId="478"/>
          <ac:picMkLst>
            <pc:docMk/>
            <pc:sldMk cId="2097315898" sldId="3288"/>
            <ac:picMk id="28" creationId="{570D065C-7397-1F30-84E3-E02A480D7274}"/>
          </ac:picMkLst>
        </pc:picChg>
        <pc:picChg chg="del">
          <ac:chgData name="Aurelien Domont" userId="6da7715ce44349b3" providerId="LiveId" clId="{AABA1416-4740-4FEA-A91C-A3DACBE38F86}" dt="2023-11-03T04:46:28.010" v="6559" actId="478"/>
          <ac:picMkLst>
            <pc:docMk/>
            <pc:sldMk cId="2097315898" sldId="3288"/>
            <ac:picMk id="34" creationId="{0549FF7A-8D13-423D-C545-02DEB5BD3906}"/>
          </ac:picMkLst>
        </pc:picChg>
      </pc:sldChg>
      <pc:sldChg chg="modSp add mod">
        <pc:chgData name="Aurelien Domont" userId="6da7715ce44349b3" providerId="LiveId" clId="{AABA1416-4740-4FEA-A91C-A3DACBE38F86}" dt="2023-11-05T23:01:32.218" v="12674" actId="20577"/>
        <pc:sldMkLst>
          <pc:docMk/>
          <pc:sldMk cId="2246164536" sldId="3289"/>
        </pc:sldMkLst>
        <pc:spChg chg="mod">
          <ac:chgData name="Aurelien Domont" userId="6da7715ce44349b3" providerId="LiveId" clId="{AABA1416-4740-4FEA-A91C-A3DACBE38F86}" dt="2023-11-05T23:01:32.218" v="12674" actId="20577"/>
          <ac:spMkLst>
            <pc:docMk/>
            <pc:sldMk cId="2246164536" sldId="3289"/>
            <ac:spMk id="5" creationId="{DC054480-D828-7B59-3328-48D130C91ED1}"/>
          </ac:spMkLst>
        </pc:spChg>
        <pc:spChg chg="mod">
          <ac:chgData name="Aurelien Domont" userId="6da7715ce44349b3" providerId="LiveId" clId="{AABA1416-4740-4FEA-A91C-A3DACBE38F86}" dt="2023-11-03T05:25:22.445" v="11082" actId="1036"/>
          <ac:spMkLst>
            <pc:docMk/>
            <pc:sldMk cId="2246164536" sldId="3289"/>
            <ac:spMk id="7" creationId="{DA49D4D5-98E8-7870-FF2C-81E5593F9580}"/>
          </ac:spMkLst>
        </pc:spChg>
        <pc:picChg chg="mod">
          <ac:chgData name="Aurelien Domont" userId="6da7715ce44349b3" providerId="LiveId" clId="{AABA1416-4740-4FEA-A91C-A3DACBE38F86}" dt="2023-11-03T05:25:22.445" v="11082" actId="1036"/>
          <ac:picMkLst>
            <pc:docMk/>
            <pc:sldMk cId="2246164536" sldId="3289"/>
            <ac:picMk id="6" creationId="{7CE27B58-4E64-2C1A-172E-FF737A503B72}"/>
          </ac:picMkLst>
        </pc:picChg>
        <pc:picChg chg="mod">
          <ac:chgData name="Aurelien Domont" userId="6da7715ce44349b3" providerId="LiveId" clId="{AABA1416-4740-4FEA-A91C-A3DACBE38F86}" dt="2023-11-03T05:25:22.445" v="11082" actId="1036"/>
          <ac:picMkLst>
            <pc:docMk/>
            <pc:sldMk cId="2246164536" sldId="3289"/>
            <ac:picMk id="8" creationId="{268E509B-2278-9C53-3AC5-C1C08EBA20F9}"/>
          </ac:picMkLst>
        </pc:picChg>
      </pc:sldChg>
      <pc:sldChg chg="add del">
        <pc:chgData name="Aurelien Domont" userId="6da7715ce44349b3" providerId="LiveId" clId="{AABA1416-4740-4FEA-A91C-A3DACBE38F86}" dt="2023-11-03T05:44:35.787" v="11571" actId="2696"/>
        <pc:sldMkLst>
          <pc:docMk/>
          <pc:sldMk cId="2313835943" sldId="3290"/>
        </pc:sldMkLst>
      </pc:sldChg>
      <pc:sldChg chg="addSp delSp modSp add mod">
        <pc:chgData name="Aurelien Domont" userId="6da7715ce44349b3" providerId="LiveId" clId="{AABA1416-4740-4FEA-A91C-A3DACBE38F86}" dt="2023-11-03T05:51:21.309" v="11778" actId="20577"/>
        <pc:sldMkLst>
          <pc:docMk/>
          <pc:sldMk cId="3022929388" sldId="3290"/>
        </pc:sldMkLst>
        <pc:spChg chg="add del mod">
          <ac:chgData name="Aurelien Domont" userId="6da7715ce44349b3" providerId="LiveId" clId="{AABA1416-4740-4FEA-A91C-A3DACBE38F86}" dt="2023-11-03T05:48:33.642" v="11708" actId="478"/>
          <ac:spMkLst>
            <pc:docMk/>
            <pc:sldMk cId="3022929388" sldId="3290"/>
            <ac:spMk id="4" creationId="{F8C2AB8D-C4FB-CF87-8C7B-69B6C13B1AE4}"/>
          </ac:spMkLst>
        </pc:spChg>
        <pc:spChg chg="add del mod">
          <ac:chgData name="Aurelien Domont" userId="6da7715ce44349b3" providerId="LiveId" clId="{AABA1416-4740-4FEA-A91C-A3DACBE38F86}" dt="2023-11-03T05:51:08.278" v="11754" actId="478"/>
          <ac:spMkLst>
            <pc:docMk/>
            <pc:sldMk cId="3022929388" sldId="3290"/>
            <ac:spMk id="5" creationId="{82D7723F-9213-485F-BDAB-0157D781465F}"/>
          </ac:spMkLst>
        </pc:spChg>
        <pc:spChg chg="add mod">
          <ac:chgData name="Aurelien Domont" userId="6da7715ce44349b3" providerId="LiveId" clId="{AABA1416-4740-4FEA-A91C-A3DACBE38F86}" dt="2023-11-03T05:51:21.309" v="11778" actId="20577"/>
          <ac:spMkLst>
            <pc:docMk/>
            <pc:sldMk cId="3022929388" sldId="3290"/>
            <ac:spMk id="6" creationId="{A9747EAB-8C0E-58AF-A18E-9CDFED474340}"/>
          </ac:spMkLst>
        </pc:spChg>
      </pc:sldChg>
      <pc:sldChg chg="add del">
        <pc:chgData name="Aurelien Domont" userId="6da7715ce44349b3" providerId="LiveId" clId="{AABA1416-4740-4FEA-A91C-A3DACBE38F86}" dt="2023-11-03T05:44:35.787" v="11571" actId="2696"/>
        <pc:sldMkLst>
          <pc:docMk/>
          <pc:sldMk cId="1260069156" sldId="3291"/>
        </pc:sldMkLst>
      </pc:sldChg>
      <pc:sldChg chg="addSp delSp modSp add mod ord">
        <pc:chgData name="Aurelien Domont" userId="6da7715ce44349b3" providerId="LiveId" clId="{AABA1416-4740-4FEA-A91C-A3DACBE38F86}" dt="2023-11-05T22:35:55.415" v="12126" actId="478"/>
        <pc:sldMkLst>
          <pc:docMk/>
          <pc:sldMk cId="3033454792" sldId="3291"/>
        </pc:sldMkLst>
        <pc:spChg chg="add del mod">
          <ac:chgData name="Aurelien Domont" userId="6da7715ce44349b3" providerId="LiveId" clId="{AABA1416-4740-4FEA-A91C-A3DACBE38F86}" dt="2023-11-05T22:35:55.415" v="12126" actId="478"/>
          <ac:spMkLst>
            <pc:docMk/>
            <pc:sldMk cId="3033454792" sldId="3291"/>
            <ac:spMk id="4" creationId="{323EB6D3-C505-9FCE-8E5C-8B7C9F8A2119}"/>
          </ac:spMkLst>
        </pc:spChg>
        <pc:spChg chg="add del mod">
          <ac:chgData name="Aurelien Domont" userId="6da7715ce44349b3" providerId="LiveId" clId="{AABA1416-4740-4FEA-A91C-A3DACBE38F86}" dt="2023-11-03T05:53:22.318" v="11840" actId="478"/>
          <ac:spMkLst>
            <pc:docMk/>
            <pc:sldMk cId="3033454792" sldId="3291"/>
            <ac:spMk id="5" creationId="{79C33D71-65CB-CCB4-E8FE-C023FC8361F0}"/>
          </ac:spMkLst>
        </pc:spChg>
        <pc:spChg chg="add mod">
          <ac:chgData name="Aurelien Domont" userId="6da7715ce44349b3" providerId="LiveId" clId="{AABA1416-4740-4FEA-A91C-A3DACBE38F86}" dt="2023-11-03T05:53:22.585" v="11841"/>
          <ac:spMkLst>
            <pc:docMk/>
            <pc:sldMk cId="3033454792" sldId="3291"/>
            <ac:spMk id="6" creationId="{0CA8895B-D7AD-325F-9F0E-D157DE955A1B}"/>
          </ac:spMkLst>
        </pc:spChg>
        <pc:spChg chg="del">
          <ac:chgData name="Aurelien Domont" userId="6da7715ce44349b3" providerId="LiveId" clId="{AABA1416-4740-4FEA-A91C-A3DACBE38F86}" dt="2023-11-03T05:53:14.324" v="11836" actId="478"/>
          <ac:spMkLst>
            <pc:docMk/>
            <pc:sldMk cId="3033454792" sldId="3291"/>
            <ac:spMk id="521" creationId="{14EE3188-976A-6282-90A1-7D6534A70E65}"/>
          </ac:spMkLst>
        </pc:spChg>
      </pc:sldChg>
      <pc:sldChg chg="addSp modSp add del mod">
        <pc:chgData name="Aurelien Domont" userId="6da7715ce44349b3" providerId="LiveId" clId="{AABA1416-4740-4FEA-A91C-A3DACBE38F86}" dt="2023-11-05T23:26:59.235" v="12698" actId="47"/>
        <pc:sldMkLst>
          <pc:docMk/>
          <pc:sldMk cId="1106067793" sldId="3292"/>
        </pc:sldMkLst>
        <pc:spChg chg="add mod">
          <ac:chgData name="Aurelien Domont" userId="6da7715ce44349b3" providerId="LiveId" clId="{AABA1416-4740-4FEA-A91C-A3DACBE38F86}" dt="2023-11-05T23:24:30.551" v="12692" actId="207"/>
          <ac:spMkLst>
            <pc:docMk/>
            <pc:sldMk cId="1106067793" sldId="3292"/>
            <ac:spMk id="2" creationId="{7B8B571E-673A-77B3-A316-DB28E27AADB0}"/>
          </ac:spMkLst>
        </pc:spChg>
        <pc:spChg chg="mod">
          <ac:chgData name="Aurelien Domont" userId="6da7715ce44349b3" providerId="LiveId" clId="{AABA1416-4740-4FEA-A91C-A3DACBE38F86}" dt="2023-11-05T23:25:16.596" v="12693" actId="12"/>
          <ac:spMkLst>
            <pc:docMk/>
            <pc:sldMk cId="1106067793" sldId="3292"/>
            <ac:spMk id="6" creationId="{22D27BA3-CC85-4DD2-AEDB-C22AC367D60A}"/>
          </ac:spMkLst>
        </pc:spChg>
      </pc:sldChg>
      <pc:sldChg chg="addSp delSp modSp add del mod">
        <pc:chgData name="Aurelien Domont" userId="6da7715ce44349b3" providerId="LiveId" clId="{AABA1416-4740-4FEA-A91C-A3DACBE38F86}" dt="2023-11-13T02:48:10.243" v="12949" actId="47"/>
        <pc:sldMkLst>
          <pc:docMk/>
          <pc:sldMk cId="1528024298" sldId="3292"/>
        </pc:sldMkLst>
        <pc:spChg chg="mod">
          <ac:chgData name="Aurelien Domont" userId="6da7715ce44349b3" providerId="LiveId" clId="{AABA1416-4740-4FEA-A91C-A3DACBE38F86}" dt="2023-11-13T00:23:47.245" v="12922" actId="948"/>
          <ac:spMkLst>
            <pc:docMk/>
            <pc:sldMk cId="1528024298" sldId="3292"/>
            <ac:spMk id="2" creationId="{12009DA8-0966-101B-E219-F283F194BD59}"/>
          </ac:spMkLst>
        </pc:spChg>
        <pc:spChg chg="add del mod">
          <ac:chgData name="Aurelien Domont" userId="6da7715ce44349b3" providerId="LiveId" clId="{AABA1416-4740-4FEA-A91C-A3DACBE38F86}" dt="2023-11-13T00:22:57.457" v="12793" actId="478"/>
          <ac:spMkLst>
            <pc:docMk/>
            <pc:sldMk cId="1528024298" sldId="3292"/>
            <ac:spMk id="4" creationId="{731C41D5-DC8B-D48F-47DC-E56BDD5B8F1F}"/>
          </ac:spMkLst>
        </pc:spChg>
        <pc:spChg chg="add del mod modVis">
          <ac:chgData name="Aurelien Domont" userId="6da7715ce44349b3" providerId="LiveId" clId="{AABA1416-4740-4FEA-A91C-A3DACBE38F86}" dt="2023-11-13T00:23:13.961" v="12819"/>
          <ac:spMkLst>
            <pc:docMk/>
            <pc:sldMk cId="1528024298" sldId="3292"/>
            <ac:spMk id="5" creationId="{0D677CB4-21D2-F695-C7BF-29370B28BCB4}"/>
          </ac:spMkLst>
        </pc:spChg>
        <pc:spChg chg="add del mod modVis">
          <ac:chgData name="Aurelien Domont" userId="6da7715ce44349b3" providerId="LiveId" clId="{AABA1416-4740-4FEA-A91C-A3DACBE38F86}" dt="2023-11-13T00:23:17.072" v="12848"/>
          <ac:spMkLst>
            <pc:docMk/>
            <pc:sldMk cId="1528024298" sldId="3292"/>
            <ac:spMk id="8" creationId="{30AE1078-9CC2-85D6-B8B0-13D78FD6E877}"/>
          </ac:spMkLst>
        </pc:spChg>
        <pc:spChg chg="add del mod modVis">
          <ac:chgData name="Aurelien Domont" userId="6da7715ce44349b3" providerId="LiveId" clId="{AABA1416-4740-4FEA-A91C-A3DACBE38F86}" dt="2023-11-13T00:23:32.253" v="12889"/>
          <ac:spMkLst>
            <pc:docMk/>
            <pc:sldMk cId="1528024298" sldId="3292"/>
            <ac:spMk id="9" creationId="{87EAD5F6-8D5A-C94C-9E5F-647AA6C94083}"/>
          </ac:spMkLst>
        </pc:spChg>
        <pc:spChg chg="add del mod modVis">
          <ac:chgData name="Aurelien Domont" userId="6da7715ce44349b3" providerId="LiveId" clId="{AABA1416-4740-4FEA-A91C-A3DACBE38F86}" dt="2023-11-13T00:23:41.580" v="12917"/>
          <ac:spMkLst>
            <pc:docMk/>
            <pc:sldMk cId="1528024298" sldId="3292"/>
            <ac:spMk id="10" creationId="{A775962E-1E21-240F-CC8A-D3C9BDD5AD68}"/>
          </ac:spMkLst>
        </pc:spChg>
        <pc:spChg chg="add del mod modVis">
          <ac:chgData name="Aurelien Domont" userId="6da7715ce44349b3" providerId="LiveId" clId="{AABA1416-4740-4FEA-A91C-A3DACBE38F86}" dt="2023-11-13T00:23:47.286" v="12946"/>
          <ac:spMkLst>
            <pc:docMk/>
            <pc:sldMk cId="1528024298" sldId="3292"/>
            <ac:spMk id="11" creationId="{14B1373E-E51C-BD56-044E-BDEAEA0A5E41}"/>
          </ac:spMkLst>
        </pc:spChg>
        <pc:graphicFrameChg chg="mod">
          <ac:chgData name="Aurelien Domont" userId="6da7715ce44349b3" providerId="LiveId" clId="{AABA1416-4740-4FEA-A91C-A3DACBE38F86}" dt="2023-11-13T00:23:47.286" v="12948"/>
          <ac:graphicFrameMkLst>
            <pc:docMk/>
            <pc:sldMk cId="1528024298" sldId="3292"/>
            <ac:graphicFrameMk id="6" creationId="{F5887244-1866-E102-5FD5-79FA1304146D}"/>
          </ac:graphicFrameMkLst>
        </pc:graphicFrameChg>
      </pc:sldChg>
      <pc:sldChg chg="add del">
        <pc:chgData name="Aurelien Domont" userId="6da7715ce44349b3" providerId="LiveId" clId="{AABA1416-4740-4FEA-A91C-A3DACBE38F86}" dt="2023-11-05T22:40:34.995" v="12157" actId="47"/>
        <pc:sldMkLst>
          <pc:docMk/>
          <pc:sldMk cId="2865136667" sldId="3292"/>
        </pc:sldMkLst>
      </pc:sldChg>
      <pc:sldMasterChg chg="addSp delSp modSp mod delSldLayout modSldLayout">
        <pc:chgData name="Aurelien Domont" userId="6da7715ce44349b3" providerId="LiveId" clId="{AABA1416-4740-4FEA-A91C-A3DACBE38F86}" dt="2023-11-03T04:51:06.548" v="8616" actId="790"/>
        <pc:sldMasterMkLst>
          <pc:docMk/>
          <pc:sldMasterMk cId="3482721130" sldId="2147483828"/>
        </pc:sldMasterMkLst>
        <pc:spChg chg="mod">
          <ac:chgData name="Aurelien Domont" userId="6da7715ce44349b3" providerId="LiveId" clId="{AABA1416-4740-4FEA-A91C-A3DACBE38F86}" dt="2023-11-03T04:51:06.531" v="8606" actId="790"/>
          <ac:spMkLst>
            <pc:docMk/>
            <pc:sldMasterMk cId="3482721130" sldId="2147483828"/>
            <ac:spMk id="2" creationId="{32670748-EB14-470F-8FB7-9C0A1D7E6619}"/>
          </ac:spMkLst>
        </pc:spChg>
        <pc:spChg chg="add del mod modVis">
          <ac:chgData name="Aurelien Domont" userId="6da7715ce44349b3" providerId="LiveId" clId="{AABA1416-4740-4FEA-A91C-A3DACBE38F86}" dt="2023-11-03T02:22:17.538" v="2866"/>
          <ac:spMkLst>
            <pc:docMk/>
            <pc:sldMasterMk cId="3482721130" sldId="2147483828"/>
            <ac:spMk id="3" creationId="{81259FA4-BF3E-7F59-BAFF-C6D621A5D0F0}"/>
          </ac:spMkLst>
        </pc:spChg>
        <pc:spChg chg="mod">
          <ac:chgData name="Aurelien Domont" userId="6da7715ce44349b3" providerId="LiveId" clId="{AABA1416-4740-4FEA-A91C-A3DACBE38F86}" dt="2023-11-03T04:51:06.532" v="8607" actId="790"/>
          <ac:spMkLst>
            <pc:docMk/>
            <pc:sldMasterMk cId="3482721130" sldId="2147483828"/>
            <ac:spMk id="6" creationId="{85FBE890-EBD2-F4BB-8C5B-7C56DF745943}"/>
          </ac:spMkLst>
        </pc:spChg>
        <pc:spChg chg="mod">
          <ac:chgData name="Aurelien Domont" userId="6da7715ce44349b3" providerId="LiveId" clId="{AABA1416-4740-4FEA-A91C-A3DACBE38F86}" dt="2023-11-03T02:22:16.486" v="2658" actId="947"/>
          <ac:spMkLst>
            <pc:docMk/>
            <pc:sldMasterMk cId="3482721130" sldId="2147483828"/>
            <ac:spMk id="9" creationId="{6A767ABE-C4E1-4B07-8DB9-34D6A2E637D2}"/>
          </ac:spMkLst>
        </pc:spChg>
        <pc:spChg chg="mod">
          <ac:chgData name="Aurelien Domont" userId="6da7715ce44349b3" providerId="LiveId" clId="{AABA1416-4740-4FEA-A91C-A3DACBE38F86}" dt="2023-11-03T04:51:06.540" v="8610" actId="139"/>
          <ac:spMkLst>
            <pc:docMk/>
            <pc:sldMasterMk cId="3482721130" sldId="2147483828"/>
            <ac:spMk id="10" creationId="{DAFAB105-2031-A9D0-840E-251212CBF31C}"/>
          </ac:spMkLst>
        </pc:spChg>
        <pc:graphicFrameChg chg="mod">
          <ac:chgData name="Aurelien Domont" userId="6da7715ce44349b3" providerId="LiveId" clId="{AABA1416-4740-4FEA-A91C-A3DACBE38F86}" dt="2023-11-03T02:22:17.538" v="2868"/>
          <ac:graphicFrameMkLst>
            <pc:docMk/>
            <pc:sldMasterMk cId="3482721130" sldId="2147483828"/>
            <ac:graphicFrameMk id="5" creationId="{EA1CB5F6-6652-4935-9EC5-5408E4F9EA1D}"/>
          </ac:graphicFrameMkLst>
        </pc:graphicFrameChg>
        <pc:sldLayoutChg chg="addSp delSp modSp mod">
          <pc:chgData name="Aurelien Domont" userId="6da7715ce44349b3" providerId="LiveId" clId="{AABA1416-4740-4FEA-A91C-A3DACBE38F86}" dt="2023-11-03T04:51:06.547" v="8615" actId="139"/>
          <pc:sldLayoutMkLst>
            <pc:docMk/>
            <pc:sldMasterMk cId="3482721130" sldId="2147483828"/>
            <pc:sldLayoutMk cId="250590409" sldId="2147483831"/>
          </pc:sldLayoutMkLst>
          <pc:spChg chg="mod">
            <ac:chgData name="Aurelien Domont" userId="6da7715ce44349b3" providerId="LiveId" clId="{AABA1416-4740-4FEA-A91C-A3DACBE38F86}" dt="2023-11-03T04:51:06.542" v="8612" actId="790"/>
            <ac:spMkLst>
              <pc:docMk/>
              <pc:sldMasterMk cId="3482721130" sldId="2147483828"/>
              <pc:sldLayoutMk cId="250590409" sldId="2147483831"/>
              <ac:spMk id="2" creationId="{EA8DDF7C-B3ED-2539-2997-8DDCC58F6E91}"/>
            </ac:spMkLst>
          </pc:spChg>
          <pc:spChg chg="mod">
            <ac:chgData name="Aurelien Domont" userId="6da7715ce44349b3" providerId="LiveId" clId="{AABA1416-4740-4FEA-A91C-A3DACBE38F86}" dt="2023-11-03T04:51:06.547" v="8615" actId="139"/>
            <ac:spMkLst>
              <pc:docMk/>
              <pc:sldMasterMk cId="3482721130" sldId="2147483828"/>
              <pc:sldLayoutMk cId="250590409" sldId="2147483831"/>
              <ac:spMk id="3" creationId="{CA576B74-1056-1C88-D7FB-F21F9C3B8A6B}"/>
            </ac:spMkLst>
          </pc:spChg>
          <pc:spChg chg="mod">
            <ac:chgData name="Aurelien Domont" userId="6da7715ce44349b3" providerId="LiveId" clId="{AABA1416-4740-4FEA-A91C-A3DACBE38F86}" dt="2023-11-03T02:22:16.517" v="2663" actId="947"/>
            <ac:spMkLst>
              <pc:docMk/>
              <pc:sldMasterMk cId="3482721130" sldId="2147483828"/>
              <pc:sldLayoutMk cId="250590409" sldId="2147483831"/>
              <ac:spMk id="5" creationId="{3ADB49A0-8B85-4CDE-8262-9211F1AFE277}"/>
            </ac:spMkLst>
          </pc:spChg>
          <pc:spChg chg="del mod modVis">
            <ac:chgData name="Aurelien Domont" userId="6da7715ce44349b3" providerId="LiveId" clId="{AABA1416-4740-4FEA-A91C-A3DACBE38F86}" dt="2023-11-03T02:22:10.714" v="2420" actId="478"/>
            <ac:spMkLst>
              <pc:docMk/>
              <pc:sldMasterMk cId="3482721130" sldId="2147483828"/>
              <pc:sldLayoutMk cId="250590409" sldId="2147483831"/>
              <ac:spMk id="6" creationId="{12F39B3A-ED60-D8A0-1D1B-D0DC8EDD43DF}"/>
            </ac:spMkLst>
          </pc:spChg>
          <pc:spChg chg="add del mod modVis">
            <ac:chgData name="Aurelien Domont" userId="6da7715ce44349b3" providerId="LiveId" clId="{AABA1416-4740-4FEA-A91C-A3DACBE38F86}" dt="2023-11-03T02:22:12.496" v="2447"/>
            <ac:spMkLst>
              <pc:docMk/>
              <pc:sldMasterMk cId="3482721130" sldId="2147483828"/>
              <pc:sldLayoutMk cId="250590409" sldId="2147483831"/>
              <ac:spMk id="7" creationId="{73AC4552-8583-5F1D-B492-AAA1EE9CE2F9}"/>
            </ac:spMkLst>
          </pc:spChg>
          <pc:spChg chg="add del mod modVis">
            <ac:chgData name="Aurelien Domont" userId="6da7715ce44349b3" providerId="LiveId" clId="{AABA1416-4740-4FEA-A91C-A3DACBE38F86}" dt="2023-11-03T02:22:17.554" v="2870"/>
            <ac:spMkLst>
              <pc:docMk/>
              <pc:sldMasterMk cId="3482721130" sldId="2147483828"/>
              <pc:sldLayoutMk cId="250590409" sldId="2147483831"/>
              <ac:spMk id="8" creationId="{C2664B90-63AF-9606-4C61-6EC07CBEBF85}"/>
            </ac:spMkLst>
          </pc:spChg>
          <pc:spChg chg="mod">
            <ac:chgData name="Aurelien Domont" userId="6da7715ce44349b3" providerId="LiveId" clId="{AABA1416-4740-4FEA-A91C-A3DACBE38F86}" dt="2023-11-03T04:51:06.541" v="8611" actId="790"/>
            <ac:spMkLst>
              <pc:docMk/>
              <pc:sldMasterMk cId="3482721130" sldId="2147483828"/>
              <pc:sldLayoutMk cId="250590409" sldId="2147483831"/>
              <ac:spMk id="18" creationId="{DE07B690-0BBA-34F2-85A9-F009C8C6502D}"/>
            </ac:spMkLst>
          </pc:spChg>
          <pc:graphicFrameChg chg="mod">
            <ac:chgData name="Aurelien Domont" userId="6da7715ce44349b3" providerId="LiveId" clId="{AABA1416-4740-4FEA-A91C-A3DACBE38F86}" dt="2023-11-03T02:22:17.554" v="2872"/>
            <ac:graphicFrameMkLst>
              <pc:docMk/>
              <pc:sldMasterMk cId="3482721130" sldId="2147483828"/>
              <pc:sldLayoutMk cId="250590409" sldId="2147483831"/>
              <ac:graphicFrameMk id="4" creationId="{BFFDEDE2-612E-44BA-97AF-BE2800D0205E}"/>
            </ac:graphicFrameMkLst>
          </pc:graphicFrameChg>
        </pc:sldLayoutChg>
        <pc:sldLayoutChg chg="modSp mod">
          <pc:chgData name="Aurelien Domont" userId="6da7715ce44349b3" providerId="LiveId" clId="{AABA1416-4740-4FEA-A91C-A3DACBE38F86}" dt="2023-11-03T02:22:17.554" v="2874"/>
          <pc:sldLayoutMkLst>
            <pc:docMk/>
            <pc:sldMasterMk cId="3482721130" sldId="2147483828"/>
            <pc:sldLayoutMk cId="3119302602" sldId="2147483832"/>
          </pc:sldLayoutMkLst>
          <pc:spChg chg="mod">
            <ac:chgData name="Aurelien Domont" userId="6da7715ce44349b3" providerId="LiveId" clId="{AABA1416-4740-4FEA-A91C-A3DACBE38F86}" dt="2023-11-03T02:22:16.534" v="2668" actId="947"/>
            <ac:spMkLst>
              <pc:docMk/>
              <pc:sldMasterMk cId="3482721130" sldId="2147483828"/>
              <pc:sldLayoutMk cId="3119302602" sldId="2147483832"/>
              <ac:spMk id="5" creationId="{0DA92DAC-F488-43C5-9D7F-27FF4541E390}"/>
            </ac:spMkLst>
          </pc:spChg>
          <pc:graphicFrameChg chg="mod">
            <ac:chgData name="Aurelien Domont" userId="6da7715ce44349b3" providerId="LiveId" clId="{AABA1416-4740-4FEA-A91C-A3DACBE38F86}" dt="2023-11-03T02:22:17.554" v="2874"/>
            <ac:graphicFrameMkLst>
              <pc:docMk/>
              <pc:sldMasterMk cId="3482721130" sldId="2147483828"/>
              <pc:sldLayoutMk cId="3119302602" sldId="2147483832"/>
              <ac:graphicFrameMk id="6" creationId="{E95B5E3D-CB4A-42B4-B4A8-2B0BF3B8ABBF}"/>
            </ac:graphicFrameMkLst>
          </pc:graphicFrameChg>
        </pc:sldLayoutChg>
        <pc:sldLayoutChg chg="modSp mod">
          <pc:chgData name="Aurelien Domont" userId="6da7715ce44349b3" providerId="LiveId" clId="{AABA1416-4740-4FEA-A91C-A3DACBE38F86}" dt="2023-11-03T02:22:17.570" v="2876"/>
          <pc:sldLayoutMkLst>
            <pc:docMk/>
            <pc:sldMasterMk cId="3482721130" sldId="2147483828"/>
            <pc:sldLayoutMk cId="4234199683" sldId="2147483834"/>
          </pc:sldLayoutMkLst>
          <pc:spChg chg="mod">
            <ac:chgData name="Aurelien Domont" userId="6da7715ce44349b3" providerId="LiveId" clId="{AABA1416-4740-4FEA-A91C-A3DACBE38F86}" dt="2023-11-03T02:22:16.534" v="2670" actId="947"/>
            <ac:spMkLst>
              <pc:docMk/>
              <pc:sldMasterMk cId="3482721130" sldId="2147483828"/>
              <pc:sldLayoutMk cId="4234199683" sldId="2147483834"/>
              <ac:spMk id="5" creationId="{0DA92DAC-F488-43C5-9D7F-27FF4541E390}"/>
            </ac:spMkLst>
          </pc:spChg>
          <pc:graphicFrameChg chg="mod">
            <ac:chgData name="Aurelien Domont" userId="6da7715ce44349b3" providerId="LiveId" clId="{AABA1416-4740-4FEA-A91C-A3DACBE38F86}" dt="2023-11-03T02:22:17.570" v="2876"/>
            <ac:graphicFrameMkLst>
              <pc:docMk/>
              <pc:sldMasterMk cId="3482721130" sldId="2147483828"/>
              <pc:sldLayoutMk cId="4234199683" sldId="2147483834"/>
              <ac:graphicFrameMk id="6" creationId="{E95B5E3D-CB4A-42B4-B4A8-2B0BF3B8ABBF}"/>
            </ac:graphicFrameMkLst>
          </pc:graphicFrameChg>
        </pc:sldLayoutChg>
        <pc:sldLayoutChg chg="del">
          <pc:chgData name="Aurelien Domont" userId="6da7715ce44349b3" providerId="LiveId" clId="{AABA1416-4740-4FEA-A91C-A3DACBE38F86}" dt="2023-11-03T02:28:37.282" v="3023" actId="2696"/>
          <pc:sldLayoutMkLst>
            <pc:docMk/>
            <pc:sldMasterMk cId="3482721130" sldId="2147483828"/>
            <pc:sldLayoutMk cId="749376338" sldId="2147483835"/>
          </pc:sldLayoutMkLst>
        </pc:sldLayoutChg>
        <pc:sldLayoutChg chg="del">
          <pc:chgData name="Aurelien Domont" userId="6da7715ce44349b3" providerId="LiveId" clId="{AABA1416-4740-4FEA-A91C-A3DACBE38F86}" dt="2023-11-03T01:45:22.843" v="1031" actId="2696"/>
          <pc:sldLayoutMkLst>
            <pc:docMk/>
            <pc:sldMasterMk cId="3482721130" sldId="2147483828"/>
            <pc:sldLayoutMk cId="897561662" sldId="2147483835"/>
          </pc:sldLayoutMkLst>
        </pc:sldLayoutChg>
        <pc:sldLayoutChg chg="addSp modSp mod">
          <pc:chgData name="Aurelien Domont" userId="6da7715ce44349b3" providerId="LiveId" clId="{AABA1416-4740-4FEA-A91C-A3DACBE38F86}" dt="2023-11-03T04:51:06.548" v="8616" actId="790"/>
          <pc:sldLayoutMkLst>
            <pc:docMk/>
            <pc:sldMasterMk cId="3482721130" sldId="2147483828"/>
            <pc:sldLayoutMk cId="1759204997" sldId="2147483835"/>
          </pc:sldLayoutMkLst>
          <pc:spChg chg="add mod">
            <ac:chgData name="Aurelien Domont" userId="6da7715ce44349b3" providerId="LiveId" clId="{AABA1416-4740-4FEA-A91C-A3DACBE38F86}" dt="2023-11-03T04:51:06.548" v="8616" actId="790"/>
            <ac:spMkLst>
              <pc:docMk/>
              <pc:sldMasterMk cId="3482721130" sldId="2147483828"/>
              <pc:sldLayoutMk cId="1759204997" sldId="2147483835"/>
              <ac:spMk id="3" creationId="{69B22D6A-2535-B1D3-F638-6D5C1616FF47}"/>
            </ac:spMkLst>
          </pc:spChg>
          <pc:cxnChg chg="add mod">
            <ac:chgData name="Aurelien Domont" userId="6da7715ce44349b3" providerId="LiveId" clId="{AABA1416-4740-4FEA-A91C-A3DACBE38F86}" dt="2023-11-03T04:39:43.830" v="6517"/>
            <ac:cxnSpMkLst>
              <pc:docMk/>
              <pc:sldMasterMk cId="3482721130" sldId="2147483828"/>
              <pc:sldLayoutMk cId="1759204997" sldId="2147483835"/>
              <ac:cxnSpMk id="2" creationId="{FDEAB32C-E968-A714-7A77-AEFD89D2A392}"/>
            </ac:cxnSpMkLst>
          </pc:cxnChg>
        </pc:sldLayoutChg>
        <pc:sldLayoutChg chg="addSp delSp modSp del mod">
          <pc:chgData name="Aurelien Domont" userId="6da7715ce44349b3" providerId="LiveId" clId="{AABA1416-4740-4FEA-A91C-A3DACBE38F86}" dt="2023-11-03T02:22:41.605" v="2881" actId="2696"/>
          <pc:sldLayoutMkLst>
            <pc:docMk/>
            <pc:sldMasterMk cId="3482721130" sldId="2147483828"/>
            <pc:sldLayoutMk cId="1845982746" sldId="2147483835"/>
          </pc:sldLayoutMkLst>
          <pc:spChg chg="mod">
            <ac:chgData name="Aurelien Domont" userId="6da7715ce44349b3" providerId="LiveId" clId="{AABA1416-4740-4FEA-A91C-A3DACBE38F86}" dt="2023-11-03T02:22:16.125" v="2455" actId="790"/>
            <ac:spMkLst>
              <pc:docMk/>
              <pc:sldMasterMk cId="3482721130" sldId="2147483828"/>
              <pc:sldLayoutMk cId="1845982746" sldId="2147483835"/>
              <ac:spMk id="3" creationId="{996CB316-C6BA-4A71-BD69-5C792EC61E9C}"/>
            </ac:spMkLst>
          </pc:spChg>
          <pc:spChg chg="mod">
            <ac:chgData name="Aurelien Domont" userId="6da7715ce44349b3" providerId="LiveId" clId="{AABA1416-4740-4FEA-A91C-A3DACBE38F86}" dt="2023-11-03T02:22:16.125" v="2451" actId="947"/>
            <ac:spMkLst>
              <pc:docMk/>
              <pc:sldMasterMk cId="3482721130" sldId="2147483828"/>
              <pc:sldLayoutMk cId="1845982746" sldId="2147483835"/>
              <ac:spMk id="5" creationId="{3ADB49A0-8B85-4CDE-8262-9211F1AFE277}"/>
            </ac:spMkLst>
          </pc:spChg>
          <pc:spChg chg="mod">
            <ac:chgData name="Aurelien Domont" userId="6da7715ce44349b3" providerId="LiveId" clId="{AABA1416-4740-4FEA-A91C-A3DACBE38F86}" dt="2023-11-03T02:22:16.141" v="2458" actId="947"/>
            <ac:spMkLst>
              <pc:docMk/>
              <pc:sldMasterMk cId="3482721130" sldId="2147483828"/>
              <pc:sldLayoutMk cId="1845982746" sldId="2147483835"/>
              <ac:spMk id="6" creationId="{2ED164EC-8BB6-B1A1-FD90-AB0CDAC6A4A4}"/>
            </ac:spMkLst>
          </pc:spChg>
          <pc:spChg chg="mod">
            <ac:chgData name="Aurelien Domont" userId="6da7715ce44349b3" providerId="LiveId" clId="{AABA1416-4740-4FEA-A91C-A3DACBE38F86}" dt="2023-11-03T02:22:16.125" v="2453" actId="947"/>
            <ac:spMkLst>
              <pc:docMk/>
              <pc:sldMasterMk cId="3482721130" sldId="2147483828"/>
              <pc:sldLayoutMk cId="1845982746" sldId="2147483835"/>
              <ac:spMk id="7" creationId="{419E2C0F-B4B8-4E94-A037-1BEEC54B1D87}"/>
            </ac:spMkLst>
          </pc:spChg>
          <pc:spChg chg="mod">
            <ac:chgData name="Aurelien Domont" userId="6da7715ce44349b3" providerId="LiveId" clId="{AABA1416-4740-4FEA-A91C-A3DACBE38F86}" dt="2023-11-03T02:22:17.302" v="2709" actId="948"/>
            <ac:spMkLst>
              <pc:docMk/>
              <pc:sldMasterMk cId="3482721130" sldId="2147483828"/>
              <pc:sldLayoutMk cId="1845982746" sldId="2147483835"/>
              <ac:spMk id="9" creationId="{231FB825-CF5F-4702-956D-6AA391FBC708}"/>
            </ac:spMkLst>
          </pc:spChg>
          <pc:spChg chg="mod">
            <ac:chgData name="Aurelien Domont" userId="6da7715ce44349b3" providerId="LiveId" clId="{AABA1416-4740-4FEA-A91C-A3DACBE38F86}" dt="2023-11-03T02:22:16.141" v="2456" actId="790"/>
            <ac:spMkLst>
              <pc:docMk/>
              <pc:sldMasterMk cId="3482721130" sldId="2147483828"/>
              <pc:sldLayoutMk cId="1845982746" sldId="2147483835"/>
              <ac:spMk id="10" creationId="{B93F75D9-C30E-4CA2-8807-34327E435FEE}"/>
            </ac:spMkLst>
          </pc:spChg>
          <pc:spChg chg="mod">
            <ac:chgData name="Aurelien Domont" userId="6da7715ce44349b3" providerId="LiveId" clId="{AABA1416-4740-4FEA-A91C-A3DACBE38F86}" dt="2023-11-03T02:22:16.141" v="2460" actId="947"/>
            <ac:spMkLst>
              <pc:docMk/>
              <pc:sldMasterMk cId="3482721130" sldId="2147483828"/>
              <pc:sldLayoutMk cId="1845982746" sldId="2147483835"/>
              <ac:spMk id="11" creationId="{F9DAD07A-03A2-3678-7842-CE249B0675DB}"/>
            </ac:spMkLst>
          </pc:spChg>
          <pc:spChg chg="add del mod modVis">
            <ac:chgData name="Aurelien Domont" userId="6da7715ce44349b3" providerId="LiveId" clId="{AABA1416-4740-4FEA-A91C-A3DACBE38F86}" dt="2023-11-03T02:22:17.491" v="2840"/>
            <ac:spMkLst>
              <pc:docMk/>
              <pc:sldMasterMk cId="3482721130" sldId="2147483828"/>
              <pc:sldLayoutMk cId="1845982746" sldId="2147483835"/>
              <ac:spMk id="13" creationId="{499FF3D4-BC06-A897-982F-EA23E0886EF2}"/>
            </ac:spMkLst>
          </pc:spChg>
          <pc:graphicFrameChg chg="del">
            <ac:chgData name="Aurelien Domont" userId="6da7715ce44349b3" providerId="LiveId" clId="{AABA1416-4740-4FEA-A91C-A3DACBE38F86}" dt="2023-11-03T02:22:17.491" v="2836"/>
            <ac:graphicFrameMkLst>
              <pc:docMk/>
              <pc:sldMasterMk cId="3482721130" sldId="2147483828"/>
              <pc:sldLayoutMk cId="1845982746" sldId="2147483835"/>
              <ac:graphicFrameMk id="2" creationId="{845C5A28-27AD-1CC6-4345-9FE26A29F95B}"/>
            </ac:graphicFrameMkLst>
          </pc:graphicFrameChg>
          <pc:graphicFrameChg chg="mod">
            <ac:chgData name="Aurelien Domont" userId="6da7715ce44349b3" providerId="LiveId" clId="{AABA1416-4740-4FEA-A91C-A3DACBE38F86}" dt="2023-11-03T02:22:17.491" v="2842"/>
            <ac:graphicFrameMkLst>
              <pc:docMk/>
              <pc:sldMasterMk cId="3482721130" sldId="2147483828"/>
              <pc:sldLayoutMk cId="1845982746" sldId="2147483835"/>
              <ac:graphicFrameMk id="4" creationId="{BFFDEDE2-612E-44BA-97AF-BE2800D0205E}"/>
            </ac:graphicFrameMkLst>
          </pc:graphicFrameChg>
        </pc:sldLayoutChg>
      </pc:sldMasterChg>
    </pc:docChg>
  </pc:docChgLst>
  <pc:docChgLst>
    <pc:chgData name="Aurelien Domont" userId="6da7715ce44349b3" providerId="LiveId" clId="{8C97B853-E239-49C0-A36B-A3F2C855C3BA}"/>
    <pc:docChg chg="undo custSel addSld delSld modSld sldOrd replTag">
      <pc:chgData name="Aurelien Domont" userId="6da7715ce44349b3" providerId="LiveId" clId="{8C97B853-E239-49C0-A36B-A3F2C855C3BA}" dt="2023-11-03T00:11:07.277" v="34155" actId="2696"/>
      <pc:docMkLst>
        <pc:docMk/>
      </pc:docMkLst>
      <pc:sldChg chg="modSp mod">
        <pc:chgData name="Aurelien Domont" userId="6da7715ce44349b3" providerId="LiveId" clId="{8C97B853-E239-49C0-A36B-A3F2C855C3BA}" dt="2023-11-02T07:07:45.738" v="24285" actId="20577"/>
        <pc:sldMkLst>
          <pc:docMk/>
          <pc:sldMk cId="3956982643" sldId="526"/>
        </pc:sldMkLst>
        <pc:spChg chg="mod">
          <ac:chgData name="Aurelien Domont" userId="6da7715ce44349b3" providerId="LiveId" clId="{8C97B853-E239-49C0-A36B-A3F2C855C3BA}" dt="2023-11-02T07:07:45.738" v="24285" actId="20577"/>
          <ac:spMkLst>
            <pc:docMk/>
            <pc:sldMk cId="3956982643" sldId="526"/>
            <ac:spMk id="2" creationId="{F431BC18-A461-9459-FF13-870ACCC7D4F5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466047855" sldId="1525"/>
        </pc:sldMkLst>
      </pc:sldChg>
      <pc:sldChg chg="addSp delSp modSp add mod modClrScheme chgLayout">
        <pc:chgData name="Aurelien Domont" userId="6da7715ce44349b3" providerId="LiveId" clId="{8C97B853-E239-49C0-A36B-A3F2C855C3BA}" dt="2023-11-03T00:00:43.727" v="34072" actId="20577"/>
        <pc:sldMkLst>
          <pc:docMk/>
          <pc:sldMk cId="3604617461" sldId="1591"/>
        </pc:sldMkLst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3604617461" sldId="1591"/>
            <ac:spMk id="2" creationId="{A67BEC9B-911F-478E-9C56-72957F18467D}"/>
          </ac:spMkLst>
        </pc:spChg>
        <pc:spChg chg="del">
          <ac:chgData name="Aurelien Domont" userId="6da7715ce44349b3" providerId="LiveId" clId="{8C97B853-E239-49C0-A36B-A3F2C855C3BA}" dt="2023-11-03T00:00:41.220" v="34070" actId="478"/>
          <ac:spMkLst>
            <pc:docMk/>
            <pc:sldMk cId="3604617461" sldId="1591"/>
            <ac:spMk id="3" creationId="{8591E289-A50F-8A20-B807-C54B83F99B52}"/>
          </ac:spMkLst>
        </pc:spChg>
        <pc:spChg chg="add mod">
          <ac:chgData name="Aurelien Domont" userId="6da7715ce44349b3" providerId="LiveId" clId="{8C97B853-E239-49C0-A36B-A3F2C855C3BA}" dt="2023-11-03T00:00:43.727" v="34072" actId="20577"/>
          <ac:spMkLst>
            <pc:docMk/>
            <pc:sldMk cId="3604617461" sldId="1591"/>
            <ac:spMk id="4" creationId="{53D960C7-1F92-6F02-F64B-93C2E40E0B47}"/>
          </ac:spMkLst>
        </pc:spChg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3604617461" sldId="1591"/>
            <ac:spMk id="14" creationId="{C9800183-F524-4412-AB39-A6E1A21FF0B3}"/>
          </ac:spMkLst>
        </pc:spChg>
      </pc:sldChg>
      <pc:sldChg chg="modSp add mod modClrScheme chgLayout">
        <pc:chgData name="Aurelien Domont" userId="6da7715ce44349b3" providerId="LiveId" clId="{8C97B853-E239-49C0-A36B-A3F2C855C3BA}" dt="2023-11-02T06:36:08.791" v="23514"/>
        <pc:sldMkLst>
          <pc:docMk/>
          <pc:sldMk cId="617529628" sldId="1596"/>
        </pc:sldMkLst>
        <pc:spChg chg="mod ord">
          <ac:chgData name="Aurelien Domont" userId="6da7715ce44349b3" providerId="LiveId" clId="{8C97B853-E239-49C0-A36B-A3F2C855C3BA}" dt="2023-11-02T06:36:08.791" v="23514"/>
          <ac:spMkLst>
            <pc:docMk/>
            <pc:sldMk cId="617529628" sldId="1596"/>
            <ac:spMk id="2" creationId="{406113FD-AA7D-4249-90D7-70AF85BE48E1}"/>
          </ac:spMkLst>
        </pc:spChg>
        <pc:spChg chg="mod ord">
          <ac:chgData name="Aurelien Domont" userId="6da7715ce44349b3" providerId="LiveId" clId="{8C97B853-E239-49C0-A36B-A3F2C855C3BA}" dt="2023-11-02T06:36:08.791" v="23514"/>
          <ac:spMkLst>
            <pc:docMk/>
            <pc:sldMk cId="617529628" sldId="1596"/>
            <ac:spMk id="9" creationId="{A4C0187A-3E85-4C87-AB6B-7D4F4276FE07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38585634" sldId="1597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815671749" sldId="1601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921452590" sldId="1602"/>
        </pc:sldMkLst>
      </pc:sldChg>
      <pc:sldChg chg="add del">
        <pc:chgData name="Aurelien Domont" userId="6da7715ce44349b3" providerId="LiveId" clId="{8C97B853-E239-49C0-A36B-A3F2C855C3BA}" dt="2023-11-02T05:52:51.054" v="475"/>
        <pc:sldMkLst>
          <pc:docMk/>
          <pc:sldMk cId="203125793" sldId="1608"/>
        </pc:sldMkLst>
      </pc:sldChg>
      <pc:sldChg chg="addSp modSp add mod modClrScheme chgLayout">
        <pc:chgData name="Aurelien Domont" userId="6da7715ce44349b3" providerId="LiveId" clId="{8C97B853-E239-49C0-A36B-A3F2C855C3BA}" dt="2023-11-02T23:59:43.626" v="34030" actId="20577"/>
        <pc:sldMkLst>
          <pc:docMk/>
          <pc:sldMk cId="2644303535" sldId="1668"/>
        </pc:sldMkLst>
        <pc:spChg chg="add mod">
          <ac:chgData name="Aurelien Domont" userId="6da7715ce44349b3" providerId="LiveId" clId="{8C97B853-E239-49C0-A36B-A3F2C855C3BA}" dt="2023-11-02T23:59:43.626" v="34030" actId="20577"/>
          <ac:spMkLst>
            <pc:docMk/>
            <pc:sldMk cId="2644303535" sldId="1668"/>
            <ac:spMk id="2" creationId="{D64D68F4-FEB8-ACDA-3EBD-180D954DFB6E}"/>
          </ac:spMkLst>
        </pc:spChg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2644303535" sldId="1668"/>
            <ac:spMk id="3" creationId="{E7A26292-23DB-44E5-949D-BAFE0A7919DF}"/>
          </ac:spMkLst>
        </pc:spChg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2644303535" sldId="1668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23:59:16.446" v="34027"/>
          <ac:graphicFrameMkLst>
            <pc:docMk/>
            <pc:sldMk cId="2644303535" sldId="1668"/>
            <ac:graphicFrameMk id="13" creationId="{A073AF91-5325-42B9-A31A-3D179304022A}"/>
          </ac:graphicFrameMkLst>
        </pc:graphicFrame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975128435" sldId="1765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598292899" sldId="1770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016381984" sldId="1771"/>
        </pc:sldMkLst>
      </pc:sldChg>
      <pc:sldChg chg="modSp add mod modClrScheme chgLayout">
        <pc:chgData name="Aurelien Domont" userId="6da7715ce44349b3" providerId="LiveId" clId="{8C97B853-E239-49C0-A36B-A3F2C855C3BA}" dt="2023-11-02T23:54:22.071" v="33957" actId="207"/>
        <pc:sldMkLst>
          <pc:docMk/>
          <pc:sldMk cId="3264366395" sldId="1955"/>
        </pc:sldMkLst>
        <pc:spChg chg="mod">
          <ac:chgData name="Aurelien Domont" userId="6da7715ce44349b3" providerId="LiveId" clId="{8C97B853-E239-49C0-A36B-A3F2C855C3BA}" dt="2023-11-02T23:54:22.071" v="33957" actId="207"/>
          <ac:spMkLst>
            <pc:docMk/>
            <pc:sldMk cId="3264366395" sldId="1955"/>
            <ac:spMk id="2" creationId="{C8042D7C-02C6-41CC-9707-C9C5F6FA269D}"/>
          </ac:spMkLst>
        </pc:spChg>
        <pc:spChg chg="mod ord">
          <ac:chgData name="Aurelien Domont" userId="6da7715ce44349b3" providerId="LiveId" clId="{8C97B853-E239-49C0-A36B-A3F2C855C3BA}" dt="2023-11-02T23:53:29.124" v="33924"/>
          <ac:spMkLst>
            <pc:docMk/>
            <pc:sldMk cId="3264366395" sldId="1955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23:54:07.712" v="33952" actId="20577"/>
          <ac:spMkLst>
            <pc:docMk/>
            <pc:sldMk cId="3264366395" sldId="1955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23:54:08.215" v="33956"/>
          <ac:graphicFrameMkLst>
            <pc:docMk/>
            <pc:sldMk cId="3264366395" sldId="1955"/>
            <ac:graphicFrameMk id="13" creationId="{A073AF91-5325-42B9-A31A-3D179304022A}"/>
          </ac:graphicFrameMkLst>
        </pc:graphicFrameChg>
      </pc:sldChg>
      <pc:sldChg chg="modSp add mod modClrScheme chgLayout">
        <pc:chgData name="Aurelien Domont" userId="6da7715ce44349b3" providerId="LiveId" clId="{8C97B853-E239-49C0-A36B-A3F2C855C3BA}" dt="2023-11-02T23:54:32.859" v="33962"/>
        <pc:sldMkLst>
          <pc:docMk/>
          <pc:sldMk cId="3045459513" sldId="1956"/>
        </pc:sldMkLst>
        <pc:spChg chg="mod ord">
          <ac:chgData name="Aurelien Domont" userId="6da7715ce44349b3" providerId="LiveId" clId="{8C97B853-E239-49C0-A36B-A3F2C855C3BA}" dt="2023-11-02T23:53:29.124" v="33924"/>
          <ac:spMkLst>
            <pc:docMk/>
            <pc:sldMk cId="3045459513" sldId="1956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23:54:32.357" v="33958"/>
          <ac:spMkLst>
            <pc:docMk/>
            <pc:sldMk cId="3045459513" sldId="1956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23:54:32.859" v="33962"/>
          <ac:graphicFrameMkLst>
            <pc:docMk/>
            <pc:sldMk cId="3045459513" sldId="1956"/>
            <ac:graphicFrameMk id="13" creationId="{A073AF91-5325-42B9-A31A-3D179304022A}"/>
          </ac:graphicFrameMkLst>
        </pc:graphicFrameChg>
      </pc:sldChg>
      <pc:sldChg chg="modSp add mod modClrScheme chgLayout">
        <pc:chgData name="Aurelien Domont" userId="6da7715ce44349b3" providerId="LiveId" clId="{8C97B853-E239-49C0-A36B-A3F2C855C3BA}" dt="2023-11-02T06:39:17.770" v="23655" actId="208"/>
        <pc:sldMkLst>
          <pc:docMk/>
          <pc:sldMk cId="1026744296" sldId="1986"/>
        </pc:sldMkLst>
        <pc:spChg chg="mod ord">
          <ac:chgData name="Aurelien Domont" userId="6da7715ce44349b3" providerId="LiveId" clId="{8C97B853-E239-49C0-A36B-A3F2C855C3BA}" dt="2023-11-02T06:36:08.791" v="23514"/>
          <ac:spMkLst>
            <pc:docMk/>
            <pc:sldMk cId="1026744296" sldId="1986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06:36:08.791" v="23514"/>
          <ac:spMkLst>
            <pc:docMk/>
            <pc:sldMk cId="1026744296" sldId="1986"/>
            <ac:spMk id="16" creationId="{6C2BB713-9637-4B9B-938F-E9768876782A}"/>
          </ac:spMkLst>
        </pc:spChg>
        <pc:spChg chg="mod">
          <ac:chgData name="Aurelien Domont" userId="6da7715ce44349b3" providerId="LiveId" clId="{8C97B853-E239-49C0-A36B-A3F2C855C3BA}" dt="2023-11-02T06:39:17.770" v="23655" actId="208"/>
          <ac:spMkLst>
            <pc:docMk/>
            <pc:sldMk cId="1026744296" sldId="1986"/>
            <ac:spMk id="36" creationId="{42329662-6CAC-4332-8341-F6E575DEF0D8}"/>
          </ac:spMkLst>
        </pc:spChg>
        <pc:spChg chg="mod">
          <ac:chgData name="Aurelien Domont" userId="6da7715ce44349b3" providerId="LiveId" clId="{8C97B853-E239-49C0-A36B-A3F2C855C3BA}" dt="2023-11-02T06:39:17.770" v="23655" actId="208"/>
          <ac:spMkLst>
            <pc:docMk/>
            <pc:sldMk cId="1026744296" sldId="1986"/>
            <ac:spMk id="37" creationId="{AE2F566A-675F-466D-BB3A-618242E844BE}"/>
          </ac:spMkLst>
        </pc:spChg>
        <pc:spChg chg="mod">
          <ac:chgData name="Aurelien Domont" userId="6da7715ce44349b3" providerId="LiveId" clId="{8C97B853-E239-49C0-A36B-A3F2C855C3BA}" dt="2023-11-02T06:39:17.770" v="23655" actId="208"/>
          <ac:spMkLst>
            <pc:docMk/>
            <pc:sldMk cId="1026744296" sldId="1986"/>
            <ac:spMk id="38" creationId="{12D103AD-FC19-44A9-9B62-63029F440639}"/>
          </ac:spMkLst>
        </pc:spChg>
      </pc:sldChg>
      <pc:sldChg chg="modSp add mod modClrScheme chgLayout">
        <pc:chgData name="Aurelien Domont" userId="6da7715ce44349b3" providerId="LiveId" clId="{8C97B853-E239-49C0-A36B-A3F2C855C3BA}" dt="2023-11-02T23:59:15.802" v="34023"/>
        <pc:sldMkLst>
          <pc:docMk/>
          <pc:sldMk cId="2346025138" sldId="2155"/>
        </pc:sldMkLst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2346025138" sldId="2155"/>
            <ac:spMk id="3" creationId="{E7A26292-23DB-44E5-949D-BAFE0A7919DF}"/>
          </ac:spMkLst>
        </pc:spChg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2346025138" sldId="2155"/>
            <ac:spMk id="16" creationId="{6C2BB713-9637-4B9B-938F-E9768876782A}"/>
          </ac:spMkLst>
        </pc:spChg>
      </pc:sldChg>
      <pc:sldChg chg="modSp add mod modClrScheme chgLayout">
        <pc:chgData name="Aurelien Domont" userId="6da7715ce44349b3" providerId="LiveId" clId="{8C97B853-E239-49C0-A36B-A3F2C855C3BA}" dt="2023-11-03T00:02:43.287" v="34112" actId="207"/>
        <pc:sldMkLst>
          <pc:docMk/>
          <pc:sldMk cId="1479295029" sldId="2156"/>
        </pc:sldMkLst>
        <pc:spChg chg="mod ord">
          <ac:chgData name="Aurelien Domont" userId="6da7715ce44349b3" providerId="LiveId" clId="{8C97B853-E239-49C0-A36B-A3F2C855C3BA}" dt="2023-11-03T00:02:33.141" v="34107"/>
          <ac:spMkLst>
            <pc:docMk/>
            <pc:sldMk cId="1479295029" sldId="2156"/>
            <ac:spMk id="3" creationId="{E7A26292-23DB-44E5-949D-BAFE0A7919DF}"/>
          </ac:spMkLst>
        </pc:spChg>
        <pc:spChg chg="mod">
          <ac:chgData name="Aurelien Domont" userId="6da7715ce44349b3" providerId="LiveId" clId="{8C97B853-E239-49C0-A36B-A3F2C855C3BA}" dt="2023-11-03T00:02:43.287" v="34112" actId="207"/>
          <ac:spMkLst>
            <pc:docMk/>
            <pc:sldMk cId="1479295029" sldId="2156"/>
            <ac:spMk id="6" creationId="{58640601-4D44-4B49-A731-7641730D8799}"/>
          </ac:spMkLst>
        </pc:spChg>
        <pc:spChg chg="mod ord">
          <ac:chgData name="Aurelien Domont" userId="6da7715ce44349b3" providerId="LiveId" clId="{8C97B853-E239-49C0-A36B-A3F2C855C3BA}" dt="2023-11-03T00:02:33.141" v="34107"/>
          <ac:spMkLst>
            <pc:docMk/>
            <pc:sldMk cId="1479295029" sldId="2156"/>
            <ac:spMk id="16" creationId="{6C2BB713-9637-4B9B-938F-E9768876782A}"/>
          </ac:spMkLst>
        </pc:spChg>
        <pc:spChg chg="mod">
          <ac:chgData name="Aurelien Domont" userId="6da7715ce44349b3" providerId="LiveId" clId="{8C97B853-E239-49C0-A36B-A3F2C855C3BA}" dt="2023-11-03T00:02:43.287" v="34112" actId="207"/>
          <ac:spMkLst>
            <pc:docMk/>
            <pc:sldMk cId="1479295029" sldId="2156"/>
            <ac:spMk id="24" creationId="{65ED58C9-C893-412C-A89A-0D2078927765}"/>
          </ac:spMkLst>
        </pc:spChg>
        <pc:spChg chg="mod">
          <ac:chgData name="Aurelien Domont" userId="6da7715ce44349b3" providerId="LiveId" clId="{8C97B853-E239-49C0-A36B-A3F2C855C3BA}" dt="2023-11-03T00:02:43.287" v="34112" actId="207"/>
          <ac:spMkLst>
            <pc:docMk/>
            <pc:sldMk cId="1479295029" sldId="2156"/>
            <ac:spMk id="26" creationId="{0F2E6CC3-2425-4F18-BF55-995AAC49BDEC}"/>
          </ac:spMkLst>
        </pc:spChg>
        <pc:spChg chg="mod">
          <ac:chgData name="Aurelien Domont" userId="6da7715ce44349b3" providerId="LiveId" clId="{8C97B853-E239-49C0-A36B-A3F2C855C3BA}" dt="2023-11-03T00:02:43.287" v="34112" actId="207"/>
          <ac:spMkLst>
            <pc:docMk/>
            <pc:sldMk cId="1479295029" sldId="2156"/>
            <ac:spMk id="28" creationId="{EC8720D3-8207-4B1C-913F-0D3EC2ECFB2B}"/>
          </ac:spMkLst>
        </pc:spChg>
        <pc:spChg chg="mod">
          <ac:chgData name="Aurelien Domont" userId="6da7715ce44349b3" providerId="LiveId" clId="{8C97B853-E239-49C0-A36B-A3F2C855C3BA}" dt="2023-11-03T00:02:43.287" v="34112" actId="207"/>
          <ac:spMkLst>
            <pc:docMk/>
            <pc:sldMk cId="1479295029" sldId="2156"/>
            <ac:spMk id="30" creationId="{1F2E2D8A-2BD9-4E56-AD54-2E76B8B40303}"/>
          </ac:spMkLst>
        </pc:spChg>
        <pc:graphicFrameChg chg="mod">
          <ac:chgData name="Aurelien Domont" userId="6da7715ce44349b3" providerId="LiveId" clId="{8C97B853-E239-49C0-A36B-A3F2C855C3BA}" dt="2023-11-03T00:02:33.737" v="34111"/>
          <ac:graphicFrameMkLst>
            <pc:docMk/>
            <pc:sldMk cId="1479295029" sldId="2156"/>
            <ac:graphicFrameMk id="13" creationId="{A073AF91-5325-42B9-A31A-3D179304022A}"/>
          </ac:graphicFrameMkLst>
        </pc:graphicFrameChg>
      </pc:sldChg>
      <pc:sldChg chg="addSp delSp modSp add mod modClrScheme chgLayout">
        <pc:chgData name="Aurelien Domont" userId="6da7715ce44349b3" providerId="LiveId" clId="{8C97B853-E239-49C0-A36B-A3F2C855C3BA}" dt="2023-11-03T00:03:09.862" v="34133" actId="20577"/>
        <pc:sldMkLst>
          <pc:docMk/>
          <pc:sldMk cId="2678382071" sldId="2160"/>
        </pc:sldMkLst>
        <pc:spChg chg="del">
          <ac:chgData name="Aurelien Domont" userId="6da7715ce44349b3" providerId="LiveId" clId="{8C97B853-E239-49C0-A36B-A3F2C855C3BA}" dt="2023-11-03T00:03:04.392" v="34115" actId="478"/>
          <ac:spMkLst>
            <pc:docMk/>
            <pc:sldMk cId="2678382071" sldId="2160"/>
            <ac:spMk id="2" creationId="{C8904DBF-3355-0613-68D6-6E9FCBCA0423}"/>
          </ac:spMkLst>
        </pc:spChg>
        <pc:spChg chg="mod ord">
          <ac:chgData name="Aurelien Domont" userId="6da7715ce44349b3" providerId="LiveId" clId="{8C97B853-E239-49C0-A36B-A3F2C855C3BA}" dt="2023-11-03T00:02:33.141" v="34107"/>
          <ac:spMkLst>
            <pc:docMk/>
            <pc:sldMk cId="2678382071" sldId="2160"/>
            <ac:spMk id="3" creationId="{E7A26292-23DB-44E5-949D-BAFE0A7919DF}"/>
          </ac:spMkLst>
        </pc:spChg>
        <pc:spChg chg="add mod">
          <ac:chgData name="Aurelien Domont" userId="6da7715ce44349b3" providerId="LiveId" clId="{8C97B853-E239-49C0-A36B-A3F2C855C3BA}" dt="2023-11-03T00:03:09.862" v="34133" actId="20577"/>
          <ac:spMkLst>
            <pc:docMk/>
            <pc:sldMk cId="2678382071" sldId="2160"/>
            <ac:spMk id="4" creationId="{8E8AFB2E-742F-AA63-F6BB-48285E0F1117}"/>
          </ac:spMkLst>
        </pc:spChg>
        <pc:spChg chg="mod">
          <ac:chgData name="Aurelien Domont" userId="6da7715ce44349b3" providerId="LiveId" clId="{8C97B853-E239-49C0-A36B-A3F2C855C3BA}" dt="2023-11-03T00:02:48.356" v="34113" actId="207"/>
          <ac:spMkLst>
            <pc:docMk/>
            <pc:sldMk cId="2678382071" sldId="2160"/>
            <ac:spMk id="6" creationId="{58640601-4D44-4B49-A731-7641730D8799}"/>
          </ac:spMkLst>
        </pc:spChg>
        <pc:spChg chg="mod ord">
          <ac:chgData name="Aurelien Domont" userId="6da7715ce44349b3" providerId="LiveId" clId="{8C97B853-E239-49C0-A36B-A3F2C855C3BA}" dt="2023-11-03T00:02:33.141" v="34107"/>
          <ac:spMkLst>
            <pc:docMk/>
            <pc:sldMk cId="2678382071" sldId="2160"/>
            <ac:spMk id="16" creationId="{6C2BB713-9637-4B9B-938F-E9768876782A}"/>
          </ac:spMkLst>
        </pc:spChg>
        <pc:spChg chg="mod">
          <ac:chgData name="Aurelien Domont" userId="6da7715ce44349b3" providerId="LiveId" clId="{8C97B853-E239-49C0-A36B-A3F2C855C3BA}" dt="2023-11-03T00:02:48.356" v="34113" actId="207"/>
          <ac:spMkLst>
            <pc:docMk/>
            <pc:sldMk cId="2678382071" sldId="2160"/>
            <ac:spMk id="24" creationId="{65ED58C9-C893-412C-A89A-0D2078927765}"/>
          </ac:spMkLst>
        </pc:spChg>
        <pc:spChg chg="mod">
          <ac:chgData name="Aurelien Domont" userId="6da7715ce44349b3" providerId="LiveId" clId="{8C97B853-E239-49C0-A36B-A3F2C855C3BA}" dt="2023-11-03T00:02:48.356" v="34113" actId="207"/>
          <ac:spMkLst>
            <pc:docMk/>
            <pc:sldMk cId="2678382071" sldId="2160"/>
            <ac:spMk id="26" creationId="{0F2E6CC3-2425-4F18-BF55-995AAC49BDEC}"/>
          </ac:spMkLst>
        </pc:spChg>
        <pc:spChg chg="mod">
          <ac:chgData name="Aurelien Domont" userId="6da7715ce44349b3" providerId="LiveId" clId="{8C97B853-E239-49C0-A36B-A3F2C855C3BA}" dt="2023-11-03T00:02:48.356" v="34113" actId="207"/>
          <ac:spMkLst>
            <pc:docMk/>
            <pc:sldMk cId="2678382071" sldId="2160"/>
            <ac:spMk id="28" creationId="{EC8720D3-8207-4B1C-913F-0D3EC2ECFB2B}"/>
          </ac:spMkLst>
        </pc:spChg>
        <pc:spChg chg="mod">
          <ac:chgData name="Aurelien Domont" userId="6da7715ce44349b3" providerId="LiveId" clId="{8C97B853-E239-49C0-A36B-A3F2C855C3BA}" dt="2023-11-03T00:02:48.356" v="34113" actId="207"/>
          <ac:spMkLst>
            <pc:docMk/>
            <pc:sldMk cId="2678382071" sldId="2160"/>
            <ac:spMk id="30" creationId="{1F2E2D8A-2BD9-4E56-AD54-2E76B8B40303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3T00:00:21.652" v="34069" actId="20577"/>
        <pc:sldMkLst>
          <pc:docMk/>
          <pc:sldMk cId="1929697781" sldId="2171"/>
        </pc:sldMkLst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1929697781" sldId="2171"/>
            <ac:spMk id="3" creationId="{E7A26292-23DB-44E5-949D-BAFE0A7919DF}"/>
          </ac:spMkLst>
        </pc:spChg>
        <pc:spChg chg="del">
          <ac:chgData name="Aurelien Domont" userId="6da7715ce44349b3" providerId="LiveId" clId="{8C97B853-E239-49C0-A36B-A3F2C855C3BA}" dt="2023-11-03T00:00:15.144" v="34049" actId="478"/>
          <ac:spMkLst>
            <pc:docMk/>
            <pc:sldMk cId="1929697781" sldId="2171"/>
            <ac:spMk id="4" creationId="{1ABE54E2-9B49-F1F8-F073-6C5454ED0DB6}"/>
          </ac:spMkLst>
        </pc:spChg>
        <pc:spChg chg="add mod">
          <ac:chgData name="Aurelien Domont" userId="6da7715ce44349b3" providerId="LiveId" clId="{8C97B853-E239-49C0-A36B-A3F2C855C3BA}" dt="2023-11-03T00:00:21.652" v="34069" actId="20577"/>
          <ac:spMkLst>
            <pc:docMk/>
            <pc:sldMk cId="1929697781" sldId="2171"/>
            <ac:spMk id="5" creationId="{3F2E68FE-8B42-B046-C305-E1B8702F3BFD}"/>
          </ac:spMkLst>
        </pc:spChg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1929697781" sldId="2171"/>
            <ac:spMk id="16" creationId="{6C2BB713-9637-4B9B-938F-E9768876782A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3T00:03:19.693" v="34152" actId="20577"/>
        <pc:sldMkLst>
          <pc:docMk/>
          <pc:sldMk cId="4258618140" sldId="2187"/>
        </pc:sldMkLst>
        <pc:spChg chg="del">
          <ac:chgData name="Aurelien Domont" userId="6da7715ce44349b3" providerId="LiveId" clId="{8C97B853-E239-49C0-A36B-A3F2C855C3BA}" dt="2023-11-03T00:03:13.975" v="34134" actId="478"/>
          <ac:spMkLst>
            <pc:docMk/>
            <pc:sldMk cId="4258618140" sldId="2187"/>
            <ac:spMk id="2" creationId="{6085A62A-8BAC-25B3-D97D-8B1DB0325209}"/>
          </ac:spMkLst>
        </pc:spChg>
        <pc:spChg chg="mod ord">
          <ac:chgData name="Aurelien Domont" userId="6da7715ce44349b3" providerId="LiveId" clId="{8C97B853-E239-49C0-A36B-A3F2C855C3BA}" dt="2023-11-03T00:02:33.141" v="34107"/>
          <ac:spMkLst>
            <pc:docMk/>
            <pc:sldMk cId="4258618140" sldId="2187"/>
            <ac:spMk id="3" creationId="{E7A26292-23DB-44E5-949D-BAFE0A7919DF}"/>
          </ac:spMkLst>
        </pc:spChg>
        <pc:spChg chg="add mod">
          <ac:chgData name="Aurelien Domont" userId="6da7715ce44349b3" providerId="LiveId" clId="{8C97B853-E239-49C0-A36B-A3F2C855C3BA}" dt="2023-11-03T00:03:19.693" v="34152" actId="20577"/>
          <ac:spMkLst>
            <pc:docMk/>
            <pc:sldMk cId="4258618140" sldId="2187"/>
            <ac:spMk id="4" creationId="{3D17A417-D3E5-6712-F9E2-2492512F6D25}"/>
          </ac:spMkLst>
        </pc:spChg>
        <pc:spChg chg="mod">
          <ac:chgData name="Aurelien Domont" userId="6da7715ce44349b3" providerId="LiveId" clId="{8C97B853-E239-49C0-A36B-A3F2C855C3BA}" dt="2023-11-03T00:02:53.138" v="34114" actId="207"/>
          <ac:spMkLst>
            <pc:docMk/>
            <pc:sldMk cId="4258618140" sldId="2187"/>
            <ac:spMk id="6" creationId="{58640601-4D44-4B49-A731-7641730D8799}"/>
          </ac:spMkLst>
        </pc:spChg>
        <pc:spChg chg="mod ord">
          <ac:chgData name="Aurelien Domont" userId="6da7715ce44349b3" providerId="LiveId" clId="{8C97B853-E239-49C0-A36B-A3F2C855C3BA}" dt="2023-11-03T00:02:33.141" v="34107"/>
          <ac:spMkLst>
            <pc:docMk/>
            <pc:sldMk cId="4258618140" sldId="2187"/>
            <ac:spMk id="16" creationId="{6C2BB713-9637-4B9B-938F-E9768876782A}"/>
          </ac:spMkLst>
        </pc:spChg>
        <pc:spChg chg="mod">
          <ac:chgData name="Aurelien Domont" userId="6da7715ce44349b3" providerId="LiveId" clId="{8C97B853-E239-49C0-A36B-A3F2C855C3BA}" dt="2023-11-03T00:02:53.138" v="34114" actId="207"/>
          <ac:spMkLst>
            <pc:docMk/>
            <pc:sldMk cId="4258618140" sldId="2187"/>
            <ac:spMk id="22" creationId="{1C33258C-97B4-450A-B3EA-AF0145AA89E7}"/>
          </ac:spMkLst>
        </pc:spChg>
        <pc:spChg chg="mod">
          <ac:chgData name="Aurelien Domont" userId="6da7715ce44349b3" providerId="LiveId" clId="{8C97B853-E239-49C0-A36B-A3F2C855C3BA}" dt="2023-11-03T00:02:53.138" v="34114" actId="207"/>
          <ac:spMkLst>
            <pc:docMk/>
            <pc:sldMk cId="4258618140" sldId="2187"/>
            <ac:spMk id="24" creationId="{65ED58C9-C893-412C-A89A-0D2078927765}"/>
          </ac:spMkLst>
        </pc:spChg>
        <pc:spChg chg="mod">
          <ac:chgData name="Aurelien Domont" userId="6da7715ce44349b3" providerId="LiveId" clId="{8C97B853-E239-49C0-A36B-A3F2C855C3BA}" dt="2023-11-03T00:02:53.138" v="34114" actId="207"/>
          <ac:spMkLst>
            <pc:docMk/>
            <pc:sldMk cId="4258618140" sldId="2187"/>
            <ac:spMk id="37" creationId="{4C7EFCC8-043E-481C-9578-CB71BB412AE5}"/>
          </ac:spMkLst>
        </pc:spChg>
        <pc:spChg chg="mod">
          <ac:chgData name="Aurelien Domont" userId="6da7715ce44349b3" providerId="LiveId" clId="{8C97B853-E239-49C0-A36B-A3F2C855C3BA}" dt="2023-11-03T00:02:53.138" v="34114" actId="207"/>
          <ac:spMkLst>
            <pc:docMk/>
            <pc:sldMk cId="4258618140" sldId="2187"/>
            <ac:spMk id="39" creationId="{69D38A31-7087-4BC6-A749-CE3E92C5E5AC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506849499" sldId="2230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679090537" sldId="2232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582080201" sldId="2233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49722598" sldId="2239"/>
        </pc:sldMkLst>
      </pc:sldChg>
      <pc:sldChg chg="addSp delSp modSp add mod modClrScheme chgLayout">
        <pc:chgData name="Aurelien Domont" userId="6da7715ce44349b3" providerId="LiveId" clId="{8C97B853-E239-49C0-A36B-A3F2C855C3BA}" dt="2023-11-02T23:57:32.145" v="34011" actId="20577"/>
        <pc:sldMkLst>
          <pc:docMk/>
          <pc:sldMk cId="3763423627" sldId="2298"/>
        </pc:sldMkLst>
        <pc:spChg chg="mod">
          <ac:chgData name="Aurelien Domont" userId="6da7715ce44349b3" providerId="LiveId" clId="{8C97B853-E239-49C0-A36B-A3F2C855C3BA}" dt="2023-11-02T06:36:43.801" v="23527" actId="20577"/>
          <ac:spMkLst>
            <pc:docMk/>
            <pc:sldMk cId="3763423627" sldId="2298"/>
            <ac:spMk id="2" creationId="{215DCF42-1B2C-8FC8-3EEC-F3DAF735EAE8}"/>
          </ac:spMkLst>
        </pc:spChg>
        <pc:spChg chg="add del mod">
          <ac:chgData name="Aurelien Domont" userId="6da7715ce44349b3" providerId="LiveId" clId="{8C97B853-E239-49C0-A36B-A3F2C855C3BA}" dt="2023-11-02T06:40:20.734" v="23659"/>
          <ac:spMkLst>
            <pc:docMk/>
            <pc:sldMk cId="3763423627" sldId="2298"/>
            <ac:spMk id="5" creationId="{A78AFE8A-F3EE-4ACC-77A0-C29A3376D5B6}"/>
          </ac:spMkLst>
        </pc:spChg>
        <pc:spChg chg="mod">
          <ac:chgData name="Aurelien Domont" userId="6da7715ce44349b3" providerId="LiveId" clId="{8C97B853-E239-49C0-A36B-A3F2C855C3BA}" dt="2023-11-02T06:36:48.877" v="23528"/>
          <ac:spMkLst>
            <pc:docMk/>
            <pc:sldMk cId="3763423627" sldId="2298"/>
            <ac:spMk id="7" creationId="{D7FFDB73-23D3-83ED-BCAB-93802C7BB129}"/>
          </ac:spMkLst>
        </pc:spChg>
        <pc:spChg chg="mod">
          <ac:chgData name="Aurelien Domont" userId="6da7715ce44349b3" providerId="LiveId" clId="{8C97B853-E239-49C0-A36B-A3F2C855C3BA}" dt="2023-11-02T06:36:50.620" v="23529"/>
          <ac:spMkLst>
            <pc:docMk/>
            <pc:sldMk cId="3763423627" sldId="2298"/>
            <ac:spMk id="8" creationId="{C34097CD-1130-BF7F-33A6-952E9FF7BBF0}"/>
          </ac:spMkLst>
        </pc:spChg>
        <pc:spChg chg="mod">
          <ac:chgData name="Aurelien Domont" userId="6da7715ce44349b3" providerId="LiveId" clId="{8C97B853-E239-49C0-A36B-A3F2C855C3BA}" dt="2023-11-02T06:36:52.130" v="23530"/>
          <ac:spMkLst>
            <pc:docMk/>
            <pc:sldMk cId="3763423627" sldId="2298"/>
            <ac:spMk id="10" creationId="{D0EB2394-9BD8-3AE3-3D5D-AA13F36AA934}"/>
          </ac:spMkLst>
        </pc:spChg>
        <pc:spChg chg="mod">
          <ac:chgData name="Aurelien Domont" userId="6da7715ce44349b3" providerId="LiveId" clId="{8C97B853-E239-49C0-A36B-A3F2C855C3BA}" dt="2023-11-02T06:36:53.779" v="23531"/>
          <ac:spMkLst>
            <pc:docMk/>
            <pc:sldMk cId="3763423627" sldId="2298"/>
            <ac:spMk id="11" creationId="{FE146EC5-CDF8-5A7E-671F-05E602EE96F2}"/>
          </ac:spMkLst>
        </pc:spChg>
        <pc:spChg chg="add mod">
          <ac:chgData name="Aurelien Domont" userId="6da7715ce44349b3" providerId="LiveId" clId="{8C97B853-E239-49C0-A36B-A3F2C855C3BA}" dt="2023-11-02T23:57:32.145" v="34011" actId="20577"/>
          <ac:spMkLst>
            <pc:docMk/>
            <pc:sldMk cId="3763423627" sldId="2298"/>
            <ac:spMk id="14" creationId="{DE111A74-14E9-69BF-DF7F-7A009302AA0D}"/>
          </ac:spMkLst>
        </pc:spChg>
        <pc:spChg chg="mod ord">
          <ac:chgData name="Aurelien Domont" userId="6da7715ce44349b3" providerId="LiveId" clId="{8C97B853-E239-49C0-A36B-A3F2C855C3BA}" dt="2023-11-02T06:36:08.791" v="23514"/>
          <ac:spMkLst>
            <pc:docMk/>
            <pc:sldMk cId="3763423627" sldId="2298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06:36:09.388" v="23518"/>
          <ac:graphicFrameMkLst>
            <pc:docMk/>
            <pc:sldMk cId="3763423627" sldId="2298"/>
            <ac:graphicFrameMk id="13" creationId="{A073AF91-5325-42B9-A31A-3D179304022A}"/>
          </ac:graphicFrameMkLst>
        </pc:graphicFrame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4217328411" sldId="2309"/>
        </pc:sldMkLst>
      </pc:sldChg>
      <pc:sldChg chg="addSp delSp modSp add mod modClrScheme chgLayout">
        <pc:chgData name="Aurelien Domont" userId="6da7715ce44349b3" providerId="LiveId" clId="{8C97B853-E239-49C0-A36B-A3F2C855C3BA}" dt="2023-11-02T23:59:55.947" v="34048" actId="20577"/>
        <pc:sldMkLst>
          <pc:docMk/>
          <pc:sldMk cId="2929886259" sldId="2366"/>
        </pc:sldMkLst>
        <pc:spChg chg="del">
          <ac:chgData name="Aurelien Domont" userId="6da7715ce44349b3" providerId="LiveId" clId="{8C97B853-E239-49C0-A36B-A3F2C855C3BA}" dt="2023-11-02T23:59:50.373" v="34031" actId="478"/>
          <ac:spMkLst>
            <pc:docMk/>
            <pc:sldMk cId="2929886259" sldId="2366"/>
            <ac:spMk id="2" creationId="{54C4AEA5-1E2F-9DF7-A6E6-7DF03FCFC158}"/>
          </ac:spMkLst>
        </pc:spChg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2929886259" sldId="2366"/>
            <ac:spMk id="3" creationId="{E7A26292-23DB-44E5-949D-BAFE0A7919DF}"/>
          </ac:spMkLst>
        </pc:spChg>
        <pc:spChg chg="add mod">
          <ac:chgData name="Aurelien Domont" userId="6da7715ce44349b3" providerId="LiveId" clId="{8C97B853-E239-49C0-A36B-A3F2C855C3BA}" dt="2023-11-02T23:59:55.947" v="34048" actId="20577"/>
          <ac:spMkLst>
            <pc:docMk/>
            <pc:sldMk cId="2929886259" sldId="2366"/>
            <ac:spMk id="7" creationId="{B4D5B521-4004-B101-FB8A-83607D2CB3DB}"/>
          </ac:spMkLst>
        </pc:spChg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2929886259" sldId="2366"/>
            <ac:spMk id="16" creationId="{6C2BB713-9637-4B9B-938F-E9768876782A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296584976" sldId="2369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928548891" sldId="2373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492306090" sldId="2374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493744012" sldId="2375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03396230" sldId="2376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312197685" sldId="2377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498667602" sldId="2378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242579437" sldId="2379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584621125" sldId="2380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511330628" sldId="2381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898378046" sldId="2382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133529293" sldId="2383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549256554" sldId="2388"/>
        </pc:sldMkLst>
      </pc:sldChg>
      <pc:sldChg chg="modSp add mod modClrScheme chgLayout">
        <pc:chgData name="Aurelien Domont" userId="6da7715ce44349b3" providerId="LiveId" clId="{8C97B853-E239-49C0-A36B-A3F2C855C3BA}" dt="2023-11-02T06:44:42.753" v="23664"/>
        <pc:sldMkLst>
          <pc:docMk/>
          <pc:sldMk cId="1873290227" sldId="2434"/>
        </pc:sldMkLst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1873290227" sldId="2434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1873290227" sldId="2434"/>
            <ac:spMk id="16" creationId="{6C2BB713-9637-4B9B-938F-E9768876782A}"/>
          </ac:spMkLst>
        </pc:spChg>
      </pc:sldChg>
      <pc:sldChg chg="modSp add mod modClrScheme chgLayout">
        <pc:chgData name="Aurelien Domont" userId="6da7715ce44349b3" providerId="LiveId" clId="{8C97B853-E239-49C0-A36B-A3F2C855C3BA}" dt="2023-11-02T06:44:42.753" v="23664"/>
        <pc:sldMkLst>
          <pc:docMk/>
          <pc:sldMk cId="433141511" sldId="2435"/>
        </pc:sldMkLst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433141511" sldId="2435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433141511" sldId="2435"/>
            <ac:spMk id="16" creationId="{6C2BB713-9637-4B9B-938F-E9768876782A}"/>
          </ac:spMkLst>
        </pc:spChg>
      </pc:sldChg>
      <pc:sldChg chg="modSp add mod modClrScheme chgLayout">
        <pc:chgData name="Aurelien Domont" userId="6da7715ce44349b3" providerId="LiveId" clId="{8C97B853-E239-49C0-A36B-A3F2C855C3BA}" dt="2023-11-02T06:46:10.887" v="23718" actId="207"/>
        <pc:sldMkLst>
          <pc:docMk/>
          <pc:sldMk cId="729151380" sldId="2436"/>
        </pc:sldMkLst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729151380" sldId="2436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729151380" sldId="2436"/>
            <ac:spMk id="16" creationId="{6C2BB713-9637-4B9B-938F-E9768876782A}"/>
          </ac:spMkLst>
        </pc:spChg>
        <pc:spChg chg="mod">
          <ac:chgData name="Aurelien Domont" userId="6da7715ce44349b3" providerId="LiveId" clId="{8C97B853-E239-49C0-A36B-A3F2C855C3BA}" dt="2023-11-02T06:46:10.887" v="23718" actId="207"/>
          <ac:spMkLst>
            <pc:docMk/>
            <pc:sldMk cId="729151380" sldId="2436"/>
            <ac:spMk id="21" creationId="{96383F0B-3F1E-4F20-A740-4D8BC1C60B6F}"/>
          </ac:spMkLst>
        </pc:spChg>
        <pc:spChg chg="mod">
          <ac:chgData name="Aurelien Domont" userId="6da7715ce44349b3" providerId="LiveId" clId="{8C97B853-E239-49C0-A36B-A3F2C855C3BA}" dt="2023-11-02T06:46:10.887" v="23718" actId="207"/>
          <ac:spMkLst>
            <pc:docMk/>
            <pc:sldMk cId="729151380" sldId="2436"/>
            <ac:spMk id="22" creationId="{607CDF94-6FB9-45B1-B242-15D19C595241}"/>
          </ac:spMkLst>
        </pc:spChg>
      </pc:sldChg>
      <pc:sldChg chg="modSp add mod modClrScheme chgLayout">
        <pc:chgData name="Aurelien Domont" userId="6da7715ce44349b3" providerId="LiveId" clId="{8C97B853-E239-49C0-A36B-A3F2C855C3BA}" dt="2023-11-02T06:44:42.753" v="23664"/>
        <pc:sldMkLst>
          <pc:docMk/>
          <pc:sldMk cId="495242922" sldId="2437"/>
        </pc:sldMkLst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495242922" sldId="2437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495242922" sldId="2437"/>
            <ac:spMk id="16" creationId="{6C2BB713-9637-4B9B-938F-E9768876782A}"/>
          </ac:spMkLst>
        </pc:spChg>
      </pc:sldChg>
      <pc:sldChg chg="modSp add mod modClrScheme chgLayout">
        <pc:chgData name="Aurelien Domont" userId="6da7715ce44349b3" providerId="LiveId" clId="{8C97B853-E239-49C0-A36B-A3F2C855C3BA}" dt="2023-11-02T06:46:18.518" v="23719" actId="207"/>
        <pc:sldMkLst>
          <pc:docMk/>
          <pc:sldMk cId="118271412" sldId="2439"/>
        </pc:sldMkLst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118271412" sldId="2439"/>
            <ac:spMk id="3" creationId="{CE2529A3-BA97-486F-9E02-8DFAAA7D8D38}"/>
          </ac:spMkLst>
        </pc:spChg>
        <pc:spChg chg="mod">
          <ac:chgData name="Aurelien Domont" userId="6da7715ce44349b3" providerId="LiveId" clId="{8C97B853-E239-49C0-A36B-A3F2C855C3BA}" dt="2023-11-02T06:46:18.518" v="23719" actId="207"/>
          <ac:spMkLst>
            <pc:docMk/>
            <pc:sldMk cId="118271412" sldId="2439"/>
            <ac:spMk id="14" creationId="{709FB1BD-2F20-41D5-8D27-EB2A20221835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118271412" sldId="2439"/>
            <ac:spMk id="16" creationId="{6C2BB713-9637-4B9B-938F-E9768876782A}"/>
          </ac:spMkLst>
        </pc:spChg>
        <pc:spChg chg="mod">
          <ac:chgData name="Aurelien Domont" userId="6da7715ce44349b3" providerId="LiveId" clId="{8C97B853-E239-49C0-A36B-A3F2C855C3BA}" dt="2023-11-02T06:46:18.518" v="23719" actId="207"/>
          <ac:spMkLst>
            <pc:docMk/>
            <pc:sldMk cId="118271412" sldId="2439"/>
            <ac:spMk id="17" creationId="{CA5FE2CA-CD22-4EDB-B564-49109DFB3E8D}"/>
          </ac:spMkLst>
        </pc:spChg>
        <pc:spChg chg="mod">
          <ac:chgData name="Aurelien Domont" userId="6da7715ce44349b3" providerId="LiveId" clId="{8C97B853-E239-49C0-A36B-A3F2C855C3BA}" dt="2023-11-02T06:46:18.518" v="23719" actId="207"/>
          <ac:spMkLst>
            <pc:docMk/>
            <pc:sldMk cId="118271412" sldId="2439"/>
            <ac:spMk id="19" creationId="{BC94907A-41B0-48CC-9B8E-D56BD479EA77}"/>
          </ac:spMkLst>
        </pc:spChg>
      </pc:sldChg>
      <pc:sldChg chg="modSp add mod modClrScheme chgLayout">
        <pc:chgData name="Aurelien Domont" userId="6da7715ce44349b3" providerId="LiveId" clId="{8C97B853-E239-49C0-A36B-A3F2C855C3BA}" dt="2023-11-02T06:39:26.431" v="23656" actId="207"/>
        <pc:sldMkLst>
          <pc:docMk/>
          <pc:sldMk cId="1405034369" sldId="2440"/>
        </pc:sldMkLst>
        <pc:spChg chg="mod ord">
          <ac:chgData name="Aurelien Domont" userId="6da7715ce44349b3" providerId="LiveId" clId="{8C97B853-E239-49C0-A36B-A3F2C855C3BA}" dt="2023-11-02T06:36:08.791" v="23514"/>
          <ac:spMkLst>
            <pc:docMk/>
            <pc:sldMk cId="1405034369" sldId="2440"/>
            <ac:spMk id="3" creationId="{CE2529A3-BA97-486F-9E02-8DFAAA7D8D38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5" creationId="{E527BF1D-5FC1-E046-0886-AF9C50599AE4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6" creationId="{757D749C-00FB-6642-BABD-8A66AF58B016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7" creationId="{E0DC4698-52DF-707D-601D-A7C238BA2092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8" creationId="{006090FD-0B2A-55AA-4121-3C93BB4FC874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11" creationId="{69C944CA-5D6F-B457-1D57-3186FD825981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12" creationId="{48AB0AE6-1AC3-089C-0B77-DA9CE3D2C3B3}"/>
          </ac:spMkLst>
        </pc:spChg>
        <pc:spChg chg="mod ord">
          <ac:chgData name="Aurelien Domont" userId="6da7715ce44349b3" providerId="LiveId" clId="{8C97B853-E239-49C0-A36B-A3F2C855C3BA}" dt="2023-11-02T06:36:08.791" v="23514"/>
          <ac:spMkLst>
            <pc:docMk/>
            <pc:sldMk cId="1405034369" sldId="2440"/>
            <ac:spMk id="16" creationId="{6C2BB713-9637-4B9B-938F-E9768876782A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27" creationId="{971393B1-5921-4021-A0B4-8B12AFEBEB3C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34" creationId="{9E1E32E2-7504-4F8B-B047-1B261A863B09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41" creationId="{0A831AEF-EA2D-4387-9F98-798DC48C4F67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45" creationId="{AEA43EE9-01B9-41D6-8DB8-C05C04D40EED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55" creationId="{02F8B586-E597-47E9-A331-BB8AE80B75AF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56" creationId="{A2B4EC7F-860D-481C-B826-E4DF30F5350A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58" creationId="{8E005928-5C62-4851-9410-C40399C5C1AC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60" creationId="{88FD4DED-47FF-4FCD-9516-4420D0B99AFA}"/>
          </ac:spMkLst>
        </pc:spChg>
        <pc:spChg chg="mod">
          <ac:chgData name="Aurelien Domont" userId="6da7715ce44349b3" providerId="LiveId" clId="{8C97B853-E239-49C0-A36B-A3F2C855C3BA}" dt="2023-11-02T06:39:26.431" v="23656" actId="207"/>
          <ac:spMkLst>
            <pc:docMk/>
            <pc:sldMk cId="1405034369" sldId="2440"/>
            <ac:spMk id="62" creationId="{F91883F4-1B2F-4298-8ECF-370785CDB20E}"/>
          </ac:spMkLst>
        </pc:spChg>
      </pc:sldChg>
      <pc:sldChg chg="modSp add mod modClrScheme chgLayout">
        <pc:chgData name="Aurelien Domont" userId="6da7715ce44349b3" providerId="LiveId" clId="{8C97B853-E239-49C0-A36B-A3F2C855C3BA}" dt="2023-11-02T06:44:42.753" v="23664"/>
        <pc:sldMkLst>
          <pc:docMk/>
          <pc:sldMk cId="2594125012" sldId="2441"/>
        </pc:sldMkLst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2594125012" sldId="2441"/>
            <ac:spMk id="16" creationId="{6C2BB713-9637-4B9B-938F-E9768876782A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2594125012" sldId="2441"/>
            <ac:spMk id="23" creationId="{F454D14B-DAC4-4704-9DA8-57CC091E82CA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2T06:47:21.795" v="23740" actId="20577"/>
        <pc:sldMkLst>
          <pc:docMk/>
          <pc:sldMk cId="1457987928" sldId="2442"/>
        </pc:sldMkLst>
        <pc:spChg chg="add mod">
          <ac:chgData name="Aurelien Domont" userId="6da7715ce44349b3" providerId="LiveId" clId="{8C97B853-E239-49C0-A36B-A3F2C855C3BA}" dt="2023-11-02T06:47:21.795" v="23740" actId="20577"/>
          <ac:spMkLst>
            <pc:docMk/>
            <pc:sldMk cId="1457987928" sldId="2442"/>
            <ac:spMk id="4" creationId="{179C10AD-0966-4ED2-4A91-8F0A66DFEB7E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1457987928" sldId="2442"/>
            <ac:spMk id="16" creationId="{6C2BB713-9637-4B9B-938F-E9768876782A}"/>
          </ac:spMkLst>
        </pc:spChg>
        <pc:spChg chg="mod">
          <ac:chgData name="Aurelien Domont" userId="6da7715ce44349b3" providerId="LiveId" clId="{8C97B853-E239-49C0-A36B-A3F2C855C3BA}" dt="2023-11-02T06:46:33.765" v="23720" actId="207"/>
          <ac:spMkLst>
            <pc:docMk/>
            <pc:sldMk cId="1457987928" sldId="2442"/>
            <ac:spMk id="24" creationId="{71E1A36F-B7CB-4B5C-B268-1CEA1E845475}"/>
          </ac:spMkLst>
        </pc:spChg>
        <pc:spChg chg="del">
          <ac:chgData name="Aurelien Domont" userId="6da7715ce44349b3" providerId="LiveId" clId="{8C97B853-E239-49C0-A36B-A3F2C855C3BA}" dt="2023-11-02T06:47:13.562" v="23722" actId="478"/>
          <ac:spMkLst>
            <pc:docMk/>
            <pc:sldMk cId="1457987928" sldId="2442"/>
            <ac:spMk id="66" creationId="{B20D6F6E-B5FE-448C-97EF-3EABBE730027}"/>
          </ac:spMkLst>
        </pc:spChg>
        <pc:spChg chg="mod">
          <ac:chgData name="Aurelien Domont" userId="6da7715ce44349b3" providerId="LiveId" clId="{8C97B853-E239-49C0-A36B-A3F2C855C3BA}" dt="2023-11-02T06:46:33.765" v="23720" actId="207"/>
          <ac:spMkLst>
            <pc:docMk/>
            <pc:sldMk cId="1457987928" sldId="2442"/>
            <ac:spMk id="68" creationId="{9973A78D-9735-45FB-BBE3-3740A9AB3618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1457987928" sldId="2442"/>
            <ac:spMk id="84" creationId="{75930A38-3A3D-4E8B-8DCE-4F55A5111B5B}"/>
          </ac:spMkLst>
        </pc:spChg>
        <pc:spChg chg="mod">
          <ac:chgData name="Aurelien Domont" userId="6da7715ce44349b3" providerId="LiveId" clId="{8C97B853-E239-49C0-A36B-A3F2C855C3BA}" dt="2023-11-02T06:46:33.765" v="23720" actId="207"/>
          <ac:spMkLst>
            <pc:docMk/>
            <pc:sldMk cId="1457987928" sldId="2442"/>
            <ac:spMk id="86" creationId="{A6A01515-5BFF-45CD-BDAB-9397457B3810}"/>
          </ac:spMkLst>
        </pc:spChg>
        <pc:spChg chg="mod">
          <ac:chgData name="Aurelien Domont" userId="6da7715ce44349b3" providerId="LiveId" clId="{8C97B853-E239-49C0-A36B-A3F2C855C3BA}" dt="2023-11-02T06:46:33.765" v="23720" actId="207"/>
          <ac:spMkLst>
            <pc:docMk/>
            <pc:sldMk cId="1457987928" sldId="2442"/>
            <ac:spMk id="102" creationId="{87399506-5CCB-443B-99AD-E58483039686}"/>
          </ac:spMkLst>
        </pc:spChg>
        <pc:spChg chg="mod">
          <ac:chgData name="Aurelien Domont" userId="6da7715ce44349b3" providerId="LiveId" clId="{8C97B853-E239-49C0-A36B-A3F2C855C3BA}" dt="2023-11-02T06:46:33.765" v="23720" actId="207"/>
          <ac:spMkLst>
            <pc:docMk/>
            <pc:sldMk cId="1457987928" sldId="2442"/>
            <ac:spMk id="103" creationId="{E06FE76E-0E1E-46D8-8CEA-F2CD288BA2E0}"/>
          </ac:spMkLst>
        </pc:spChg>
        <pc:spChg chg="mod">
          <ac:chgData name="Aurelien Domont" userId="6da7715ce44349b3" providerId="LiveId" clId="{8C97B853-E239-49C0-A36B-A3F2C855C3BA}" dt="2023-11-02T06:46:33.765" v="23720" actId="207"/>
          <ac:spMkLst>
            <pc:docMk/>
            <pc:sldMk cId="1457987928" sldId="2442"/>
            <ac:spMk id="105" creationId="{0D184D7F-1696-4FE4-8204-832047111AFE}"/>
          </ac:spMkLst>
        </pc:spChg>
        <pc:spChg chg="mod">
          <ac:chgData name="Aurelien Domont" userId="6da7715ce44349b3" providerId="LiveId" clId="{8C97B853-E239-49C0-A36B-A3F2C855C3BA}" dt="2023-11-02T06:46:33.765" v="23720" actId="207"/>
          <ac:spMkLst>
            <pc:docMk/>
            <pc:sldMk cId="1457987928" sldId="2442"/>
            <ac:spMk id="109" creationId="{39D1EE5D-2C0B-4F74-A548-45A7EEA94561}"/>
          </ac:spMkLst>
        </pc:spChg>
        <pc:spChg chg="mod">
          <ac:chgData name="Aurelien Domont" userId="6da7715ce44349b3" providerId="LiveId" clId="{8C97B853-E239-49C0-A36B-A3F2C855C3BA}" dt="2023-11-02T06:46:33.765" v="23720" actId="207"/>
          <ac:spMkLst>
            <pc:docMk/>
            <pc:sldMk cId="1457987928" sldId="2442"/>
            <ac:spMk id="110" creationId="{43AF006D-5F70-4E08-9F1F-12BAB99C1A1E}"/>
          </ac:spMkLst>
        </pc:spChg>
        <pc:spChg chg="mod">
          <ac:chgData name="Aurelien Domont" userId="6da7715ce44349b3" providerId="LiveId" clId="{8C97B853-E239-49C0-A36B-A3F2C855C3BA}" dt="2023-11-02T06:46:33.765" v="23720" actId="207"/>
          <ac:spMkLst>
            <pc:docMk/>
            <pc:sldMk cId="1457987928" sldId="2442"/>
            <ac:spMk id="111" creationId="{1B31FF59-5C6E-40ED-88CF-DAADDB5DB2E8}"/>
          </ac:spMkLst>
        </pc:spChg>
        <pc:spChg chg="mod">
          <ac:chgData name="Aurelien Domont" userId="6da7715ce44349b3" providerId="LiveId" clId="{8C97B853-E239-49C0-A36B-A3F2C855C3BA}" dt="2023-11-02T06:46:33.765" v="23720" actId="207"/>
          <ac:spMkLst>
            <pc:docMk/>
            <pc:sldMk cId="1457987928" sldId="2442"/>
            <ac:spMk id="113" creationId="{5F5BF421-155E-4B53-8809-98950B5CBCBD}"/>
          </ac:spMkLst>
        </pc:spChg>
        <pc:spChg chg="mod">
          <ac:chgData name="Aurelien Domont" userId="6da7715ce44349b3" providerId="LiveId" clId="{8C97B853-E239-49C0-A36B-A3F2C855C3BA}" dt="2023-11-02T06:46:33.765" v="23720" actId="207"/>
          <ac:spMkLst>
            <pc:docMk/>
            <pc:sldMk cId="1457987928" sldId="2442"/>
            <ac:spMk id="117" creationId="{C6D5837C-E5FC-4DAC-9525-CBF22A4800B7}"/>
          </ac:spMkLst>
        </pc:spChg>
        <pc:spChg chg="mod">
          <ac:chgData name="Aurelien Domont" userId="6da7715ce44349b3" providerId="LiveId" clId="{8C97B853-E239-49C0-A36B-A3F2C855C3BA}" dt="2023-11-02T06:46:33.765" v="23720" actId="207"/>
          <ac:spMkLst>
            <pc:docMk/>
            <pc:sldMk cId="1457987928" sldId="2442"/>
            <ac:spMk id="118" creationId="{9E6A675B-0959-43EC-93E2-538E5F21C5EC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3T00:00:54.362" v="34078" actId="20577"/>
        <pc:sldMkLst>
          <pc:docMk/>
          <pc:sldMk cId="1154909907" sldId="2443"/>
        </pc:sldMkLst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1154909907" sldId="2443"/>
            <ac:spMk id="2" creationId="{A67BEC9B-911F-478E-9C56-72957F18467D}"/>
          </ac:spMkLst>
        </pc:spChg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1154909907" sldId="2443"/>
            <ac:spMk id="14" creationId="{C9800183-F524-4412-AB39-A6E1A21FF0B3}"/>
          </ac:spMkLst>
        </pc:spChg>
        <pc:spChg chg="del">
          <ac:chgData name="Aurelien Domont" userId="6da7715ce44349b3" providerId="LiveId" clId="{8C97B853-E239-49C0-A36B-A3F2C855C3BA}" dt="2023-11-03T00:00:52.098" v="34076" actId="478"/>
          <ac:spMkLst>
            <pc:docMk/>
            <pc:sldMk cId="1154909907" sldId="2443"/>
            <ac:spMk id="55" creationId="{9FD6ACBB-D947-110F-6D90-7B499B90924F}"/>
          </ac:spMkLst>
        </pc:spChg>
        <pc:spChg chg="add mod">
          <ac:chgData name="Aurelien Domont" userId="6da7715ce44349b3" providerId="LiveId" clId="{8C97B853-E239-49C0-A36B-A3F2C855C3BA}" dt="2023-11-03T00:00:54.362" v="34078" actId="20577"/>
          <ac:spMkLst>
            <pc:docMk/>
            <pc:sldMk cId="1154909907" sldId="2443"/>
            <ac:spMk id="56" creationId="{25F9D3AD-C5F8-2A1A-0BBE-EFC1D62F7F7A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2T06:47:47.997" v="23760" actId="20577"/>
        <pc:sldMkLst>
          <pc:docMk/>
          <pc:sldMk cId="3801254905" sldId="2445"/>
        </pc:sldMkLst>
        <pc:spChg chg="add mod">
          <ac:chgData name="Aurelien Domont" userId="6da7715ce44349b3" providerId="LiveId" clId="{8C97B853-E239-49C0-A36B-A3F2C855C3BA}" dt="2023-11-02T06:47:47.997" v="23760" actId="20577"/>
          <ac:spMkLst>
            <pc:docMk/>
            <pc:sldMk cId="3801254905" sldId="2445"/>
            <ac:spMk id="4" creationId="{E544D4D8-43D4-4E85-0F5F-C2ACD43A5A73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801254905" sldId="2445"/>
            <ac:spMk id="16" creationId="{6C2BB713-9637-4B9B-938F-E9768876782A}"/>
          </ac:spMkLst>
        </pc:spChg>
        <pc:spChg chg="mod">
          <ac:chgData name="Aurelien Domont" userId="6da7715ce44349b3" providerId="LiveId" clId="{8C97B853-E239-49C0-A36B-A3F2C855C3BA}" dt="2023-11-02T06:46:54.602" v="23721" actId="207"/>
          <ac:spMkLst>
            <pc:docMk/>
            <pc:sldMk cId="3801254905" sldId="2445"/>
            <ac:spMk id="24" creationId="{71E1A36F-B7CB-4B5C-B268-1CEA1E845475}"/>
          </ac:spMkLst>
        </pc:spChg>
        <pc:spChg chg="del">
          <ac:chgData name="Aurelien Domont" userId="6da7715ce44349b3" providerId="LiveId" clId="{8C97B853-E239-49C0-A36B-A3F2C855C3BA}" dt="2023-11-02T06:47:30.732" v="23741" actId="478"/>
          <ac:spMkLst>
            <pc:docMk/>
            <pc:sldMk cId="3801254905" sldId="2445"/>
            <ac:spMk id="66" creationId="{B20D6F6E-B5FE-448C-97EF-3EABBE730027}"/>
          </ac:spMkLst>
        </pc:spChg>
        <pc:spChg chg="mod">
          <ac:chgData name="Aurelien Domont" userId="6da7715ce44349b3" providerId="LiveId" clId="{8C97B853-E239-49C0-A36B-A3F2C855C3BA}" dt="2023-11-02T06:46:54.602" v="23721" actId="207"/>
          <ac:spMkLst>
            <pc:docMk/>
            <pc:sldMk cId="3801254905" sldId="2445"/>
            <ac:spMk id="68" creationId="{9973A78D-9735-45FB-BBE3-3740A9AB3618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801254905" sldId="2445"/>
            <ac:spMk id="84" creationId="{75930A38-3A3D-4E8B-8DCE-4F55A5111B5B}"/>
          </ac:spMkLst>
        </pc:spChg>
        <pc:spChg chg="mod">
          <ac:chgData name="Aurelien Domont" userId="6da7715ce44349b3" providerId="LiveId" clId="{8C97B853-E239-49C0-A36B-A3F2C855C3BA}" dt="2023-11-02T06:46:54.602" v="23721" actId="207"/>
          <ac:spMkLst>
            <pc:docMk/>
            <pc:sldMk cId="3801254905" sldId="2445"/>
            <ac:spMk id="86" creationId="{A6A01515-5BFF-45CD-BDAB-9397457B3810}"/>
          </ac:spMkLst>
        </pc:spChg>
        <pc:spChg chg="mod">
          <ac:chgData name="Aurelien Domont" userId="6da7715ce44349b3" providerId="LiveId" clId="{8C97B853-E239-49C0-A36B-A3F2C855C3BA}" dt="2023-11-02T06:46:54.602" v="23721" actId="207"/>
          <ac:spMkLst>
            <pc:docMk/>
            <pc:sldMk cId="3801254905" sldId="2445"/>
            <ac:spMk id="102" creationId="{87399506-5CCB-443B-99AD-E58483039686}"/>
          </ac:spMkLst>
        </pc:spChg>
        <pc:spChg chg="mod">
          <ac:chgData name="Aurelien Domont" userId="6da7715ce44349b3" providerId="LiveId" clId="{8C97B853-E239-49C0-A36B-A3F2C855C3BA}" dt="2023-11-02T06:46:54.602" v="23721" actId="207"/>
          <ac:spMkLst>
            <pc:docMk/>
            <pc:sldMk cId="3801254905" sldId="2445"/>
            <ac:spMk id="103" creationId="{E06FE76E-0E1E-46D8-8CEA-F2CD288BA2E0}"/>
          </ac:spMkLst>
        </pc:spChg>
        <pc:spChg chg="mod">
          <ac:chgData name="Aurelien Domont" userId="6da7715ce44349b3" providerId="LiveId" clId="{8C97B853-E239-49C0-A36B-A3F2C855C3BA}" dt="2023-11-02T06:46:54.602" v="23721" actId="207"/>
          <ac:spMkLst>
            <pc:docMk/>
            <pc:sldMk cId="3801254905" sldId="2445"/>
            <ac:spMk id="105" creationId="{0D184D7F-1696-4FE4-8204-832047111AFE}"/>
          </ac:spMkLst>
        </pc:spChg>
        <pc:spChg chg="mod">
          <ac:chgData name="Aurelien Domont" userId="6da7715ce44349b3" providerId="LiveId" clId="{8C97B853-E239-49C0-A36B-A3F2C855C3BA}" dt="2023-11-02T06:46:54.602" v="23721" actId="207"/>
          <ac:spMkLst>
            <pc:docMk/>
            <pc:sldMk cId="3801254905" sldId="2445"/>
            <ac:spMk id="109" creationId="{39D1EE5D-2C0B-4F74-A548-45A7EEA94561}"/>
          </ac:spMkLst>
        </pc:spChg>
        <pc:spChg chg="mod">
          <ac:chgData name="Aurelien Domont" userId="6da7715ce44349b3" providerId="LiveId" clId="{8C97B853-E239-49C0-A36B-A3F2C855C3BA}" dt="2023-11-02T06:46:54.602" v="23721" actId="207"/>
          <ac:spMkLst>
            <pc:docMk/>
            <pc:sldMk cId="3801254905" sldId="2445"/>
            <ac:spMk id="110" creationId="{43AF006D-5F70-4E08-9F1F-12BAB99C1A1E}"/>
          </ac:spMkLst>
        </pc:spChg>
        <pc:spChg chg="mod">
          <ac:chgData name="Aurelien Domont" userId="6da7715ce44349b3" providerId="LiveId" clId="{8C97B853-E239-49C0-A36B-A3F2C855C3BA}" dt="2023-11-02T06:46:54.602" v="23721" actId="207"/>
          <ac:spMkLst>
            <pc:docMk/>
            <pc:sldMk cId="3801254905" sldId="2445"/>
            <ac:spMk id="111" creationId="{1B31FF59-5C6E-40ED-88CF-DAADDB5DB2E8}"/>
          </ac:spMkLst>
        </pc:spChg>
        <pc:spChg chg="mod">
          <ac:chgData name="Aurelien Domont" userId="6da7715ce44349b3" providerId="LiveId" clId="{8C97B853-E239-49C0-A36B-A3F2C855C3BA}" dt="2023-11-02T06:46:54.602" v="23721" actId="207"/>
          <ac:spMkLst>
            <pc:docMk/>
            <pc:sldMk cId="3801254905" sldId="2445"/>
            <ac:spMk id="113" creationId="{5F5BF421-155E-4B53-8809-98950B5CBCBD}"/>
          </ac:spMkLst>
        </pc:spChg>
        <pc:spChg chg="mod">
          <ac:chgData name="Aurelien Domont" userId="6da7715ce44349b3" providerId="LiveId" clId="{8C97B853-E239-49C0-A36B-A3F2C855C3BA}" dt="2023-11-02T06:46:54.602" v="23721" actId="207"/>
          <ac:spMkLst>
            <pc:docMk/>
            <pc:sldMk cId="3801254905" sldId="2445"/>
            <ac:spMk id="117" creationId="{C6D5837C-E5FC-4DAC-9525-CBF22A4800B7}"/>
          </ac:spMkLst>
        </pc:spChg>
        <pc:spChg chg="mod">
          <ac:chgData name="Aurelien Domont" userId="6da7715ce44349b3" providerId="LiveId" clId="{8C97B853-E239-49C0-A36B-A3F2C855C3BA}" dt="2023-11-02T06:46:54.602" v="23721" actId="207"/>
          <ac:spMkLst>
            <pc:docMk/>
            <pc:sldMk cId="3801254905" sldId="2445"/>
            <ac:spMk id="118" creationId="{9E6A675B-0959-43EC-93E2-538E5F21C5EC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2T06:47:53.872" v="23763" actId="20577"/>
        <pc:sldMkLst>
          <pc:docMk/>
          <pc:sldMk cId="967848613" sldId="2446"/>
        </pc:sldMkLst>
        <pc:spChg chg="add mod">
          <ac:chgData name="Aurelien Domont" userId="6da7715ce44349b3" providerId="LiveId" clId="{8C97B853-E239-49C0-A36B-A3F2C855C3BA}" dt="2023-11-02T06:47:53.872" v="23763" actId="20577"/>
          <ac:spMkLst>
            <pc:docMk/>
            <pc:sldMk cId="967848613" sldId="2446"/>
            <ac:spMk id="5" creationId="{C99F2D25-3A57-0293-5E21-B01220B0CA9D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967848613" sldId="2446"/>
            <ac:spMk id="16" creationId="{6C2BB713-9637-4B9B-938F-E9768876782A}"/>
          </ac:spMkLst>
        </pc:spChg>
        <pc:spChg chg="del">
          <ac:chgData name="Aurelien Domont" userId="6da7715ce44349b3" providerId="LiveId" clId="{8C97B853-E239-49C0-A36B-A3F2C855C3BA}" dt="2023-11-02T06:47:40.114" v="23751" actId="478"/>
          <ac:spMkLst>
            <pc:docMk/>
            <pc:sldMk cId="967848613" sldId="2446"/>
            <ac:spMk id="66" creationId="{B20D6F6E-B5FE-448C-97EF-3EABBE730027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967848613" sldId="2446"/>
            <ac:spMk id="84" creationId="{75930A38-3A3D-4E8B-8DCE-4F55A5111B5B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2T06:47:58.977" v="23767" actId="20577"/>
        <pc:sldMkLst>
          <pc:docMk/>
          <pc:sldMk cId="526972999" sldId="2447"/>
        </pc:sldMkLst>
        <pc:spChg chg="add mod">
          <ac:chgData name="Aurelien Domont" userId="6da7715ce44349b3" providerId="LiveId" clId="{8C97B853-E239-49C0-A36B-A3F2C855C3BA}" dt="2023-11-02T06:47:58.977" v="23767" actId="20577"/>
          <ac:spMkLst>
            <pc:docMk/>
            <pc:sldMk cId="526972999" sldId="2447"/>
            <ac:spMk id="5" creationId="{6AD34ED2-F9F8-3D39-3FE8-B2E0CAF5192B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526972999" sldId="2447"/>
            <ac:spMk id="16" creationId="{6C2BB713-9637-4B9B-938F-E9768876782A}"/>
          </ac:spMkLst>
        </pc:spChg>
        <pc:spChg chg="del">
          <ac:chgData name="Aurelien Domont" userId="6da7715ce44349b3" providerId="LiveId" clId="{8C97B853-E239-49C0-A36B-A3F2C855C3BA}" dt="2023-11-02T06:47:56.951" v="23764" actId="478"/>
          <ac:spMkLst>
            <pc:docMk/>
            <pc:sldMk cId="526972999" sldId="2447"/>
            <ac:spMk id="66" creationId="{B20D6F6E-B5FE-448C-97EF-3EABBE730027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526972999" sldId="2447"/>
            <ac:spMk id="84" creationId="{75930A38-3A3D-4E8B-8DCE-4F55A5111B5B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2T06:48:26.232" v="23790" actId="1076"/>
        <pc:sldMkLst>
          <pc:docMk/>
          <pc:sldMk cId="351239133" sldId="2448"/>
        </pc:sldMkLst>
        <pc:spChg chg="add mod">
          <ac:chgData name="Aurelien Domont" userId="6da7715ce44349b3" providerId="LiveId" clId="{8C97B853-E239-49C0-A36B-A3F2C855C3BA}" dt="2023-11-02T06:48:18.310" v="23788" actId="20577"/>
          <ac:spMkLst>
            <pc:docMk/>
            <pc:sldMk cId="351239133" sldId="2448"/>
            <ac:spMk id="5" creationId="{2ECF625A-C6EB-8A75-FCAC-91F4704A0449}"/>
          </ac:spMkLst>
        </pc:spChg>
        <pc:spChg chg="del">
          <ac:chgData name="Aurelien Domont" userId="6da7715ce44349b3" providerId="LiveId" clId="{8C97B853-E239-49C0-A36B-A3F2C855C3BA}" dt="2023-11-02T06:48:21.910" v="23789" actId="478"/>
          <ac:spMkLst>
            <pc:docMk/>
            <pc:sldMk cId="351239133" sldId="2448"/>
            <ac:spMk id="9" creationId="{8F5AAC25-37CA-3F1F-90EC-578CB84DACAE}"/>
          </ac:spMkLst>
        </pc:spChg>
        <pc:spChg chg="del">
          <ac:chgData name="Aurelien Domont" userId="6da7715ce44349b3" providerId="LiveId" clId="{8C97B853-E239-49C0-A36B-A3F2C855C3BA}" dt="2023-11-02T06:48:21.910" v="23789" actId="478"/>
          <ac:spMkLst>
            <pc:docMk/>
            <pc:sldMk cId="351239133" sldId="2448"/>
            <ac:spMk id="10" creationId="{0E58363F-2463-1155-BAD9-C23BE95FBCDB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51239133" sldId="2448"/>
            <ac:spMk id="16" creationId="{6C2BB713-9637-4B9B-938F-E9768876782A}"/>
          </ac:spMkLst>
        </pc:spChg>
        <pc:spChg chg="del">
          <ac:chgData name="Aurelien Domont" userId="6da7715ce44349b3" providerId="LiveId" clId="{8C97B853-E239-49C0-A36B-A3F2C855C3BA}" dt="2023-11-02T06:48:13.522" v="23776" actId="478"/>
          <ac:spMkLst>
            <pc:docMk/>
            <pc:sldMk cId="351239133" sldId="2448"/>
            <ac:spMk id="66" creationId="{B20D6F6E-B5FE-448C-97EF-3EABBE730027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51239133" sldId="2448"/>
            <ac:spMk id="84" creationId="{75930A38-3A3D-4E8B-8DCE-4F55A5111B5B}"/>
          </ac:spMkLst>
        </pc:spChg>
        <pc:picChg chg="mod">
          <ac:chgData name="Aurelien Domont" userId="6da7715ce44349b3" providerId="LiveId" clId="{8C97B853-E239-49C0-A36B-A3F2C855C3BA}" dt="2023-11-02T06:48:26.232" v="23790" actId="1076"/>
          <ac:picMkLst>
            <pc:docMk/>
            <pc:sldMk cId="351239133" sldId="2448"/>
            <ac:picMk id="3" creationId="{6B3642FD-10A6-40AE-8EC5-951437A5BC7F}"/>
          </ac:picMkLst>
        </pc:picChg>
        <pc:picChg chg="mod">
          <ac:chgData name="Aurelien Domont" userId="6da7715ce44349b3" providerId="LiveId" clId="{8C97B853-E239-49C0-A36B-A3F2C855C3BA}" dt="2023-11-02T06:48:26.232" v="23790" actId="1076"/>
          <ac:picMkLst>
            <pc:docMk/>
            <pc:sldMk cId="351239133" sldId="2448"/>
            <ac:picMk id="8" creationId="{E7D4340F-9F25-4F35-9DE5-A51A1FD2A52D}"/>
          </ac:picMkLst>
        </pc:picChg>
      </pc:sldChg>
      <pc:sldChg chg="addSp delSp modSp add mod modClrScheme chgLayout">
        <pc:chgData name="Aurelien Domont" userId="6da7715ce44349b3" providerId="LiveId" clId="{8C97B853-E239-49C0-A36B-A3F2C855C3BA}" dt="2023-11-02T06:48:05.292" v="23771" actId="20577"/>
        <pc:sldMkLst>
          <pc:docMk/>
          <pc:sldMk cId="3917879965" sldId="2449"/>
        </pc:sldMkLst>
        <pc:spChg chg="add mod">
          <ac:chgData name="Aurelien Domont" userId="6da7715ce44349b3" providerId="LiveId" clId="{8C97B853-E239-49C0-A36B-A3F2C855C3BA}" dt="2023-11-02T06:48:05.292" v="23771" actId="20577"/>
          <ac:spMkLst>
            <pc:docMk/>
            <pc:sldMk cId="3917879965" sldId="2449"/>
            <ac:spMk id="5" creationId="{53DAFC7B-4800-BC4D-3AD7-4BEB480EF800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917879965" sldId="2449"/>
            <ac:spMk id="16" creationId="{6C2BB713-9637-4B9B-938F-E9768876782A}"/>
          </ac:spMkLst>
        </pc:spChg>
        <pc:spChg chg="del">
          <ac:chgData name="Aurelien Domont" userId="6da7715ce44349b3" providerId="LiveId" clId="{8C97B853-E239-49C0-A36B-A3F2C855C3BA}" dt="2023-11-02T06:48:02.810" v="23768" actId="478"/>
          <ac:spMkLst>
            <pc:docMk/>
            <pc:sldMk cId="3917879965" sldId="2449"/>
            <ac:spMk id="66" creationId="{B20D6F6E-B5FE-448C-97EF-3EABBE730027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917879965" sldId="2449"/>
            <ac:spMk id="84" creationId="{75930A38-3A3D-4E8B-8DCE-4F55A5111B5B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2T06:48:10.332" v="23775" actId="20577"/>
        <pc:sldMkLst>
          <pc:docMk/>
          <pc:sldMk cId="3554794133" sldId="2450"/>
        </pc:sldMkLst>
        <pc:spChg chg="add mod">
          <ac:chgData name="Aurelien Domont" userId="6da7715ce44349b3" providerId="LiveId" clId="{8C97B853-E239-49C0-A36B-A3F2C855C3BA}" dt="2023-11-02T06:48:10.332" v="23775" actId="20577"/>
          <ac:spMkLst>
            <pc:docMk/>
            <pc:sldMk cId="3554794133" sldId="2450"/>
            <ac:spMk id="5" creationId="{224517B8-9A33-1C25-D555-6AC336D518E3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554794133" sldId="2450"/>
            <ac:spMk id="16" creationId="{6C2BB713-9637-4B9B-938F-E9768876782A}"/>
          </ac:spMkLst>
        </pc:spChg>
        <pc:spChg chg="del">
          <ac:chgData name="Aurelien Domont" userId="6da7715ce44349b3" providerId="LiveId" clId="{8C97B853-E239-49C0-A36B-A3F2C855C3BA}" dt="2023-11-02T06:48:08.259" v="23772" actId="478"/>
          <ac:spMkLst>
            <pc:docMk/>
            <pc:sldMk cId="3554794133" sldId="2450"/>
            <ac:spMk id="66" creationId="{B20D6F6E-B5FE-448C-97EF-3EABBE730027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554794133" sldId="2450"/>
            <ac:spMk id="84" creationId="{75930A38-3A3D-4E8B-8DCE-4F55A5111B5B}"/>
          </ac:spMkLst>
        </pc:spChg>
      </pc:sldChg>
      <pc:sldChg chg="modSp add mod modClrScheme chgLayout">
        <pc:chgData name="Aurelien Domont" userId="6da7715ce44349b3" providerId="LiveId" clId="{8C97B853-E239-49C0-A36B-A3F2C855C3BA}" dt="2023-11-02T06:44:42.753" v="23664"/>
        <pc:sldMkLst>
          <pc:docMk/>
          <pc:sldMk cId="2457909485" sldId="2451"/>
        </pc:sldMkLst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2457909485" sldId="2451"/>
            <ac:spMk id="16" creationId="{6C2BB713-9637-4B9B-938F-E9768876782A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2457909485" sldId="2451"/>
            <ac:spMk id="23" creationId="{F454D14B-DAC4-4704-9DA8-57CC091E82CA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2T06:49:21.899" v="23812" actId="20577"/>
        <pc:sldMkLst>
          <pc:docMk/>
          <pc:sldMk cId="3397914777" sldId="2452"/>
        </pc:sldMkLst>
        <pc:spChg chg="add mod">
          <ac:chgData name="Aurelien Domont" userId="6da7715ce44349b3" providerId="LiveId" clId="{8C97B853-E239-49C0-A36B-A3F2C855C3BA}" dt="2023-11-02T06:49:21.899" v="23812" actId="20577"/>
          <ac:spMkLst>
            <pc:docMk/>
            <pc:sldMk cId="3397914777" sldId="2452"/>
            <ac:spMk id="5" creationId="{1FFB939F-C835-5585-407B-7E51CCBFC6B7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397914777" sldId="2452"/>
            <ac:spMk id="16" creationId="{6C2BB713-9637-4B9B-938F-E9768876782A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52" creationId="{D17DC261-8E20-4ADE-B00F-E21CFF4AEE67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53" creationId="{C745064C-2EDF-4D41-9106-53E356E7DE62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56" creationId="{C1195157-029B-43AC-9D73-CE3DF52BA710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57" creationId="{766AC92E-08AC-40EC-9330-BCD44A9C89E3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58" creationId="{0DF25D98-8F42-4073-87FD-4B0CCD235B01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62" creationId="{4F315F31-B8E0-4FC1-8D00-42AB0C60243E}"/>
          </ac:spMkLst>
        </pc:spChg>
        <pc:spChg chg="del">
          <ac:chgData name="Aurelien Domont" userId="6da7715ce44349b3" providerId="LiveId" clId="{8C97B853-E239-49C0-A36B-A3F2C855C3BA}" dt="2023-11-02T06:48:39.372" v="23791" actId="478"/>
          <ac:spMkLst>
            <pc:docMk/>
            <pc:sldMk cId="3397914777" sldId="2452"/>
            <ac:spMk id="66" creationId="{B20D6F6E-B5FE-448C-97EF-3EABBE730027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69" creationId="{7832B03F-86D9-43B9-9A5C-BC3BE9660716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71" creationId="{302E686D-8A3C-4CBE-893E-C8B83F25C2A2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72" creationId="{4166100D-269D-41A7-9197-F3A165273045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73" creationId="{256C4610-8B39-4722-8E3B-0A3F48C85B20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74" creationId="{4912189E-90D4-483B-A0B3-24A569E370B7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75" creationId="{77E3F8E5-127A-405D-8410-9635906113EB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76" creationId="{5F642638-6368-44F1-A9B7-57CC5779D4F7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77" creationId="{A63B573C-94DD-4A67-958B-17C92809E20C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78" creationId="{51EC6906-1AA0-40B9-B7A5-AC873A1E2C7D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79" creationId="{0F4388C8-1E7D-4B99-900F-8B836845047D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80" creationId="{8F1B23C1-734F-4CBA-9CAE-11D016EC6E4B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81" creationId="{78F07B04-E1DF-4F82-A7EC-DE1382159C24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82" creationId="{00F10451-80A6-454B-A8D2-1EA0D641C4D2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83" creationId="{D3C2E5C3-18FA-4EA0-A0EA-355CDA838DDF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397914777" sldId="2452"/>
            <ac:spMk id="84" creationId="{75930A38-3A3D-4E8B-8DCE-4F55A5111B5B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85" creationId="{78361845-AE7C-4A24-BDAD-0C877F57BA84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86" creationId="{5D4A3890-A311-423E-A19F-E6DC28A09FCA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89" creationId="{45962E28-F4E0-4C70-97F8-1191B8171A5A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110" creationId="{6450CA0F-40AF-409F-AC4C-47AC47525E2E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111" creationId="{CE6B7243-D5DC-4EF5-8647-0E2C4C8D18F3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112" creationId="{ACDED126-EFEA-4D15-B180-A85DA9E40B8B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116" creationId="{CE3AF3AA-C409-4727-B25F-A1B732F59A45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117" creationId="{F5CFB964-FB1E-44C8-A8E2-6741BD5E7D06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118" creationId="{18CF8DF5-5048-4A4B-A4F1-3C679CA6413A}"/>
          </ac:spMkLst>
        </pc:spChg>
        <pc:spChg chg="mod">
          <ac:chgData name="Aurelien Domont" userId="6da7715ce44349b3" providerId="LiveId" clId="{8C97B853-E239-49C0-A36B-A3F2C855C3BA}" dt="2023-11-02T06:49:12.036" v="23810" actId="207"/>
          <ac:spMkLst>
            <pc:docMk/>
            <pc:sldMk cId="3397914777" sldId="2452"/>
            <ac:spMk id="133" creationId="{C394F858-3472-4F55-A969-736DE51D8CE7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2T06:49:29.364" v="23815" actId="20577"/>
        <pc:sldMkLst>
          <pc:docMk/>
          <pc:sldMk cId="3130875905" sldId="2453"/>
        </pc:sldMkLst>
        <pc:spChg chg="add mod">
          <ac:chgData name="Aurelien Domont" userId="6da7715ce44349b3" providerId="LiveId" clId="{8C97B853-E239-49C0-A36B-A3F2C855C3BA}" dt="2023-11-02T06:49:29.364" v="23815" actId="20577"/>
          <ac:spMkLst>
            <pc:docMk/>
            <pc:sldMk cId="3130875905" sldId="2453"/>
            <ac:spMk id="5" creationId="{55EDAAF0-517F-E2A8-4751-6DD635C0FE52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130875905" sldId="2453"/>
            <ac:spMk id="16" creationId="{6C2BB713-9637-4B9B-938F-E9768876782A}"/>
          </ac:spMkLst>
        </pc:spChg>
        <pc:spChg chg="del">
          <ac:chgData name="Aurelien Domont" userId="6da7715ce44349b3" providerId="LiveId" clId="{8C97B853-E239-49C0-A36B-A3F2C855C3BA}" dt="2023-11-02T06:49:26.940" v="23813" actId="478"/>
          <ac:spMkLst>
            <pc:docMk/>
            <pc:sldMk cId="3130875905" sldId="2453"/>
            <ac:spMk id="66" creationId="{B20D6F6E-B5FE-448C-97EF-3EABBE730027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130875905" sldId="2453"/>
            <ac:spMk id="84" creationId="{75930A38-3A3D-4E8B-8DCE-4F55A5111B5B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66377701" sldId="2454"/>
        </pc:sldMkLst>
      </pc:sldChg>
      <pc:sldChg chg="addSp delSp modSp add mod modClrScheme chgLayout">
        <pc:chgData name="Aurelien Domont" userId="6da7715ce44349b3" providerId="LiveId" clId="{8C97B853-E239-49C0-A36B-A3F2C855C3BA}" dt="2023-11-02T06:49:56.268" v="23837" actId="20577"/>
        <pc:sldMkLst>
          <pc:docMk/>
          <pc:sldMk cId="1143051604" sldId="2454"/>
        </pc:sldMkLst>
        <pc:spChg chg="add mod">
          <ac:chgData name="Aurelien Domont" userId="6da7715ce44349b3" providerId="LiveId" clId="{8C97B853-E239-49C0-A36B-A3F2C855C3BA}" dt="2023-11-02T06:49:56.268" v="23837" actId="20577"/>
          <ac:spMkLst>
            <pc:docMk/>
            <pc:sldMk cId="1143051604" sldId="2454"/>
            <ac:spMk id="5" creationId="{83717926-60B1-FE6E-63BC-569F0B985F1C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1143051604" sldId="2454"/>
            <ac:spMk id="16" creationId="{6C2BB713-9637-4B9B-938F-E9768876782A}"/>
          </ac:spMkLst>
        </pc:spChg>
        <pc:spChg chg="del">
          <ac:chgData name="Aurelien Domont" userId="6da7715ce44349b3" providerId="LiveId" clId="{8C97B853-E239-49C0-A36B-A3F2C855C3BA}" dt="2023-11-02T06:49:36.839" v="23816" actId="478"/>
          <ac:spMkLst>
            <pc:docMk/>
            <pc:sldMk cId="1143051604" sldId="2454"/>
            <ac:spMk id="66" creationId="{B20D6F6E-B5FE-448C-97EF-3EABBE730027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1143051604" sldId="2454"/>
            <ac:spMk id="84" creationId="{75930A38-3A3D-4E8B-8DCE-4F55A5111B5B}"/>
          </ac:spMkLst>
        </pc:spChg>
      </pc:sldChg>
      <pc:sldChg chg="modSp add mod modClrScheme chgLayout">
        <pc:chgData name="Aurelien Domont" userId="6da7715ce44349b3" providerId="LiveId" clId="{8C97B853-E239-49C0-A36B-A3F2C855C3BA}" dt="2023-11-02T06:45:59.830" v="23717"/>
        <pc:sldMkLst>
          <pc:docMk/>
          <pc:sldMk cId="1545824460" sldId="2455"/>
        </pc:sldMkLst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1545824460" sldId="2455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06:45:59.768" v="23715" actId="20577"/>
          <ac:spMkLst>
            <pc:docMk/>
            <pc:sldMk cId="1545824460" sldId="2455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06:45:59.830" v="23717"/>
          <ac:graphicFrameMkLst>
            <pc:docMk/>
            <pc:sldMk cId="1545824460" sldId="2455"/>
            <ac:graphicFrameMk id="13" creationId="{A073AF91-5325-42B9-A31A-3D179304022A}"/>
          </ac:graphicFrameMkLst>
        </pc:graphicFrame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176549573" sldId="2455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970498837" sldId="2457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803861103" sldId="2458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992589810" sldId="2459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4176761263" sldId="2475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119971175" sldId="2476"/>
        </pc:sldMkLst>
      </pc:sldChg>
      <pc:sldChg chg="modSp add mod modClrScheme chgLayout">
        <pc:chgData name="Aurelien Domont" userId="6da7715ce44349b3" providerId="LiveId" clId="{8C97B853-E239-49C0-A36B-A3F2C855C3BA}" dt="2023-11-02T23:40:39.100" v="24543"/>
        <pc:sldMkLst>
          <pc:docMk/>
          <pc:sldMk cId="3190274426" sldId="2483"/>
        </pc:sldMkLst>
        <pc:spChg chg="mod ord">
          <ac:chgData name="Aurelien Domont" userId="6da7715ce44349b3" providerId="LiveId" clId="{8C97B853-E239-49C0-A36B-A3F2C855C3BA}" dt="2023-11-02T23:39:22.689" v="24423"/>
          <ac:spMkLst>
            <pc:docMk/>
            <pc:sldMk cId="3190274426" sldId="2483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23:40:38.596" v="24539" actId="20577"/>
          <ac:spMkLst>
            <pc:docMk/>
            <pc:sldMk cId="3190274426" sldId="2483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23:40:39.100" v="24543"/>
          <ac:graphicFrameMkLst>
            <pc:docMk/>
            <pc:sldMk cId="3190274426" sldId="2483"/>
            <ac:graphicFrameMk id="13" creationId="{A073AF91-5325-42B9-A31A-3D179304022A}"/>
          </ac:graphicFrameMkLst>
        </pc:graphicFrame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242661849" sldId="2483"/>
        </pc:sldMkLst>
      </pc:sldChg>
      <pc:sldChg chg="modSp add mod modClrScheme chgLayout">
        <pc:chgData name="Aurelien Domont" userId="6da7715ce44349b3" providerId="LiveId" clId="{8C97B853-E239-49C0-A36B-A3F2C855C3BA}" dt="2023-11-02T23:39:22.689" v="24423"/>
        <pc:sldMkLst>
          <pc:docMk/>
          <pc:sldMk cId="493024874" sldId="2484"/>
        </pc:sldMkLst>
        <pc:spChg chg="mod ord">
          <ac:chgData name="Aurelien Domont" userId="6da7715ce44349b3" providerId="LiveId" clId="{8C97B853-E239-49C0-A36B-A3F2C855C3BA}" dt="2023-11-02T23:39:22.689" v="24423"/>
          <ac:spMkLst>
            <pc:docMk/>
            <pc:sldMk cId="493024874" sldId="2484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23:39:22.689" v="24423"/>
          <ac:spMkLst>
            <pc:docMk/>
            <pc:sldMk cId="493024874" sldId="2484"/>
            <ac:spMk id="16" creationId="{6C2BB713-9637-4B9B-938F-E9768876782A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217564965" sldId="2484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632457605" sldId="2485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593716134" sldId="2486"/>
        </pc:sldMkLst>
      </pc:sldChg>
      <pc:sldChg chg="modSp add mod modClrScheme chgLayout">
        <pc:chgData name="Aurelien Domont" userId="6da7715ce44349b3" providerId="LiveId" clId="{8C97B853-E239-49C0-A36B-A3F2C855C3BA}" dt="2023-11-02T23:40:56.827" v="24545" actId="207"/>
        <pc:sldMkLst>
          <pc:docMk/>
          <pc:sldMk cId="2959284277" sldId="2486"/>
        </pc:sldMkLst>
        <pc:spChg chg="mod">
          <ac:chgData name="Aurelien Domont" userId="6da7715ce44349b3" providerId="LiveId" clId="{8C97B853-E239-49C0-A36B-A3F2C855C3BA}" dt="2023-11-02T23:40:52.272" v="24544" actId="207"/>
          <ac:spMkLst>
            <pc:docMk/>
            <pc:sldMk cId="2959284277" sldId="2486"/>
            <ac:spMk id="2" creationId="{C8042D7C-02C6-41CC-9707-C9C5F6FA269D}"/>
          </ac:spMkLst>
        </pc:spChg>
        <pc:spChg chg="mod ord">
          <ac:chgData name="Aurelien Domont" userId="6da7715ce44349b3" providerId="LiveId" clId="{8C97B853-E239-49C0-A36B-A3F2C855C3BA}" dt="2023-11-02T23:39:22.689" v="24423"/>
          <ac:spMkLst>
            <pc:docMk/>
            <pc:sldMk cId="2959284277" sldId="2486"/>
            <ac:spMk id="9" creationId="{DCB9C85F-865B-4CA7-8FDB-39B8A347C2AB}"/>
          </ac:spMkLst>
        </pc:spChg>
        <pc:spChg chg="mod ord">
          <ac:chgData name="Aurelien Domont" userId="6da7715ce44349b3" providerId="LiveId" clId="{8C97B853-E239-49C0-A36B-A3F2C855C3BA}" dt="2023-11-02T23:39:22.689" v="24423"/>
          <ac:spMkLst>
            <pc:docMk/>
            <pc:sldMk cId="2959284277" sldId="2486"/>
            <ac:spMk id="16" creationId="{6C2BB713-9637-4B9B-938F-E9768876782A}"/>
          </ac:spMkLst>
        </pc:spChg>
        <pc:spChg chg="mod">
          <ac:chgData name="Aurelien Domont" userId="6da7715ce44349b3" providerId="LiveId" clId="{8C97B853-E239-49C0-A36B-A3F2C855C3BA}" dt="2023-11-02T23:40:56.827" v="24545" actId="207"/>
          <ac:spMkLst>
            <pc:docMk/>
            <pc:sldMk cId="2959284277" sldId="2486"/>
            <ac:spMk id="22" creationId="{9451C740-A260-4E73-93AE-9A3732F37470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423870740" sldId="2487"/>
        </pc:sldMkLst>
      </pc:sldChg>
      <pc:sldChg chg="addSp modSp add mod modClrScheme chgLayout">
        <pc:chgData name="Aurelien Domont" userId="6da7715ce44349b3" providerId="LiveId" clId="{8C97B853-E239-49C0-A36B-A3F2C855C3BA}" dt="2023-11-02T23:41:20.602" v="24546"/>
        <pc:sldMkLst>
          <pc:docMk/>
          <pc:sldMk cId="1599046706" sldId="2487"/>
        </pc:sldMkLst>
        <pc:spChg chg="add mod">
          <ac:chgData name="Aurelien Domont" userId="6da7715ce44349b3" providerId="LiveId" clId="{8C97B853-E239-49C0-A36B-A3F2C855C3BA}" dt="2023-11-02T23:41:20.602" v="24546"/>
          <ac:spMkLst>
            <pc:docMk/>
            <pc:sldMk cId="1599046706" sldId="2487"/>
            <ac:spMk id="8" creationId="{B7D02FC4-D2AD-869F-8943-ACE35579E233}"/>
          </ac:spMkLst>
        </pc:spChg>
        <pc:spChg chg="mod ord">
          <ac:chgData name="Aurelien Domont" userId="6da7715ce44349b3" providerId="LiveId" clId="{8C97B853-E239-49C0-A36B-A3F2C855C3BA}" dt="2023-11-02T23:39:22.689" v="24423"/>
          <ac:spMkLst>
            <pc:docMk/>
            <pc:sldMk cId="1599046706" sldId="2487"/>
            <ac:spMk id="9" creationId="{DCB9C85F-865B-4CA7-8FDB-39B8A347C2AB}"/>
          </ac:spMkLst>
        </pc:spChg>
        <pc:spChg chg="mod ord">
          <ac:chgData name="Aurelien Domont" userId="6da7715ce44349b3" providerId="LiveId" clId="{8C97B853-E239-49C0-A36B-A3F2C855C3BA}" dt="2023-11-02T23:39:22.689" v="24423"/>
          <ac:spMkLst>
            <pc:docMk/>
            <pc:sldMk cId="1599046706" sldId="2487"/>
            <ac:spMk id="16" creationId="{6C2BB713-9637-4B9B-938F-E9768876782A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2T23:41:26.744" v="24550" actId="20577"/>
        <pc:sldMkLst>
          <pc:docMk/>
          <pc:sldMk cId="3266331645" sldId="2488"/>
        </pc:sldMkLst>
        <pc:spChg chg="del">
          <ac:chgData name="Aurelien Domont" userId="6da7715ce44349b3" providerId="LiveId" clId="{8C97B853-E239-49C0-A36B-A3F2C855C3BA}" dt="2023-11-02T23:41:24.305" v="24547" actId="478"/>
          <ac:spMkLst>
            <pc:docMk/>
            <pc:sldMk cId="3266331645" sldId="2488"/>
            <ac:spMk id="2" creationId="{2455B2BE-4685-CC38-77B5-C025C4B376B7}"/>
          </ac:spMkLst>
        </pc:spChg>
        <pc:spChg chg="add mod">
          <ac:chgData name="Aurelien Domont" userId="6da7715ce44349b3" providerId="LiveId" clId="{8C97B853-E239-49C0-A36B-A3F2C855C3BA}" dt="2023-11-02T23:41:26.744" v="24550" actId="20577"/>
          <ac:spMkLst>
            <pc:docMk/>
            <pc:sldMk cId="3266331645" sldId="2488"/>
            <ac:spMk id="5" creationId="{C7C79916-1FA5-30CE-169E-31D0FCDA84F4}"/>
          </ac:spMkLst>
        </pc:spChg>
        <pc:spChg chg="mod ord">
          <ac:chgData name="Aurelien Domont" userId="6da7715ce44349b3" providerId="LiveId" clId="{8C97B853-E239-49C0-A36B-A3F2C855C3BA}" dt="2023-11-02T23:39:22.689" v="24423"/>
          <ac:spMkLst>
            <pc:docMk/>
            <pc:sldMk cId="3266331645" sldId="2488"/>
            <ac:spMk id="9" creationId="{DCB9C85F-865B-4CA7-8FDB-39B8A347C2AB}"/>
          </ac:spMkLst>
        </pc:spChg>
        <pc:spChg chg="mod ord">
          <ac:chgData name="Aurelien Domont" userId="6da7715ce44349b3" providerId="LiveId" clId="{8C97B853-E239-49C0-A36B-A3F2C855C3BA}" dt="2023-11-02T23:39:22.689" v="24423"/>
          <ac:spMkLst>
            <pc:docMk/>
            <pc:sldMk cId="3266331645" sldId="2488"/>
            <ac:spMk id="16" creationId="{6C2BB713-9637-4B9B-938F-E9768876782A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4286225032" sldId="2488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340023768" sldId="2489"/>
        </pc:sldMkLst>
      </pc:sldChg>
      <pc:sldChg chg="addSp delSp modSp add mod modClrScheme chgLayout">
        <pc:chgData name="Aurelien Domont" userId="6da7715ce44349b3" providerId="LiveId" clId="{8C97B853-E239-49C0-A36B-A3F2C855C3BA}" dt="2023-11-02T23:41:35.830" v="24554" actId="20577"/>
        <pc:sldMkLst>
          <pc:docMk/>
          <pc:sldMk cId="3386949350" sldId="2489"/>
        </pc:sldMkLst>
        <pc:spChg chg="del">
          <ac:chgData name="Aurelien Domont" userId="6da7715ce44349b3" providerId="LiveId" clId="{8C97B853-E239-49C0-A36B-A3F2C855C3BA}" dt="2023-11-02T23:41:33.465" v="24551" actId="478"/>
          <ac:spMkLst>
            <pc:docMk/>
            <pc:sldMk cId="3386949350" sldId="2489"/>
            <ac:spMk id="7" creationId="{DE00C36A-C7E4-BF1A-ECA0-726E4100D4DA}"/>
          </ac:spMkLst>
        </pc:spChg>
        <pc:spChg chg="mod ord">
          <ac:chgData name="Aurelien Domont" userId="6da7715ce44349b3" providerId="LiveId" clId="{8C97B853-E239-49C0-A36B-A3F2C855C3BA}" dt="2023-11-02T23:39:22.689" v="24423"/>
          <ac:spMkLst>
            <pc:docMk/>
            <pc:sldMk cId="3386949350" sldId="2489"/>
            <ac:spMk id="9" creationId="{DCB9C85F-865B-4CA7-8FDB-39B8A347C2AB}"/>
          </ac:spMkLst>
        </pc:spChg>
        <pc:spChg chg="add mod">
          <ac:chgData name="Aurelien Domont" userId="6da7715ce44349b3" providerId="LiveId" clId="{8C97B853-E239-49C0-A36B-A3F2C855C3BA}" dt="2023-11-02T23:41:35.830" v="24554" actId="20577"/>
          <ac:spMkLst>
            <pc:docMk/>
            <pc:sldMk cId="3386949350" sldId="2489"/>
            <ac:spMk id="11" creationId="{8CDB47F6-F264-992A-EF0E-0D24818573CF}"/>
          </ac:spMkLst>
        </pc:spChg>
        <pc:spChg chg="mod ord">
          <ac:chgData name="Aurelien Domont" userId="6da7715ce44349b3" providerId="LiveId" clId="{8C97B853-E239-49C0-A36B-A3F2C855C3BA}" dt="2023-11-02T23:39:22.689" v="24423"/>
          <ac:spMkLst>
            <pc:docMk/>
            <pc:sldMk cId="3386949350" sldId="2489"/>
            <ac:spMk id="16" creationId="{6C2BB713-9637-4B9B-938F-E9768876782A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4008791961" sldId="2490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600916511" sldId="2495"/>
        </pc:sldMkLst>
      </pc:sldChg>
      <pc:sldChg chg="modSp add mod modClrScheme chgLayout">
        <pc:chgData name="Aurelien Domont" userId="6da7715ce44349b3" providerId="LiveId" clId="{8C97B853-E239-49C0-A36B-A3F2C855C3BA}" dt="2023-11-02T05:43:06.380" v="241"/>
        <pc:sldMkLst>
          <pc:docMk/>
          <pc:sldMk cId="3457892389" sldId="2496"/>
        </pc:sldMkLst>
        <pc:spChg chg="mod">
          <ac:chgData name="Aurelien Domont" userId="6da7715ce44349b3" providerId="LiveId" clId="{8C97B853-E239-49C0-A36B-A3F2C855C3BA}" dt="2023-11-02T05:36:02.597" v="35" actId="113"/>
          <ac:spMkLst>
            <pc:docMk/>
            <pc:sldMk cId="3457892389" sldId="2496"/>
            <ac:spMk id="2" creationId="{107CBC3A-51A1-9AE8-CF1B-ADF77053D8B3}"/>
          </ac:spMkLst>
        </pc:spChg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3457892389" sldId="2496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05:43:05.878" v="237" actId="20577"/>
          <ac:spMkLst>
            <pc:docMk/>
            <pc:sldMk cId="3457892389" sldId="2496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05:43:06.380" v="241"/>
          <ac:graphicFrameMkLst>
            <pc:docMk/>
            <pc:sldMk cId="3457892389" sldId="2496"/>
            <ac:graphicFrameMk id="13" creationId="{A073AF91-5325-42B9-A31A-3D179304022A}"/>
          </ac:graphicFrameMkLst>
        </pc:graphicFrameChg>
      </pc:sldChg>
      <pc:sldChg chg="addSp delSp modSp add mod modClrScheme chgLayout">
        <pc:chgData name="Aurelien Domont" userId="6da7715ce44349b3" providerId="LiveId" clId="{8C97B853-E239-49C0-A36B-A3F2C855C3BA}" dt="2023-11-02T06:38:40.835" v="23650" actId="113"/>
        <pc:sldMkLst>
          <pc:docMk/>
          <pc:sldMk cId="3548391786" sldId="2500"/>
        </pc:sldMkLst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2" creationId="{215DCF42-1B2C-8FC8-3EEC-F3DAF735EAE8}"/>
          </ac:spMkLst>
        </pc:spChg>
        <pc:spChg chg="del">
          <ac:chgData name="Aurelien Domont" userId="6da7715ce44349b3" providerId="LiveId" clId="{8C97B853-E239-49C0-A36B-A3F2C855C3BA}" dt="2023-11-02T06:36:27.725" v="23520" actId="478"/>
          <ac:spMkLst>
            <pc:docMk/>
            <pc:sldMk cId="3548391786" sldId="2500"/>
            <ac:spMk id="3" creationId="{89ADD8E5-20D1-E6C1-34E8-C3AD40F0C7C4}"/>
          </ac:spMkLst>
        </pc:spChg>
        <pc:spChg chg="mod ord">
          <ac:chgData name="Aurelien Domont" userId="6da7715ce44349b3" providerId="LiveId" clId="{8C97B853-E239-49C0-A36B-A3F2C855C3BA}" dt="2023-11-02T06:38:20.731" v="23644" actId="14100"/>
          <ac:spMkLst>
            <pc:docMk/>
            <pc:sldMk cId="3548391786" sldId="2500"/>
            <ac:spMk id="4" creationId="{D1960BBB-9E25-C92A-2487-0A1EF283611D}"/>
          </ac:spMkLst>
        </pc:spChg>
        <pc:spChg chg="add mod ord">
          <ac:chgData name="Aurelien Domont" userId="6da7715ce44349b3" providerId="LiveId" clId="{8C97B853-E239-49C0-A36B-A3F2C855C3BA}" dt="2023-11-02T06:38:07.072" v="23541"/>
          <ac:spMkLst>
            <pc:docMk/>
            <pc:sldMk cId="3548391786" sldId="2500"/>
            <ac:spMk id="5" creationId="{E4365BFB-C519-1F2B-919F-46F6C50E879C}"/>
          </ac:spMkLst>
        </pc:spChg>
        <pc:spChg chg="add mod ord">
          <ac:chgData name="Aurelien Domont" userId="6da7715ce44349b3" providerId="LiveId" clId="{8C97B853-E239-49C0-A36B-A3F2C855C3BA}" dt="2023-11-02T06:38:07.072" v="23543"/>
          <ac:spMkLst>
            <pc:docMk/>
            <pc:sldMk cId="3548391786" sldId="2500"/>
            <ac:spMk id="6" creationId="{E62BB398-2B21-F1E7-6AFE-C9129B0C1394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7" creationId="{D7FFDB73-23D3-83ED-BCAB-93802C7BB129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8" creationId="{C34097CD-1130-BF7F-33A6-952E9FF7BBF0}"/>
          </ac:spMkLst>
        </pc:spChg>
        <pc:spChg chg="add mod ord">
          <ac:chgData name="Aurelien Domont" userId="6da7715ce44349b3" providerId="LiveId" clId="{8C97B853-E239-49C0-A36B-A3F2C855C3BA}" dt="2023-11-02T06:38:07.072" v="23545"/>
          <ac:spMkLst>
            <pc:docMk/>
            <pc:sldMk cId="3548391786" sldId="2500"/>
            <ac:spMk id="9" creationId="{EA5AEF2D-05FC-93F8-BE31-B0DF489F8F12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10" creationId="{D0EB2394-9BD8-3AE3-3D5D-AA13F36AA934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11" creationId="{FE146EC5-CDF8-5A7E-671F-05E602EE96F2}"/>
          </ac:spMkLst>
        </pc:spChg>
        <pc:spChg chg="add mod ord">
          <ac:chgData name="Aurelien Domont" userId="6da7715ce44349b3" providerId="LiveId" clId="{8C97B853-E239-49C0-A36B-A3F2C855C3BA}" dt="2023-11-02T06:38:07.072" v="23547"/>
          <ac:spMkLst>
            <pc:docMk/>
            <pc:sldMk cId="3548391786" sldId="2500"/>
            <ac:spMk id="12" creationId="{0DB79334-BD6F-194D-A55F-38256B9C3E33}"/>
          </ac:spMkLst>
        </pc:spChg>
        <pc:spChg chg="add mod ord">
          <ac:chgData name="Aurelien Domont" userId="6da7715ce44349b3" providerId="LiveId" clId="{8C97B853-E239-49C0-A36B-A3F2C855C3BA}" dt="2023-11-02T06:38:07.072" v="23551"/>
          <ac:spMkLst>
            <pc:docMk/>
            <pc:sldMk cId="3548391786" sldId="2500"/>
            <ac:spMk id="15" creationId="{D2B0BD78-959E-3CCE-6143-8F73029C83C6}"/>
          </ac:spMkLst>
        </pc:spChg>
        <pc:spChg chg="mod ord">
          <ac:chgData name="Aurelien Domont" userId="6da7715ce44349b3" providerId="LiveId" clId="{8C97B853-E239-49C0-A36B-A3F2C855C3BA}" dt="2023-11-02T06:38:07.057" v="23537"/>
          <ac:spMkLst>
            <pc:docMk/>
            <pc:sldMk cId="3548391786" sldId="2500"/>
            <ac:spMk id="16" creationId="{6C2BB713-9637-4B9B-938F-E9768876782A}"/>
          </ac:spMkLst>
        </pc:spChg>
        <pc:spChg chg="add mod ord">
          <ac:chgData name="Aurelien Domont" userId="6da7715ce44349b3" providerId="LiveId" clId="{8C97B853-E239-49C0-A36B-A3F2C855C3BA}" dt="2023-11-02T06:38:07.072" v="23553"/>
          <ac:spMkLst>
            <pc:docMk/>
            <pc:sldMk cId="3548391786" sldId="2500"/>
            <ac:spMk id="17" creationId="{7F0A2EB9-4262-91FC-8ADB-A1D3990AD7E4}"/>
          </ac:spMkLst>
        </pc:spChg>
        <pc:spChg chg="add mod ord">
          <ac:chgData name="Aurelien Domont" userId="6da7715ce44349b3" providerId="LiveId" clId="{8C97B853-E239-49C0-A36B-A3F2C855C3BA}" dt="2023-11-02T06:38:07.072" v="23555"/>
          <ac:spMkLst>
            <pc:docMk/>
            <pc:sldMk cId="3548391786" sldId="2500"/>
            <ac:spMk id="18" creationId="{4D41E6CC-C4C1-27CF-135F-DDBB255D2152}"/>
          </ac:spMkLst>
        </pc:spChg>
        <pc:spChg chg="add mod ord">
          <ac:chgData name="Aurelien Domont" userId="6da7715ce44349b3" providerId="LiveId" clId="{8C97B853-E239-49C0-A36B-A3F2C855C3BA}" dt="2023-11-02T06:38:07.072" v="23557"/>
          <ac:spMkLst>
            <pc:docMk/>
            <pc:sldMk cId="3548391786" sldId="2500"/>
            <ac:spMk id="19" creationId="{AF2CEC9D-EF3F-1246-79C9-2ED7AC21C66D}"/>
          </ac:spMkLst>
        </pc:spChg>
        <pc:spChg chg="add mod ord">
          <ac:chgData name="Aurelien Domont" userId="6da7715ce44349b3" providerId="LiveId" clId="{8C97B853-E239-49C0-A36B-A3F2C855C3BA}" dt="2023-11-02T06:38:07.072" v="23559"/>
          <ac:spMkLst>
            <pc:docMk/>
            <pc:sldMk cId="3548391786" sldId="2500"/>
            <ac:spMk id="20" creationId="{9D5212CE-22D7-0706-259D-710830DF8AB5}"/>
          </ac:spMkLst>
        </pc:spChg>
        <pc:spChg chg="add mod ord">
          <ac:chgData name="Aurelien Domont" userId="6da7715ce44349b3" providerId="LiveId" clId="{8C97B853-E239-49C0-A36B-A3F2C855C3BA}" dt="2023-11-02T06:38:07.072" v="23561"/>
          <ac:spMkLst>
            <pc:docMk/>
            <pc:sldMk cId="3548391786" sldId="2500"/>
            <ac:spMk id="22" creationId="{9A941AFC-1F88-0D80-0E40-55A71F5B8275}"/>
          </ac:spMkLst>
        </pc:spChg>
        <pc:spChg chg="mod ord">
          <ac:chgData name="Aurelien Domont" userId="6da7715ce44349b3" providerId="LiveId" clId="{8C97B853-E239-49C0-A36B-A3F2C855C3BA}" dt="2023-11-02T06:38:07.072" v="23539"/>
          <ac:spMkLst>
            <pc:docMk/>
            <pc:sldMk cId="3548391786" sldId="2500"/>
            <ac:spMk id="23" creationId="{ACD6A7B3-AA23-43A4-97E7-77563FE82F3D}"/>
          </ac:spMkLst>
        </pc:spChg>
        <pc:spChg chg="add mod ord">
          <ac:chgData name="Aurelien Domont" userId="6da7715ce44349b3" providerId="LiveId" clId="{8C97B853-E239-49C0-A36B-A3F2C855C3BA}" dt="2023-11-02T06:38:07.072" v="23563"/>
          <ac:spMkLst>
            <pc:docMk/>
            <pc:sldMk cId="3548391786" sldId="2500"/>
            <ac:spMk id="24" creationId="{5E17747E-7DC1-8B1B-578E-9A6573E61249}"/>
          </ac:spMkLst>
        </pc:spChg>
        <pc:spChg chg="add mod ord">
          <ac:chgData name="Aurelien Domont" userId="6da7715ce44349b3" providerId="LiveId" clId="{8C97B853-E239-49C0-A36B-A3F2C855C3BA}" dt="2023-11-02T06:38:07.072" v="23565"/>
          <ac:spMkLst>
            <pc:docMk/>
            <pc:sldMk cId="3548391786" sldId="2500"/>
            <ac:spMk id="25" creationId="{06FE2C01-462B-C017-7A61-DAC8F6A0FDF5}"/>
          </ac:spMkLst>
        </pc:spChg>
        <pc:spChg chg="add mod ord">
          <ac:chgData name="Aurelien Domont" userId="6da7715ce44349b3" providerId="LiveId" clId="{8C97B853-E239-49C0-A36B-A3F2C855C3BA}" dt="2023-11-02T06:38:07.072" v="23567"/>
          <ac:spMkLst>
            <pc:docMk/>
            <pc:sldMk cId="3548391786" sldId="2500"/>
            <ac:spMk id="26" creationId="{CBCEECC5-9619-8683-DE4C-262F8B99AA15}"/>
          </ac:spMkLst>
        </pc:spChg>
        <pc:spChg chg="add mod ord">
          <ac:chgData name="Aurelien Domont" userId="6da7715ce44349b3" providerId="LiveId" clId="{8C97B853-E239-49C0-A36B-A3F2C855C3BA}" dt="2023-11-02T06:38:07.072" v="23569"/>
          <ac:spMkLst>
            <pc:docMk/>
            <pc:sldMk cId="3548391786" sldId="2500"/>
            <ac:spMk id="27" creationId="{10276D10-157C-349A-DBAD-52767D226133}"/>
          </ac:spMkLst>
        </pc:spChg>
        <pc:spChg chg="add mod ord">
          <ac:chgData name="Aurelien Domont" userId="6da7715ce44349b3" providerId="LiveId" clId="{8C97B853-E239-49C0-A36B-A3F2C855C3BA}" dt="2023-11-02T06:38:07.072" v="23571"/>
          <ac:spMkLst>
            <pc:docMk/>
            <pc:sldMk cId="3548391786" sldId="2500"/>
            <ac:spMk id="28" creationId="{730D8C1D-A5F7-163A-ADF9-ECD2CF37125F}"/>
          </ac:spMkLst>
        </pc:spChg>
        <pc:spChg chg="add mod ord">
          <ac:chgData name="Aurelien Domont" userId="6da7715ce44349b3" providerId="LiveId" clId="{8C97B853-E239-49C0-A36B-A3F2C855C3BA}" dt="2023-11-02T06:38:07.072" v="23573"/>
          <ac:spMkLst>
            <pc:docMk/>
            <pc:sldMk cId="3548391786" sldId="2500"/>
            <ac:spMk id="29" creationId="{FBD1954E-12DA-8F8F-D10B-35FF8AF52D9C}"/>
          </ac:spMkLst>
        </pc:spChg>
        <pc:spChg chg="add mod ord">
          <ac:chgData name="Aurelien Domont" userId="6da7715ce44349b3" providerId="LiveId" clId="{8C97B853-E239-49C0-A36B-A3F2C855C3BA}" dt="2023-11-02T06:38:07.088" v="23575"/>
          <ac:spMkLst>
            <pc:docMk/>
            <pc:sldMk cId="3548391786" sldId="2500"/>
            <ac:spMk id="30" creationId="{89DB52C7-65BD-622C-83EA-7B546605A00A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31" creationId="{CCF7DFFF-CC97-4CE0-9CCB-0401759828D9}"/>
          </ac:spMkLst>
        </pc:spChg>
        <pc:spChg chg="add mod ord">
          <ac:chgData name="Aurelien Domont" userId="6da7715ce44349b3" providerId="LiveId" clId="{8C97B853-E239-49C0-A36B-A3F2C855C3BA}" dt="2023-11-02T06:38:07.088" v="23577"/>
          <ac:spMkLst>
            <pc:docMk/>
            <pc:sldMk cId="3548391786" sldId="2500"/>
            <ac:spMk id="32" creationId="{B5A33896-7E83-546D-4950-325172FA89C5}"/>
          </ac:spMkLst>
        </pc:spChg>
        <pc:spChg chg="add mod ord">
          <ac:chgData name="Aurelien Domont" userId="6da7715ce44349b3" providerId="LiveId" clId="{8C97B853-E239-49C0-A36B-A3F2C855C3BA}" dt="2023-11-02T06:38:07.088" v="23579"/>
          <ac:spMkLst>
            <pc:docMk/>
            <pc:sldMk cId="3548391786" sldId="2500"/>
            <ac:spMk id="33" creationId="{B7F0FCF4-94FE-E980-A4FC-CC7A98F55F92}"/>
          </ac:spMkLst>
        </pc:spChg>
        <pc:spChg chg="add mod ord">
          <ac:chgData name="Aurelien Domont" userId="6da7715ce44349b3" providerId="LiveId" clId="{8C97B853-E239-49C0-A36B-A3F2C855C3BA}" dt="2023-11-02T06:38:07.088" v="23581"/>
          <ac:spMkLst>
            <pc:docMk/>
            <pc:sldMk cId="3548391786" sldId="2500"/>
            <ac:spMk id="34" creationId="{6C1B45D5-DFC1-FAEF-3607-413FA77CB40C}"/>
          </ac:spMkLst>
        </pc:spChg>
        <pc:spChg chg="add mod ord">
          <ac:chgData name="Aurelien Domont" userId="6da7715ce44349b3" providerId="LiveId" clId="{8C97B853-E239-49C0-A36B-A3F2C855C3BA}" dt="2023-11-02T06:38:07.088" v="23583"/>
          <ac:spMkLst>
            <pc:docMk/>
            <pc:sldMk cId="3548391786" sldId="2500"/>
            <ac:spMk id="36" creationId="{2FA4A15B-E35C-0DF8-E4E1-7F1FB13532BA}"/>
          </ac:spMkLst>
        </pc:spChg>
        <pc:spChg chg="add mod ord">
          <ac:chgData name="Aurelien Domont" userId="6da7715ce44349b3" providerId="LiveId" clId="{8C97B853-E239-49C0-A36B-A3F2C855C3BA}" dt="2023-11-02T06:38:07.088" v="23585"/>
          <ac:spMkLst>
            <pc:docMk/>
            <pc:sldMk cId="3548391786" sldId="2500"/>
            <ac:spMk id="38" creationId="{1D842209-0D06-A2CB-9D8E-0E821EB3DD79}"/>
          </ac:spMkLst>
        </pc:spChg>
        <pc:spChg chg="add mod ord">
          <ac:chgData name="Aurelien Domont" userId="6da7715ce44349b3" providerId="LiveId" clId="{8C97B853-E239-49C0-A36B-A3F2C855C3BA}" dt="2023-11-02T06:38:07.088" v="23587"/>
          <ac:spMkLst>
            <pc:docMk/>
            <pc:sldMk cId="3548391786" sldId="2500"/>
            <ac:spMk id="40" creationId="{CFDE98EA-1244-AC41-B2D2-170C2EE9D1CA}"/>
          </ac:spMkLst>
        </pc:spChg>
        <pc:spChg chg="add mod ord">
          <ac:chgData name="Aurelien Domont" userId="6da7715ce44349b3" providerId="LiveId" clId="{8C97B853-E239-49C0-A36B-A3F2C855C3BA}" dt="2023-11-02T06:38:07.088" v="23589"/>
          <ac:spMkLst>
            <pc:docMk/>
            <pc:sldMk cId="3548391786" sldId="2500"/>
            <ac:spMk id="42" creationId="{1979BA01-8882-0457-E83C-C878ABAB731F}"/>
          </ac:spMkLst>
        </pc:spChg>
        <pc:spChg chg="add mod ord">
          <ac:chgData name="Aurelien Domont" userId="6da7715ce44349b3" providerId="LiveId" clId="{8C97B853-E239-49C0-A36B-A3F2C855C3BA}" dt="2023-11-02T06:38:07.088" v="23591"/>
          <ac:spMkLst>
            <pc:docMk/>
            <pc:sldMk cId="3548391786" sldId="2500"/>
            <ac:spMk id="44" creationId="{A7EBEE78-23EA-487F-EC59-FFAC2839C6F5}"/>
          </ac:spMkLst>
        </pc:spChg>
        <pc:spChg chg="add mod ord">
          <ac:chgData name="Aurelien Domont" userId="6da7715ce44349b3" providerId="LiveId" clId="{8C97B853-E239-49C0-A36B-A3F2C855C3BA}" dt="2023-11-02T06:38:07.088" v="23593"/>
          <ac:spMkLst>
            <pc:docMk/>
            <pc:sldMk cId="3548391786" sldId="2500"/>
            <ac:spMk id="46" creationId="{3DB0D24B-1C9A-1E2A-C836-E5A319E31F93}"/>
          </ac:spMkLst>
        </pc:spChg>
        <pc:spChg chg="add mod ord">
          <ac:chgData name="Aurelien Domont" userId="6da7715ce44349b3" providerId="LiveId" clId="{8C97B853-E239-49C0-A36B-A3F2C855C3BA}" dt="2023-11-02T06:38:07.088" v="23595"/>
          <ac:spMkLst>
            <pc:docMk/>
            <pc:sldMk cId="3548391786" sldId="2500"/>
            <ac:spMk id="48" creationId="{09A24003-1DC2-CCE2-0198-A77B292BE77D}"/>
          </ac:spMkLst>
        </pc:spChg>
        <pc:spChg chg="add mod ord">
          <ac:chgData name="Aurelien Domont" userId="6da7715ce44349b3" providerId="LiveId" clId="{8C97B853-E239-49C0-A36B-A3F2C855C3BA}" dt="2023-11-02T06:38:07.088" v="23597"/>
          <ac:spMkLst>
            <pc:docMk/>
            <pc:sldMk cId="3548391786" sldId="2500"/>
            <ac:spMk id="50" creationId="{47B924ED-E018-B47A-6138-DEA9589D1A65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53" creationId="{FFFBC06A-FAA5-43F4-8A45-5D4C2A7EE68B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64" creationId="{50C2CF65-BEA1-46BD-A0E5-E0C3B64944FD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65" creationId="{D4D794DD-5865-46EB-BAA2-B19FA84BD2C7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66" creationId="{72A41FBC-57B0-4C4B-82A8-E64D4CB66E1B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67" creationId="{ED146259-2188-4539-83E5-9302EA90E19D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68" creationId="{421A6687-B166-4943-B31A-52627E4D6F4F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69" creationId="{9FC08A90-8DF4-4A13-96E6-043FE8B907B0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70" creationId="{9C70597F-9804-4212-A6F6-E8A2516CDDF3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71" creationId="{E5160F67-A03F-406C-9F80-9C166960C826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72" creationId="{31707B42-22EB-4F1A-B5CB-C5457F5F20E7}"/>
          </ac:spMkLst>
        </pc:spChg>
        <pc:spChg chg="del">
          <ac:chgData name="Aurelien Domont" userId="6da7715ce44349b3" providerId="LiveId" clId="{8C97B853-E239-49C0-A36B-A3F2C855C3BA}" dt="2023-11-02T06:38:00.621" v="23534" actId="478"/>
          <ac:spMkLst>
            <pc:docMk/>
            <pc:sldMk cId="3548391786" sldId="2500"/>
            <ac:spMk id="73" creationId="{5DBAF0E3-66EE-446A-B68F-E2D47B00C0CB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74" creationId="{BCCE27B6-64FD-40CC-A8F6-FC4A4B124BFF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80" creationId="{0777AC05-62EE-4705-B7A3-1393E2595743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81" creationId="{E332127B-AA86-4EB9-B781-604F97078752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82" creationId="{AB6546F0-1349-4ABC-977C-C57E775677B3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83" creationId="{A446A060-E741-4A31-BDA7-A70C582E70D9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84" creationId="{2F174C92-E812-45F7-B7B5-DD4447E99A7A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85" creationId="{B47D78B2-FCAF-4F70-BE80-31963DEED49A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86" creationId="{38D9FBF4-7C40-4653-9BBF-7F7AEF3B0500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87" creationId="{4C6CC29A-C55B-463C-B18E-88D9340509EC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88" creationId="{8EBACF69-EA8E-4915-A4C1-1079BE0174EF}"/>
          </ac:spMkLst>
        </pc:spChg>
        <pc:spChg chg="add mod ord">
          <ac:chgData name="Aurelien Domont" userId="6da7715ce44349b3" providerId="LiveId" clId="{8C97B853-E239-49C0-A36B-A3F2C855C3BA}" dt="2023-11-02T06:38:07.104" v="23629"/>
          <ac:spMkLst>
            <pc:docMk/>
            <pc:sldMk cId="3548391786" sldId="2500"/>
            <ac:spMk id="94" creationId="{06355EEE-0F06-3777-66E2-00A9A8500005}"/>
          </ac:spMkLst>
        </pc:spChg>
        <pc:spChg chg="add mod ord">
          <ac:chgData name="Aurelien Domont" userId="6da7715ce44349b3" providerId="LiveId" clId="{8C97B853-E239-49C0-A36B-A3F2C855C3BA}" dt="2023-11-02T06:38:07.104" v="23633"/>
          <ac:spMkLst>
            <pc:docMk/>
            <pc:sldMk cId="3548391786" sldId="2500"/>
            <ac:spMk id="96" creationId="{247BB8C4-12BC-B983-7BDE-59F2C2CDD702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97" creationId="{F644B2C8-062B-A0A7-CD0D-851F7918F579}"/>
          </ac:spMkLst>
        </pc:spChg>
        <pc:spChg chg="add mod">
          <ac:chgData name="Aurelien Domont" userId="6da7715ce44349b3" providerId="LiveId" clId="{8C97B853-E239-49C0-A36B-A3F2C855C3BA}" dt="2023-11-02T06:38:40.835" v="23650" actId="113"/>
          <ac:spMkLst>
            <pc:docMk/>
            <pc:sldMk cId="3548391786" sldId="2500"/>
            <ac:spMk id="100" creationId="{889BCB5D-87EE-392F-C338-839B2FD51492}"/>
          </ac:spMkLst>
        </pc:spChg>
        <pc:spChg chg="del">
          <ac:chgData name="Aurelien Domont" userId="6da7715ce44349b3" providerId="LiveId" clId="{8C97B853-E239-49C0-A36B-A3F2C855C3BA}" dt="2023-11-02T06:37:58.456" v="23533" actId="478"/>
          <ac:spMkLst>
            <pc:docMk/>
            <pc:sldMk cId="3548391786" sldId="2500"/>
            <ac:spMk id="101" creationId="{458124D0-3725-6924-CD4E-11139EF74386}"/>
          </ac:spMkLst>
        </pc:spChg>
        <pc:graphicFrameChg chg="mod">
          <ac:chgData name="Aurelien Domont" userId="6da7715ce44349b3" providerId="LiveId" clId="{8C97B853-E239-49C0-A36B-A3F2C855C3BA}" dt="2023-11-02T06:38:07.104" v="23641"/>
          <ac:graphicFrameMkLst>
            <pc:docMk/>
            <pc:sldMk cId="3548391786" sldId="2500"/>
            <ac:graphicFrameMk id="13" creationId="{A073AF91-5325-42B9-A31A-3D179304022A}"/>
          </ac:graphicFrameMkLst>
        </pc:graphicFrameChg>
        <pc:cxnChg chg="add mod ord">
          <ac:chgData name="Aurelien Domont" userId="6da7715ce44349b3" providerId="LiveId" clId="{8C97B853-E239-49C0-A36B-A3F2C855C3BA}" dt="2023-11-02T06:38:07.072" v="23549"/>
          <ac:cxnSpMkLst>
            <pc:docMk/>
            <pc:sldMk cId="3548391786" sldId="2500"/>
            <ac:cxnSpMk id="14" creationId="{1CD1576C-2A03-6A23-3DFA-54CE388B1DFF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21" creationId="{AC017A1D-E5BD-4D09-B825-39DD6498671D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35" creationId="{E07CF76F-7F1A-CB52-0E39-B865B1E63AA2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37" creationId="{F2A200EB-2A87-7527-1355-7C5C5B114280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39" creationId="{9FECFAA1-A542-6532-C02B-43089E0C2AB5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41" creationId="{9006A702-35FF-C837-6460-2C230801482F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43" creationId="{F23E36C7-8119-E484-553E-6E704A1781A9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45" creationId="{996D9882-3036-251B-1E1A-7F3DD4BC421A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47" creationId="{4462A6F6-BC0E-E9A3-F6BA-FC92D4A80309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49" creationId="{5DD8F50E-4743-27C1-6F7F-50D128AB6957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51" creationId="{618D42E5-4185-CAFB-1858-3B9123FEF2F5}"/>
          </ac:cxnSpMkLst>
        </pc:cxnChg>
        <pc:cxnChg chg="add mod ord">
          <ac:chgData name="Aurelien Domont" userId="6da7715ce44349b3" providerId="LiveId" clId="{8C97B853-E239-49C0-A36B-A3F2C855C3BA}" dt="2023-11-02T06:38:07.088" v="23599"/>
          <ac:cxnSpMkLst>
            <pc:docMk/>
            <pc:sldMk cId="3548391786" sldId="2500"/>
            <ac:cxnSpMk id="52" creationId="{FD98437C-9C1F-1FFC-5309-7B2B8BB52B57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54" creationId="{05E3C253-BE8D-A17F-D5D3-E7A5DD93DD4C}"/>
          </ac:cxnSpMkLst>
        </pc:cxnChg>
        <pc:cxnChg chg="add mod ord">
          <ac:chgData name="Aurelien Domont" userId="6da7715ce44349b3" providerId="LiveId" clId="{8C97B853-E239-49C0-A36B-A3F2C855C3BA}" dt="2023-11-02T06:38:07.088" v="23601"/>
          <ac:cxnSpMkLst>
            <pc:docMk/>
            <pc:sldMk cId="3548391786" sldId="2500"/>
            <ac:cxnSpMk id="55" creationId="{F3AB7D08-2D48-9E1F-38FA-84B1145D4E34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56" creationId="{29F30B9B-4A59-0EB8-6FE7-D3C652362833}"/>
          </ac:cxnSpMkLst>
        </pc:cxnChg>
        <pc:cxnChg chg="add mod ord">
          <ac:chgData name="Aurelien Domont" userId="6da7715ce44349b3" providerId="LiveId" clId="{8C97B853-E239-49C0-A36B-A3F2C855C3BA}" dt="2023-11-02T06:38:07.088" v="23603"/>
          <ac:cxnSpMkLst>
            <pc:docMk/>
            <pc:sldMk cId="3548391786" sldId="2500"/>
            <ac:cxnSpMk id="57" creationId="{4ABA01FC-9724-EEE3-8A94-A83F9AF3710C}"/>
          </ac:cxnSpMkLst>
        </pc:cxnChg>
        <pc:cxnChg chg="add mod ord">
          <ac:chgData name="Aurelien Domont" userId="6da7715ce44349b3" providerId="LiveId" clId="{8C97B853-E239-49C0-A36B-A3F2C855C3BA}" dt="2023-11-02T06:38:07.088" v="23605"/>
          <ac:cxnSpMkLst>
            <pc:docMk/>
            <pc:sldMk cId="3548391786" sldId="2500"/>
            <ac:cxnSpMk id="58" creationId="{B49F9433-499E-5096-A87A-86EC581B4A26}"/>
          </ac:cxnSpMkLst>
        </pc:cxnChg>
        <pc:cxnChg chg="add mod ord">
          <ac:chgData name="Aurelien Domont" userId="6da7715ce44349b3" providerId="LiveId" clId="{8C97B853-E239-49C0-A36B-A3F2C855C3BA}" dt="2023-11-02T06:38:07.088" v="23607"/>
          <ac:cxnSpMkLst>
            <pc:docMk/>
            <pc:sldMk cId="3548391786" sldId="2500"/>
            <ac:cxnSpMk id="59" creationId="{EFB709B8-48F7-7684-DE0C-41934CEE8F0F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60" creationId="{A7B45743-779B-073A-3DE7-D5BCEF0F7421}"/>
          </ac:cxnSpMkLst>
        </pc:cxnChg>
        <pc:cxnChg chg="add mod ord">
          <ac:chgData name="Aurelien Domont" userId="6da7715ce44349b3" providerId="LiveId" clId="{8C97B853-E239-49C0-A36B-A3F2C855C3BA}" dt="2023-11-02T06:38:07.088" v="23609"/>
          <ac:cxnSpMkLst>
            <pc:docMk/>
            <pc:sldMk cId="3548391786" sldId="2500"/>
            <ac:cxnSpMk id="61" creationId="{9C3498DA-39E5-3F0A-2845-9BD89290738C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62" creationId="{496C9C90-1107-3690-1EE3-82DE199C1FD6}"/>
          </ac:cxnSpMkLst>
        </pc:cxnChg>
        <pc:cxnChg chg="add mod ord">
          <ac:chgData name="Aurelien Domont" userId="6da7715ce44349b3" providerId="LiveId" clId="{8C97B853-E239-49C0-A36B-A3F2C855C3BA}" dt="2023-11-02T06:38:07.104" v="23611"/>
          <ac:cxnSpMkLst>
            <pc:docMk/>
            <pc:sldMk cId="3548391786" sldId="2500"/>
            <ac:cxnSpMk id="63" creationId="{471F2726-8F38-13F6-33E8-C6CD54030D49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75" creationId="{1117756F-90BE-5E23-8BC8-09AB67F87E98}"/>
          </ac:cxnSpMkLst>
        </pc:cxnChg>
        <pc:cxnChg chg="add mod ord">
          <ac:chgData name="Aurelien Domont" userId="6da7715ce44349b3" providerId="LiveId" clId="{8C97B853-E239-49C0-A36B-A3F2C855C3BA}" dt="2023-11-02T06:38:07.104" v="23613"/>
          <ac:cxnSpMkLst>
            <pc:docMk/>
            <pc:sldMk cId="3548391786" sldId="2500"/>
            <ac:cxnSpMk id="76" creationId="{48718973-DF46-9583-A869-74B5F58E9852}"/>
          </ac:cxnSpMkLst>
        </pc:cxnChg>
        <pc:cxnChg chg="add mod ord">
          <ac:chgData name="Aurelien Domont" userId="6da7715ce44349b3" providerId="LiveId" clId="{8C97B853-E239-49C0-A36B-A3F2C855C3BA}" dt="2023-11-02T06:38:07.104" v="23615"/>
          <ac:cxnSpMkLst>
            <pc:docMk/>
            <pc:sldMk cId="3548391786" sldId="2500"/>
            <ac:cxnSpMk id="77" creationId="{43B410EB-01D9-9186-A6D7-E546393F685E}"/>
          </ac:cxnSpMkLst>
        </pc:cxnChg>
        <pc:cxnChg chg="add mod ord">
          <ac:chgData name="Aurelien Domont" userId="6da7715ce44349b3" providerId="LiveId" clId="{8C97B853-E239-49C0-A36B-A3F2C855C3BA}" dt="2023-11-02T06:38:07.104" v="23617"/>
          <ac:cxnSpMkLst>
            <pc:docMk/>
            <pc:sldMk cId="3548391786" sldId="2500"/>
            <ac:cxnSpMk id="78" creationId="{6B3A6607-34D6-3FFA-AAA1-2479309FB60F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79" creationId="{0B0F431A-DBFD-473E-3444-83BFD3ACA531}"/>
          </ac:cxnSpMkLst>
        </pc:cxnChg>
        <pc:cxnChg chg="add mod ord">
          <ac:chgData name="Aurelien Domont" userId="6da7715ce44349b3" providerId="LiveId" clId="{8C97B853-E239-49C0-A36B-A3F2C855C3BA}" dt="2023-11-02T06:38:07.104" v="23619"/>
          <ac:cxnSpMkLst>
            <pc:docMk/>
            <pc:sldMk cId="3548391786" sldId="2500"/>
            <ac:cxnSpMk id="89" creationId="{A0F65EB1-54FF-C2F4-C097-F71220BA2428}"/>
          </ac:cxnSpMkLst>
        </pc:cxnChg>
        <pc:cxnChg chg="add mod ord">
          <ac:chgData name="Aurelien Domont" userId="6da7715ce44349b3" providerId="LiveId" clId="{8C97B853-E239-49C0-A36B-A3F2C855C3BA}" dt="2023-11-02T06:38:07.104" v="23621"/>
          <ac:cxnSpMkLst>
            <pc:docMk/>
            <pc:sldMk cId="3548391786" sldId="2500"/>
            <ac:cxnSpMk id="90" creationId="{6DC4EF71-0FF7-AF49-0675-F5719C040BDF}"/>
          </ac:cxnSpMkLst>
        </pc:cxnChg>
        <pc:cxnChg chg="add mod ord">
          <ac:chgData name="Aurelien Domont" userId="6da7715ce44349b3" providerId="LiveId" clId="{8C97B853-E239-49C0-A36B-A3F2C855C3BA}" dt="2023-11-02T06:38:07.104" v="23623"/>
          <ac:cxnSpMkLst>
            <pc:docMk/>
            <pc:sldMk cId="3548391786" sldId="2500"/>
            <ac:cxnSpMk id="91" creationId="{75AF32E2-74EE-C650-FDFA-2351CD8BDA3E}"/>
          </ac:cxnSpMkLst>
        </pc:cxnChg>
        <pc:cxnChg chg="add mod ord">
          <ac:chgData name="Aurelien Domont" userId="6da7715ce44349b3" providerId="LiveId" clId="{8C97B853-E239-49C0-A36B-A3F2C855C3BA}" dt="2023-11-02T06:38:07.104" v="23625"/>
          <ac:cxnSpMkLst>
            <pc:docMk/>
            <pc:sldMk cId="3548391786" sldId="2500"/>
            <ac:cxnSpMk id="92" creationId="{0EEC262E-5ED7-D858-850B-5FCC89AB237D}"/>
          </ac:cxnSpMkLst>
        </pc:cxnChg>
        <pc:cxnChg chg="add mod ord">
          <ac:chgData name="Aurelien Domont" userId="6da7715ce44349b3" providerId="LiveId" clId="{8C97B853-E239-49C0-A36B-A3F2C855C3BA}" dt="2023-11-02T06:38:07.104" v="23627"/>
          <ac:cxnSpMkLst>
            <pc:docMk/>
            <pc:sldMk cId="3548391786" sldId="2500"/>
            <ac:cxnSpMk id="93" creationId="{C40C8B55-8229-935D-6FC0-1B84F58B4420}"/>
          </ac:cxnSpMkLst>
        </pc:cxnChg>
        <pc:cxnChg chg="add mod ord">
          <ac:chgData name="Aurelien Domont" userId="6da7715ce44349b3" providerId="LiveId" clId="{8C97B853-E239-49C0-A36B-A3F2C855C3BA}" dt="2023-11-02T06:38:07.104" v="23631"/>
          <ac:cxnSpMkLst>
            <pc:docMk/>
            <pc:sldMk cId="3548391786" sldId="2500"/>
            <ac:cxnSpMk id="95" creationId="{656A1F54-9E4A-2DD7-27FE-149568ED16EF}"/>
          </ac:cxnSpMkLst>
        </pc:cxnChg>
        <pc:cxnChg chg="add mod ord">
          <ac:chgData name="Aurelien Domont" userId="6da7715ce44349b3" providerId="LiveId" clId="{8C97B853-E239-49C0-A36B-A3F2C855C3BA}" dt="2023-11-02T06:38:07.104" v="23635"/>
          <ac:cxnSpMkLst>
            <pc:docMk/>
            <pc:sldMk cId="3548391786" sldId="2500"/>
            <ac:cxnSpMk id="98" creationId="{71978EB2-05E9-8F89-6855-AEBAB9D5BDEA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99" creationId="{E8D42077-B362-6BBB-DAB8-AB15A0612852}"/>
          </ac:cxnSpMkLst>
        </pc:cxnChg>
        <pc:cxnChg chg="del mod">
          <ac:chgData name="Aurelien Domont" userId="6da7715ce44349b3" providerId="LiveId" clId="{8C97B853-E239-49C0-A36B-A3F2C855C3BA}" dt="2023-11-02T06:37:58.456" v="23533" actId="478"/>
          <ac:cxnSpMkLst>
            <pc:docMk/>
            <pc:sldMk cId="3548391786" sldId="2500"/>
            <ac:cxnSpMk id="103" creationId="{FD184068-2B2D-F847-44B7-3C4DEBE1F322}"/>
          </ac:cxnSpMkLst>
        </pc:cxnChg>
      </pc:sldChg>
      <pc:sldChg chg="modSp add del mod modClrScheme chgLayout">
        <pc:chgData name="Aurelien Domont" userId="6da7715ce44349b3" providerId="LiveId" clId="{8C97B853-E239-49C0-A36B-A3F2C855C3BA}" dt="2023-11-02T06:38:47.636" v="23652" actId="47"/>
        <pc:sldMkLst>
          <pc:docMk/>
          <pc:sldMk cId="3810487551" sldId="2501"/>
        </pc:sldMkLst>
        <pc:spChg chg="mod ord">
          <ac:chgData name="Aurelien Domont" userId="6da7715ce44349b3" providerId="LiveId" clId="{8C97B853-E239-49C0-A36B-A3F2C855C3BA}" dt="2023-11-02T06:36:08.791" v="23514"/>
          <ac:spMkLst>
            <pc:docMk/>
            <pc:sldMk cId="3810487551" sldId="2501"/>
            <ac:spMk id="16" creationId="{6C2BB713-9637-4B9B-938F-E9768876782A}"/>
          </ac:spMkLst>
        </pc:spChg>
      </pc:sldChg>
      <pc:sldChg chg="addSp modSp add mod modClrScheme chgLayout">
        <pc:chgData name="Aurelien Domont" userId="6da7715ce44349b3" providerId="LiveId" clId="{8C97B853-E239-49C0-A36B-A3F2C855C3BA}" dt="2023-11-02T05:38:46.844" v="59" actId="20577"/>
        <pc:sldMkLst>
          <pc:docMk/>
          <pc:sldMk cId="1378182528" sldId="2512"/>
        </pc:sldMkLst>
        <pc:spChg chg="add mod">
          <ac:chgData name="Aurelien Domont" userId="6da7715ce44349b3" providerId="LiveId" clId="{8C97B853-E239-49C0-A36B-A3F2C855C3BA}" dt="2023-11-02T05:38:46.844" v="59" actId="20577"/>
          <ac:spMkLst>
            <pc:docMk/>
            <pc:sldMk cId="1378182528" sldId="2512"/>
            <ac:spMk id="2" creationId="{D28C9254-BF21-AA47-2213-821903D81BD7}"/>
          </ac:spMkLst>
        </pc:spChg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1378182528" sldId="2512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1378182528" sldId="2512"/>
            <ac:spMk id="16" creationId="{6C2BB713-9637-4B9B-938F-E9768876782A}"/>
          </ac:spMkLst>
        </pc:spChg>
      </pc:sldChg>
      <pc:sldChg chg="addSp modSp add mod modClrScheme chgLayout">
        <pc:chgData name="Aurelien Domont" userId="6da7715ce44349b3" providerId="LiveId" clId="{8C97B853-E239-49C0-A36B-A3F2C855C3BA}" dt="2023-11-02T05:38:34.162" v="41"/>
        <pc:sldMkLst>
          <pc:docMk/>
          <pc:sldMk cId="1148856858" sldId="2517"/>
        </pc:sldMkLst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1148856858" sldId="2517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1148856858" sldId="2517"/>
            <ac:spMk id="16" creationId="{6C2BB713-9637-4B9B-938F-E9768876782A}"/>
          </ac:spMkLst>
        </pc:spChg>
        <pc:spChg chg="add mod">
          <ac:chgData name="Aurelien Domont" userId="6da7715ce44349b3" providerId="LiveId" clId="{8C97B853-E239-49C0-A36B-A3F2C855C3BA}" dt="2023-11-02T05:38:34.162" v="41"/>
          <ac:spMkLst>
            <pc:docMk/>
            <pc:sldMk cId="1148856858" sldId="2517"/>
            <ac:spMk id="29" creationId="{4BE607CA-CC33-4030-12BE-5F06551D8B1C}"/>
          </ac:spMkLst>
        </pc:spChg>
      </pc:sldChg>
      <pc:sldChg chg="addSp delSp modSp add mod modClrScheme chgLayout">
        <pc:chgData name="Aurelien Domont" userId="6da7715ce44349b3" providerId="LiveId" clId="{8C97B853-E239-49C0-A36B-A3F2C855C3BA}" dt="2023-11-02T05:43:58.346" v="285"/>
        <pc:sldMkLst>
          <pc:docMk/>
          <pc:sldMk cId="3896093903" sldId="2518"/>
        </pc:sldMkLst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3896093903" sldId="2518"/>
            <ac:spMk id="3" creationId="{CE2529A3-BA97-486F-9E02-8DFAAA7D8D38}"/>
          </ac:spMkLst>
        </pc:spChg>
        <pc:spChg chg="add del">
          <ac:chgData name="Aurelien Domont" userId="6da7715ce44349b3" providerId="LiveId" clId="{8C97B853-E239-49C0-A36B-A3F2C855C3BA}" dt="2023-11-02T05:38:51.843" v="62" actId="22"/>
          <ac:spMkLst>
            <pc:docMk/>
            <pc:sldMk cId="3896093903" sldId="2518"/>
            <ac:spMk id="5" creationId="{7931945B-EFBA-DACE-8E93-A8BF07AF8C94}"/>
          </ac:spMkLst>
        </pc:spChg>
        <pc:spChg chg="add mod">
          <ac:chgData name="Aurelien Domont" userId="6da7715ce44349b3" providerId="LiveId" clId="{8C97B853-E239-49C0-A36B-A3F2C855C3BA}" dt="2023-11-02T05:38:58.371" v="63"/>
          <ac:spMkLst>
            <pc:docMk/>
            <pc:sldMk cId="3896093903" sldId="2518"/>
            <ac:spMk id="6" creationId="{19FC4F60-8AB6-452B-914B-12C6D71F9883}"/>
          </ac:spMkLst>
        </pc:spChg>
        <pc:spChg chg="mod ord">
          <ac:chgData name="Aurelien Domont" userId="6da7715ce44349b3" providerId="LiveId" clId="{8C97B853-E239-49C0-A36B-A3F2C855C3BA}" dt="2023-11-02T05:43:58.299" v="283"/>
          <ac:spMkLst>
            <pc:docMk/>
            <pc:sldMk cId="3896093903" sldId="2518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05:43:58.346" v="285"/>
          <ac:graphicFrameMkLst>
            <pc:docMk/>
            <pc:sldMk cId="3896093903" sldId="2518"/>
            <ac:graphicFrameMk id="13" creationId="{A073AF91-5325-42B9-A31A-3D179304022A}"/>
          </ac:graphicFrameMkLst>
        </pc:graphicFrameChg>
      </pc:sldChg>
      <pc:sldChg chg="addSp delSp modSp add mod modClrScheme chgLayout">
        <pc:chgData name="Aurelien Domont" userId="6da7715ce44349b3" providerId="LiveId" clId="{8C97B853-E239-49C0-A36B-A3F2C855C3BA}" dt="2023-11-02T05:51:55.965" v="463" actId="20577"/>
        <pc:sldMkLst>
          <pc:docMk/>
          <pc:sldMk cId="191942563" sldId="2519"/>
        </pc:sldMkLst>
        <pc:spChg chg="add del mod">
          <ac:chgData name="Aurelien Domont" userId="6da7715ce44349b3" providerId="LiveId" clId="{8C97B853-E239-49C0-A36B-A3F2C855C3BA}" dt="2023-11-02T05:39:12.574" v="74" actId="478"/>
          <ac:spMkLst>
            <pc:docMk/>
            <pc:sldMk cId="191942563" sldId="2519"/>
            <ac:spMk id="2" creationId="{4DFF974A-11F0-1C5B-5723-01D3C73BC9AA}"/>
          </ac:spMkLst>
        </pc:spChg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191942563" sldId="2519"/>
            <ac:spMk id="3" creationId="{CE2529A3-BA97-486F-9E02-8DFAAA7D8D38}"/>
          </ac:spMkLst>
        </pc:spChg>
        <pc:spChg chg="add del mod">
          <ac:chgData name="Aurelien Domont" userId="6da7715ce44349b3" providerId="LiveId" clId="{8C97B853-E239-49C0-A36B-A3F2C855C3BA}" dt="2023-11-02T05:43:47.356" v="274"/>
          <ac:spMkLst>
            <pc:docMk/>
            <pc:sldMk cId="191942563" sldId="2519"/>
            <ac:spMk id="6" creationId="{C868F7EC-C6EF-12FB-AB04-1188E4D0C447}"/>
          </ac:spMkLst>
        </pc:spChg>
        <pc:spChg chg="add mod">
          <ac:chgData name="Aurelien Domont" userId="6da7715ce44349b3" providerId="LiveId" clId="{8C97B853-E239-49C0-A36B-A3F2C855C3BA}" dt="2023-11-02T05:51:55.965" v="463" actId="20577"/>
          <ac:spMkLst>
            <pc:docMk/>
            <pc:sldMk cId="191942563" sldId="2519"/>
            <ac:spMk id="7" creationId="{91A65334-41CA-59B0-A68B-3350BAA375CD}"/>
          </ac:spMkLst>
        </pc:spChg>
        <pc:spChg chg="mod ord">
          <ac:chgData name="Aurelien Domont" userId="6da7715ce44349b3" providerId="LiveId" clId="{8C97B853-E239-49C0-A36B-A3F2C855C3BA}" dt="2023-11-02T05:44:00.991" v="286"/>
          <ac:spMkLst>
            <pc:docMk/>
            <pc:sldMk cId="191942563" sldId="2519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05:44:01.491" v="290"/>
          <ac:graphicFrameMkLst>
            <pc:docMk/>
            <pc:sldMk cId="191942563" sldId="2519"/>
            <ac:graphicFrameMk id="13" creationId="{A073AF91-5325-42B9-A31A-3D179304022A}"/>
          </ac:graphicFrameMkLst>
        </pc:graphicFrameChg>
      </pc:sldChg>
      <pc:sldChg chg="addSp modSp add mod modClrScheme chgLayout">
        <pc:chgData name="Aurelien Domont" userId="6da7715ce44349b3" providerId="LiveId" clId="{8C97B853-E239-49C0-A36B-A3F2C855C3BA}" dt="2023-11-02T05:52:14.742" v="464" actId="313"/>
        <pc:sldMkLst>
          <pc:docMk/>
          <pc:sldMk cId="3376456613" sldId="2520"/>
        </pc:sldMkLst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3376456613" sldId="2520"/>
            <ac:spMk id="3" creationId="{CE2529A3-BA97-486F-9E02-8DFAAA7D8D38}"/>
          </ac:spMkLst>
        </pc:spChg>
        <pc:spChg chg="add mod">
          <ac:chgData name="Aurelien Domont" userId="6da7715ce44349b3" providerId="LiveId" clId="{8C97B853-E239-49C0-A36B-A3F2C855C3BA}" dt="2023-11-02T05:52:14.742" v="464" actId="313"/>
          <ac:spMkLst>
            <pc:docMk/>
            <pc:sldMk cId="3376456613" sldId="2520"/>
            <ac:spMk id="5" creationId="{4D033D26-C006-66F5-C614-5AE60D2CC4C3}"/>
          </ac:spMkLst>
        </pc:spChg>
        <pc:spChg chg="mod ord">
          <ac:chgData name="Aurelien Domont" userId="6da7715ce44349b3" providerId="LiveId" clId="{8C97B853-E239-49C0-A36B-A3F2C855C3BA}" dt="2023-11-02T05:44:03.780" v="291"/>
          <ac:spMkLst>
            <pc:docMk/>
            <pc:sldMk cId="3376456613" sldId="2520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05:44:04.158" v="295"/>
          <ac:graphicFrameMkLst>
            <pc:docMk/>
            <pc:sldMk cId="3376456613" sldId="2520"/>
            <ac:graphicFrameMk id="13" creationId="{A073AF91-5325-42B9-A31A-3D179304022A}"/>
          </ac:graphicFrameMkLst>
        </pc:graphicFrameChg>
      </pc:sldChg>
      <pc:sldChg chg="addSp modSp add mod modClrScheme chgLayout">
        <pc:chgData name="Aurelien Domont" userId="6da7715ce44349b3" providerId="LiveId" clId="{8C97B853-E239-49C0-A36B-A3F2C855C3BA}" dt="2023-11-02T05:52:15.683" v="465" actId="313"/>
        <pc:sldMkLst>
          <pc:docMk/>
          <pc:sldMk cId="1139254451" sldId="2521"/>
        </pc:sldMkLst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1139254451" sldId="2521"/>
            <ac:spMk id="3" creationId="{CE2529A3-BA97-486F-9E02-8DFAAA7D8D38}"/>
          </ac:spMkLst>
        </pc:spChg>
        <pc:spChg chg="add mod">
          <ac:chgData name="Aurelien Domont" userId="6da7715ce44349b3" providerId="LiveId" clId="{8C97B853-E239-49C0-A36B-A3F2C855C3BA}" dt="2023-11-02T05:52:15.683" v="465" actId="313"/>
          <ac:spMkLst>
            <pc:docMk/>
            <pc:sldMk cId="1139254451" sldId="2521"/>
            <ac:spMk id="5" creationId="{00284BAB-C35A-CFA3-1063-5B05C1041543}"/>
          </ac:spMkLst>
        </pc:spChg>
        <pc:spChg chg="mod ord">
          <ac:chgData name="Aurelien Domont" userId="6da7715ce44349b3" providerId="LiveId" clId="{8C97B853-E239-49C0-A36B-A3F2C855C3BA}" dt="2023-11-02T05:44:06.245" v="296"/>
          <ac:spMkLst>
            <pc:docMk/>
            <pc:sldMk cId="1139254451" sldId="2521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05:44:06.732" v="300"/>
          <ac:graphicFrameMkLst>
            <pc:docMk/>
            <pc:sldMk cId="1139254451" sldId="2521"/>
            <ac:graphicFrameMk id="13" creationId="{A073AF91-5325-42B9-A31A-3D179304022A}"/>
          </ac:graphicFrameMkLst>
        </pc:graphicFrameChg>
      </pc:sldChg>
      <pc:sldChg chg="addSp modSp add mod modClrScheme chgLayout">
        <pc:chgData name="Aurelien Domont" userId="6da7715ce44349b3" providerId="LiveId" clId="{8C97B853-E239-49C0-A36B-A3F2C855C3BA}" dt="2023-11-02T05:52:16.233" v="466" actId="313"/>
        <pc:sldMkLst>
          <pc:docMk/>
          <pc:sldMk cId="2291360483" sldId="2523"/>
        </pc:sldMkLst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2291360483" sldId="2523"/>
            <ac:spMk id="3" creationId="{CE2529A3-BA97-486F-9E02-8DFAAA7D8D38}"/>
          </ac:spMkLst>
        </pc:spChg>
        <pc:spChg chg="add mod">
          <ac:chgData name="Aurelien Domont" userId="6da7715ce44349b3" providerId="LiveId" clId="{8C97B853-E239-49C0-A36B-A3F2C855C3BA}" dt="2023-11-02T05:52:16.233" v="466" actId="313"/>
          <ac:spMkLst>
            <pc:docMk/>
            <pc:sldMk cId="2291360483" sldId="2523"/>
            <ac:spMk id="5" creationId="{B1B67B0A-C7E6-BEA3-23A1-1054E4E2C681}"/>
          </ac:spMkLst>
        </pc:spChg>
        <pc:spChg chg="mod ord">
          <ac:chgData name="Aurelien Domont" userId="6da7715ce44349b3" providerId="LiveId" clId="{8C97B853-E239-49C0-A36B-A3F2C855C3BA}" dt="2023-11-02T05:44:08.647" v="301"/>
          <ac:spMkLst>
            <pc:docMk/>
            <pc:sldMk cId="2291360483" sldId="2523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05:44:09.165" v="305"/>
          <ac:graphicFrameMkLst>
            <pc:docMk/>
            <pc:sldMk cId="2291360483" sldId="2523"/>
            <ac:graphicFrameMk id="13" creationId="{A073AF91-5325-42B9-A31A-3D179304022A}"/>
          </ac:graphicFrameMkLst>
        </pc:graphicFrameChg>
      </pc:sldChg>
      <pc:sldChg chg="addSp modSp add mod modClrScheme chgLayout">
        <pc:chgData name="Aurelien Domont" userId="6da7715ce44349b3" providerId="LiveId" clId="{8C97B853-E239-49C0-A36B-A3F2C855C3BA}" dt="2023-11-02T05:39:00.254" v="64"/>
        <pc:sldMkLst>
          <pc:docMk/>
          <pc:sldMk cId="1276071411" sldId="2524"/>
        </pc:sldMkLst>
        <pc:spChg chg="add mod">
          <ac:chgData name="Aurelien Domont" userId="6da7715ce44349b3" providerId="LiveId" clId="{8C97B853-E239-49C0-A36B-A3F2C855C3BA}" dt="2023-11-02T05:39:00.254" v="64"/>
          <ac:spMkLst>
            <pc:docMk/>
            <pc:sldMk cId="1276071411" sldId="2524"/>
            <ac:spMk id="2" creationId="{E214AF8C-4A24-B2AF-C17A-DEA85B3B7F6B}"/>
          </ac:spMkLst>
        </pc:spChg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1276071411" sldId="2524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1276071411" sldId="2524"/>
            <ac:spMk id="16" creationId="{6C2BB713-9637-4B9B-938F-E9768876782A}"/>
          </ac:spMkLst>
        </pc:spChg>
      </pc:sldChg>
      <pc:sldChg chg="modSp add mod modClrScheme chgLayout">
        <pc:chgData name="Aurelien Domont" userId="6da7715ce44349b3" providerId="LiveId" clId="{8C97B853-E239-49C0-A36B-A3F2C855C3BA}" dt="2023-11-02T05:43:12.913" v="271"/>
        <pc:sldMkLst>
          <pc:docMk/>
          <pc:sldMk cId="756767282" sldId="2525"/>
        </pc:sldMkLst>
        <pc:spChg chg="mod ord">
          <ac:chgData name="Aurelien Domont" userId="6da7715ce44349b3" providerId="LiveId" clId="{8C97B853-E239-49C0-A36B-A3F2C855C3BA}" dt="2023-11-02T05:34:41.545" v="6"/>
          <ac:spMkLst>
            <pc:docMk/>
            <pc:sldMk cId="756767282" sldId="2525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05:43:12.724" v="267" actId="20577"/>
          <ac:spMkLst>
            <pc:docMk/>
            <pc:sldMk cId="756767282" sldId="2525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05:43:12.913" v="271"/>
          <ac:graphicFrameMkLst>
            <pc:docMk/>
            <pc:sldMk cId="756767282" sldId="2525"/>
            <ac:graphicFrameMk id="13" creationId="{A073AF91-5325-42B9-A31A-3D179304022A}"/>
          </ac:graphicFrameMkLst>
        </pc:graphicFrame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786857634" sldId="2554"/>
        </pc:sldMkLst>
      </pc:sldChg>
      <pc:sldChg chg="addSp delSp modSp mod">
        <pc:chgData name="Aurelien Domont" userId="6da7715ce44349b3" providerId="LiveId" clId="{8C97B853-E239-49C0-A36B-A3F2C855C3BA}" dt="2023-11-03T00:02:06.974" v="34100" actId="207"/>
        <pc:sldMkLst>
          <pc:docMk/>
          <pc:sldMk cId="1254545715" sldId="2558"/>
        </pc:sldMkLst>
        <pc:spChg chg="mod">
          <ac:chgData name="Aurelien Domont" userId="6da7715ce44349b3" providerId="LiveId" clId="{8C97B853-E239-49C0-A36B-A3F2C855C3BA}" dt="2023-11-03T00:02:06.974" v="34100" actId="207"/>
          <ac:spMkLst>
            <pc:docMk/>
            <pc:sldMk cId="1254545715" sldId="2558"/>
            <ac:spMk id="3" creationId="{7BC2ED5B-4F72-AE2F-0909-83D57A7256AA}"/>
          </ac:spMkLst>
        </pc:spChg>
        <pc:spChg chg="del">
          <ac:chgData name="Aurelien Domont" userId="6da7715ce44349b3" providerId="LiveId" clId="{8C97B853-E239-49C0-A36B-A3F2C855C3BA}" dt="2023-11-02T05:26:14.490" v="0" actId="478"/>
          <ac:spMkLst>
            <pc:docMk/>
            <pc:sldMk cId="1254545715" sldId="2558"/>
            <ac:spMk id="10" creationId="{F6E5EBDA-E190-548E-621E-543700876E88}"/>
          </ac:spMkLst>
        </pc:spChg>
        <pc:spChg chg="add mod">
          <ac:chgData name="Aurelien Domont" userId="6da7715ce44349b3" providerId="LiveId" clId="{8C97B853-E239-49C0-A36B-A3F2C855C3BA}" dt="2023-11-02T07:04:24.665" v="24187" actId="207"/>
          <ac:spMkLst>
            <pc:docMk/>
            <pc:sldMk cId="1254545715" sldId="2558"/>
            <ac:spMk id="25" creationId="{735AC304-9E4B-EFAE-956D-257C94F68E93}"/>
          </ac:spMkLst>
        </pc:spChg>
        <pc:spChg chg="add del mod">
          <ac:chgData name="Aurelien Domont" userId="6da7715ce44349b3" providerId="LiveId" clId="{8C97B853-E239-49C0-A36B-A3F2C855C3BA}" dt="2023-11-02T07:06:25.494" v="24266" actId="478"/>
          <ac:spMkLst>
            <pc:docMk/>
            <pc:sldMk cId="1254545715" sldId="2558"/>
            <ac:spMk id="29" creationId="{D4E1F3A9-BBF1-0AE5-F233-3DE76FE627D4}"/>
          </ac:spMkLst>
        </pc:spChg>
      </pc:sldChg>
      <pc:sldChg chg="addSp delSp modSp new add mod">
        <pc:chgData name="Aurelien Domont" userId="6da7715ce44349b3" providerId="LiveId" clId="{8C97B853-E239-49C0-A36B-A3F2C855C3BA}" dt="2023-11-02T05:51:38.680" v="456" actId="20577"/>
        <pc:sldMkLst>
          <pc:docMk/>
          <pc:sldMk cId="3556512680" sldId="2559"/>
        </pc:sldMkLst>
        <pc:spChg chg="mod">
          <ac:chgData name="Aurelien Domont" userId="6da7715ce44349b3" providerId="LiveId" clId="{8C97B853-E239-49C0-A36B-A3F2C855C3BA}" dt="2023-11-02T05:41:29.204" v="141" actId="948"/>
          <ac:spMkLst>
            <pc:docMk/>
            <pc:sldMk cId="3556512680" sldId="2559"/>
            <ac:spMk id="2" creationId="{B0C20905-DC0A-E2EE-6C0B-22F94C53A645}"/>
          </ac:spMkLst>
        </pc:spChg>
        <pc:spChg chg="add del mod modVis">
          <ac:chgData name="Aurelien Domont" userId="6da7715ce44349b3" providerId="LiveId" clId="{8C97B853-E239-49C0-A36B-A3F2C855C3BA}" dt="2023-11-02T05:41:26.468" v="111"/>
          <ac:spMkLst>
            <pc:docMk/>
            <pc:sldMk cId="3556512680" sldId="2559"/>
            <ac:spMk id="5" creationId="{58F137C0-20FF-BB6F-5F01-E969BD71333B}"/>
          </ac:spMkLst>
        </pc:spChg>
        <pc:spChg chg="add del mod modVis">
          <ac:chgData name="Aurelien Domont" userId="6da7715ce44349b3" providerId="LiveId" clId="{8C97B853-E239-49C0-A36B-A3F2C855C3BA}" dt="2023-11-02T05:41:29.218" v="165"/>
          <ac:spMkLst>
            <pc:docMk/>
            <pc:sldMk cId="3556512680" sldId="2559"/>
            <ac:spMk id="7" creationId="{BBCED803-9B7B-C29D-C1BF-31EACEB2266E}"/>
          </ac:spMkLst>
        </pc:spChg>
        <pc:spChg chg="add mod">
          <ac:chgData name="Aurelien Domont" userId="6da7715ce44349b3" providerId="LiveId" clId="{8C97B853-E239-49C0-A36B-A3F2C855C3BA}" dt="2023-11-02T05:50:22.316" v="418" actId="20577"/>
          <ac:spMkLst>
            <pc:docMk/>
            <pc:sldMk cId="3556512680" sldId="2559"/>
            <ac:spMk id="8" creationId="{283D8879-911B-9B5C-E64C-10BE7780FB67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10" creationId="{F77B9236-76E4-1E77-10D7-E23AB07E436F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11" creationId="{1AA7172C-9FBF-6D59-159A-291067743FFD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13" creationId="{11371C50-EF18-251D-396B-665BD97DA1C5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14" creationId="{467FA576-45E0-6C9C-7E52-98A9852390B8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15" creationId="{D442BBFB-FAB9-304B-305A-BEE327B5709F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16" creationId="{0AD97C23-728F-AC1F-F164-167CB7E86554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17" creationId="{49249967-1891-0EDC-125E-F1EEAB08950D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18" creationId="{FF098CCA-226A-9AD2-56F4-D5BFD7019258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19" creationId="{C1B847F6-1017-A084-2D39-98478187736D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20" creationId="{2EBAA04A-254C-C29B-A43D-8E710FD67873}"/>
          </ac:spMkLst>
        </pc:spChg>
        <pc:spChg chg="add mod">
          <ac:chgData name="Aurelien Domont" userId="6da7715ce44349b3" providerId="LiveId" clId="{8C97B853-E239-49C0-A36B-A3F2C855C3BA}" dt="2023-11-02T05:50:36.889" v="429" actId="20577"/>
          <ac:spMkLst>
            <pc:docMk/>
            <pc:sldMk cId="3556512680" sldId="2559"/>
            <ac:spMk id="21" creationId="{7CDD57AF-2058-6909-AE0A-E02343DFF963}"/>
          </ac:spMkLst>
        </pc:spChg>
        <pc:spChg chg="add mod">
          <ac:chgData name="Aurelien Domont" userId="6da7715ce44349b3" providerId="LiveId" clId="{8C97B853-E239-49C0-A36B-A3F2C855C3BA}" dt="2023-11-02T05:50:43.920" v="430"/>
          <ac:spMkLst>
            <pc:docMk/>
            <pc:sldMk cId="3556512680" sldId="2559"/>
            <ac:spMk id="22" creationId="{84D8F018-1887-2CDD-9482-82DFDF6E66E7}"/>
          </ac:spMkLst>
        </pc:spChg>
        <pc:spChg chg="add mod">
          <ac:chgData name="Aurelien Domont" userId="6da7715ce44349b3" providerId="LiveId" clId="{8C97B853-E239-49C0-A36B-A3F2C855C3BA}" dt="2023-11-02T05:50:47.814" v="431"/>
          <ac:spMkLst>
            <pc:docMk/>
            <pc:sldMk cId="3556512680" sldId="2559"/>
            <ac:spMk id="23" creationId="{4C395D23-4999-7E0B-762D-73F5A83D17AB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24" creationId="{4074F491-A68A-C58E-F30A-E56010B1DB2B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25" creationId="{44D60CAF-0EAE-066F-1769-8FE545979FB4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26" creationId="{60DD3555-906E-02C8-FC4D-8661ACC1A2F9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27" creationId="{EB3F24F8-ADCE-BC33-A015-030A7BD4DEE2}"/>
          </ac:spMkLst>
        </pc:spChg>
        <pc:spChg chg="add mod">
          <ac:chgData name="Aurelien Domont" userId="6da7715ce44349b3" providerId="LiveId" clId="{8C97B853-E239-49C0-A36B-A3F2C855C3BA}" dt="2023-11-02T05:50:51.443" v="433"/>
          <ac:spMkLst>
            <pc:docMk/>
            <pc:sldMk cId="3556512680" sldId="2559"/>
            <ac:spMk id="28" creationId="{5CB56975-8A97-3B8D-E285-65A8D54CFA19}"/>
          </ac:spMkLst>
        </pc:spChg>
        <pc:spChg chg="add mod">
          <ac:chgData name="Aurelien Domont" userId="6da7715ce44349b3" providerId="LiveId" clId="{8C97B853-E239-49C0-A36B-A3F2C855C3BA}" dt="2023-11-02T05:50:52.746" v="434"/>
          <ac:spMkLst>
            <pc:docMk/>
            <pc:sldMk cId="3556512680" sldId="2559"/>
            <ac:spMk id="29" creationId="{E5460BA1-FDF8-5B75-FF72-0E1AB51DAC5C}"/>
          </ac:spMkLst>
        </pc:spChg>
        <pc:spChg chg="add mod">
          <ac:chgData name="Aurelien Domont" userId="6da7715ce44349b3" providerId="LiveId" clId="{8C97B853-E239-49C0-A36B-A3F2C855C3BA}" dt="2023-11-02T05:50:50.266" v="432"/>
          <ac:spMkLst>
            <pc:docMk/>
            <pc:sldMk cId="3556512680" sldId="2559"/>
            <ac:spMk id="30" creationId="{239BCCBB-3815-522D-DDF4-2E53DFC7ED2C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31" creationId="{F3B9B12D-C5A7-4926-FC78-F9E9D1FF00F8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32" creationId="{0ECA0D49-6E9A-7017-9F4E-833E5D63AF1D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33" creationId="{5D968FB9-B0A2-A05E-4035-F3B67B2B5329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34" creationId="{1DDD9C3E-5A8C-6636-1F38-A4E8F66AD32B}"/>
          </ac:spMkLst>
        </pc:spChg>
        <pc:spChg chg="add mod">
          <ac:chgData name="Aurelien Domont" userId="6da7715ce44349b3" providerId="LiveId" clId="{8C97B853-E239-49C0-A36B-A3F2C855C3BA}" dt="2023-11-02T05:50:56.608" v="436"/>
          <ac:spMkLst>
            <pc:docMk/>
            <pc:sldMk cId="3556512680" sldId="2559"/>
            <ac:spMk id="35" creationId="{3BE9735F-391E-533A-868C-A6E808EDD34F}"/>
          </ac:spMkLst>
        </pc:spChg>
        <pc:spChg chg="add mod">
          <ac:chgData name="Aurelien Domont" userId="6da7715ce44349b3" providerId="LiveId" clId="{8C97B853-E239-49C0-A36B-A3F2C855C3BA}" dt="2023-11-02T05:50:59.531" v="437"/>
          <ac:spMkLst>
            <pc:docMk/>
            <pc:sldMk cId="3556512680" sldId="2559"/>
            <ac:spMk id="36" creationId="{FF251FAA-43C3-4FB7-966B-E692C4F48769}"/>
          </ac:spMkLst>
        </pc:spChg>
        <pc:spChg chg="add mod">
          <ac:chgData name="Aurelien Domont" userId="6da7715ce44349b3" providerId="LiveId" clId="{8C97B853-E239-49C0-A36B-A3F2C855C3BA}" dt="2023-11-02T05:50:55.117" v="435"/>
          <ac:spMkLst>
            <pc:docMk/>
            <pc:sldMk cId="3556512680" sldId="2559"/>
            <ac:spMk id="37" creationId="{578C43CF-D85F-A01B-7532-D345950404EB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38" creationId="{902E1C79-F751-22CD-1DD5-06DE6451005B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39" creationId="{CBCB69FF-3226-E5D2-1D16-B6082E36E3F9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40" creationId="{DD984646-7373-884F-1A56-6F1D578255BB}"/>
          </ac:spMkLst>
        </pc:spChg>
        <pc:spChg chg="add mod">
          <ac:chgData name="Aurelien Domont" userId="6da7715ce44349b3" providerId="LiveId" clId="{8C97B853-E239-49C0-A36B-A3F2C855C3BA}" dt="2023-11-02T05:50:30.437" v="419"/>
          <ac:spMkLst>
            <pc:docMk/>
            <pc:sldMk cId="3556512680" sldId="2559"/>
            <ac:spMk id="41" creationId="{010A17BC-5587-345C-6943-228FEA7EE0D5}"/>
          </ac:spMkLst>
        </pc:spChg>
        <pc:spChg chg="add mod">
          <ac:chgData name="Aurelien Domont" userId="6da7715ce44349b3" providerId="LiveId" clId="{8C97B853-E239-49C0-A36B-A3F2C855C3BA}" dt="2023-11-02T05:51:02.074" v="439"/>
          <ac:spMkLst>
            <pc:docMk/>
            <pc:sldMk cId="3556512680" sldId="2559"/>
            <ac:spMk id="42" creationId="{FDE16140-1B60-F695-680D-A1CF442B76BF}"/>
          </ac:spMkLst>
        </pc:spChg>
        <pc:spChg chg="add mod">
          <ac:chgData name="Aurelien Domont" userId="6da7715ce44349b3" providerId="LiveId" clId="{8C97B853-E239-49C0-A36B-A3F2C855C3BA}" dt="2023-11-02T05:51:07.428" v="440"/>
          <ac:spMkLst>
            <pc:docMk/>
            <pc:sldMk cId="3556512680" sldId="2559"/>
            <ac:spMk id="43" creationId="{532DA47A-CFA0-BA61-50E2-53E5B8728047}"/>
          </ac:spMkLst>
        </pc:spChg>
        <pc:spChg chg="add mod">
          <ac:chgData name="Aurelien Domont" userId="6da7715ce44349b3" providerId="LiveId" clId="{8C97B853-E239-49C0-A36B-A3F2C855C3BA}" dt="2023-11-02T05:51:00.912" v="438"/>
          <ac:spMkLst>
            <pc:docMk/>
            <pc:sldMk cId="3556512680" sldId="2559"/>
            <ac:spMk id="44" creationId="{1E156E60-A1D0-D21F-AEE7-F544F64992BB}"/>
          </ac:spMkLst>
        </pc:spChg>
        <pc:graphicFrameChg chg="add mod ord modVis replST">
          <ac:chgData name="Aurelien Domont" userId="6da7715ce44349b3" providerId="LiveId" clId="{8C97B853-E239-49C0-A36B-A3F2C855C3BA}" dt="2023-11-02T05:41:29.218" v="167"/>
          <ac:graphicFrameMkLst>
            <pc:docMk/>
            <pc:sldMk cId="3556512680" sldId="2559"/>
            <ac:graphicFrameMk id="6" creationId="{7D825B00-E688-B0F3-14A2-091926C576C5}"/>
          </ac:graphicFrameMkLst>
        </pc:graphicFrameChg>
        <pc:graphicFrameChg chg="add mod">
          <ac:chgData name="Aurelien Domont" userId="6da7715ce44349b3" providerId="LiveId" clId="{8C97B853-E239-49C0-A36B-A3F2C855C3BA}" dt="2023-11-02T05:50:30.437" v="419"/>
          <ac:graphicFrameMkLst>
            <pc:docMk/>
            <pc:sldMk cId="3556512680" sldId="2559"/>
            <ac:graphicFrameMk id="9" creationId="{C9CE1E9D-F0BE-0E57-AD2E-3E409C3C4BA5}"/>
          </ac:graphicFrameMkLst>
        </pc:graphicFrameChg>
        <pc:graphicFrameChg chg="add mod modGraphic">
          <ac:chgData name="Aurelien Domont" userId="6da7715ce44349b3" providerId="LiveId" clId="{8C97B853-E239-49C0-A36B-A3F2C855C3BA}" dt="2023-11-02T05:51:38.680" v="456" actId="20577"/>
          <ac:graphicFrameMkLst>
            <pc:docMk/>
            <pc:sldMk cId="3556512680" sldId="2559"/>
            <ac:graphicFrameMk id="12" creationId="{544A593A-8F77-2489-8B43-0E2B7EAF6832}"/>
          </ac:graphicFrameMkLst>
        </pc:graphicFrame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863720882" sldId="2559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683938910" sldId="2560"/>
        </pc:sldMkLst>
      </pc:sldChg>
      <pc:sldChg chg="modSp add mod">
        <pc:chgData name="Aurelien Domont" userId="6da7715ce44349b3" providerId="LiveId" clId="{8C97B853-E239-49C0-A36B-A3F2C855C3BA}" dt="2023-11-02T05:40:04.011" v="77" actId="207"/>
        <pc:sldMkLst>
          <pc:docMk/>
          <pc:sldMk cId="3543024021" sldId="2560"/>
        </pc:sldMkLst>
        <pc:spChg chg="mod">
          <ac:chgData name="Aurelien Domont" userId="6da7715ce44349b3" providerId="LiveId" clId="{8C97B853-E239-49C0-A36B-A3F2C855C3BA}" dt="2023-11-02T05:40:04.011" v="77" actId="207"/>
          <ac:spMkLst>
            <pc:docMk/>
            <pc:sldMk cId="3543024021" sldId="2560"/>
            <ac:spMk id="3" creationId="{7BC2ED5B-4F72-AE2F-0909-83D57A7256AA}"/>
          </ac:spMkLst>
        </pc:spChg>
      </pc:sldChg>
      <pc:sldChg chg="add">
        <pc:chgData name="Aurelien Domont" userId="6da7715ce44349b3" providerId="LiveId" clId="{8C97B853-E239-49C0-A36B-A3F2C855C3BA}" dt="2023-11-02T05:43:15.083" v="272"/>
        <pc:sldMkLst>
          <pc:docMk/>
          <pc:sldMk cId="1405253810" sldId="2561"/>
        </pc:sldMkLst>
      </pc:sldChg>
      <pc:sldChg chg="modSp add del mod">
        <pc:chgData name="Aurelien Domont" userId="6da7715ce44349b3" providerId="LiveId" clId="{8C97B853-E239-49C0-A36B-A3F2C855C3BA}" dt="2023-11-02T05:42:38.515" v="227" actId="2696"/>
        <pc:sldMkLst>
          <pc:docMk/>
          <pc:sldMk cId="1589096457" sldId="2561"/>
        </pc:sldMkLst>
        <pc:spChg chg="mod">
          <ac:chgData name="Aurelien Domont" userId="6da7715ce44349b3" providerId="LiveId" clId="{8C97B853-E239-49C0-A36B-A3F2C855C3BA}" dt="2023-11-02T05:42:16.034" v="222" actId="20577"/>
          <ac:spMkLst>
            <pc:docMk/>
            <pc:sldMk cId="1589096457" sldId="2561"/>
            <ac:spMk id="16" creationId="{6C2BB713-9637-4B9B-938F-E9768876782A}"/>
          </ac:spMkLst>
        </pc:spChg>
        <pc:graphicFrameChg chg="mod">
          <ac:chgData name="Aurelien Domont" userId="6da7715ce44349b3" providerId="LiveId" clId="{8C97B853-E239-49C0-A36B-A3F2C855C3BA}" dt="2023-11-02T05:42:16.536" v="226"/>
          <ac:graphicFrameMkLst>
            <pc:docMk/>
            <pc:sldMk cId="1589096457" sldId="2561"/>
            <ac:graphicFrameMk id="13" creationId="{A073AF91-5325-42B9-A31A-3D179304022A}"/>
          </ac:graphicFrameMkLst>
        </pc:graphicFrame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518363986" sldId="2561"/>
        </pc:sldMkLst>
      </pc:sldChg>
      <pc:sldChg chg="addSp delSp modSp add mod">
        <pc:chgData name="Aurelien Domont" userId="6da7715ce44349b3" providerId="LiveId" clId="{8C97B853-E239-49C0-A36B-A3F2C855C3BA}" dt="2023-11-02T05:52:16.705" v="467" actId="313"/>
        <pc:sldMkLst>
          <pc:docMk/>
          <pc:sldMk cId="308615889" sldId="2562"/>
        </pc:sldMkLst>
        <pc:spChg chg="del">
          <ac:chgData name="Aurelien Domont" userId="6da7715ce44349b3" providerId="LiveId" clId="{8C97B853-E239-49C0-A36B-A3F2C855C3BA}" dt="2023-11-02T05:44:51.994" v="327" actId="478"/>
          <ac:spMkLst>
            <pc:docMk/>
            <pc:sldMk cId="308615889" sldId="2562"/>
            <ac:spMk id="2" creationId="{D3E4E68C-0E57-16F0-6BC5-A08FD60949FA}"/>
          </ac:spMkLst>
        </pc:spChg>
        <pc:spChg chg="mod">
          <ac:chgData name="Aurelien Domont" userId="6da7715ce44349b3" providerId="LiveId" clId="{8C97B853-E239-49C0-A36B-A3F2C855C3BA}" dt="2023-11-02T05:52:16.705" v="467" actId="313"/>
          <ac:spMkLst>
            <pc:docMk/>
            <pc:sldMk cId="308615889" sldId="2562"/>
            <ac:spMk id="5" creationId="{B1B67B0A-C7E6-BEA3-23A1-1054E4E2C681}"/>
          </ac:spMkLst>
        </pc:spChg>
        <pc:spChg chg="del">
          <ac:chgData name="Aurelien Domont" userId="6da7715ce44349b3" providerId="LiveId" clId="{8C97B853-E239-49C0-A36B-A3F2C855C3BA}" dt="2023-11-02T05:44:51.994" v="327" actId="478"/>
          <ac:spMkLst>
            <pc:docMk/>
            <pc:sldMk cId="308615889" sldId="2562"/>
            <ac:spMk id="6" creationId="{D83EAEEF-1A64-8E8B-6EEA-ADD275BD4695}"/>
          </ac:spMkLst>
        </pc:spChg>
        <pc:spChg chg="del">
          <ac:chgData name="Aurelien Domont" userId="6da7715ce44349b3" providerId="LiveId" clId="{8C97B853-E239-49C0-A36B-A3F2C855C3BA}" dt="2023-11-02T05:44:51.994" v="327" actId="478"/>
          <ac:spMkLst>
            <pc:docMk/>
            <pc:sldMk cId="308615889" sldId="2562"/>
            <ac:spMk id="7" creationId="{CDF41D50-0FE8-B75F-D257-CD473E784FCB}"/>
          </ac:spMkLst>
        </pc:spChg>
        <pc:spChg chg="del">
          <ac:chgData name="Aurelien Domont" userId="6da7715ce44349b3" providerId="LiveId" clId="{8C97B853-E239-49C0-A36B-A3F2C855C3BA}" dt="2023-11-02T05:44:51.994" v="327" actId="478"/>
          <ac:spMkLst>
            <pc:docMk/>
            <pc:sldMk cId="308615889" sldId="2562"/>
            <ac:spMk id="8" creationId="{5F2ACFFD-A5F6-74F8-C939-A834C530F74F}"/>
          </ac:spMkLst>
        </pc:spChg>
        <pc:spChg chg="del">
          <ac:chgData name="Aurelien Domont" userId="6da7715ce44349b3" providerId="LiveId" clId="{8C97B853-E239-49C0-A36B-A3F2C855C3BA}" dt="2023-11-02T05:44:51.994" v="327" actId="478"/>
          <ac:spMkLst>
            <pc:docMk/>
            <pc:sldMk cId="308615889" sldId="2562"/>
            <ac:spMk id="9" creationId="{C2542829-AB1C-EFD7-2C84-7A2AD436CF36}"/>
          </ac:spMkLst>
        </pc:spChg>
        <pc:spChg chg="del">
          <ac:chgData name="Aurelien Domont" userId="6da7715ce44349b3" providerId="LiveId" clId="{8C97B853-E239-49C0-A36B-A3F2C855C3BA}" dt="2023-11-02T05:44:51.994" v="327" actId="478"/>
          <ac:spMkLst>
            <pc:docMk/>
            <pc:sldMk cId="308615889" sldId="2562"/>
            <ac:spMk id="10" creationId="{2EA5A895-C47C-9DEF-8409-A0C79FC39F97}"/>
          </ac:spMkLst>
        </pc:spChg>
        <pc:spChg chg="del">
          <ac:chgData name="Aurelien Domont" userId="6da7715ce44349b3" providerId="LiveId" clId="{8C97B853-E239-49C0-A36B-A3F2C855C3BA}" dt="2023-11-02T05:44:51.994" v="327" actId="478"/>
          <ac:spMkLst>
            <pc:docMk/>
            <pc:sldMk cId="308615889" sldId="2562"/>
            <ac:spMk id="12" creationId="{79CA9656-B18F-F874-6F36-C596F6FEF25A}"/>
          </ac:spMkLst>
        </pc:spChg>
        <pc:spChg chg="del">
          <ac:chgData name="Aurelien Domont" userId="6da7715ce44349b3" providerId="LiveId" clId="{8C97B853-E239-49C0-A36B-A3F2C855C3BA}" dt="2023-11-02T05:44:51.994" v="327" actId="478"/>
          <ac:spMkLst>
            <pc:docMk/>
            <pc:sldMk cId="308615889" sldId="2562"/>
            <ac:spMk id="14" creationId="{73F06577-0BD6-2D39-482F-773F3C834955}"/>
          </ac:spMkLst>
        </pc:spChg>
        <pc:spChg chg="del">
          <ac:chgData name="Aurelien Domont" userId="6da7715ce44349b3" providerId="LiveId" clId="{8C97B853-E239-49C0-A36B-A3F2C855C3BA}" dt="2023-11-02T05:44:51.994" v="327" actId="478"/>
          <ac:spMkLst>
            <pc:docMk/>
            <pc:sldMk cId="308615889" sldId="2562"/>
            <ac:spMk id="15" creationId="{38925A9F-B063-2919-8EEC-79B5977B51A2}"/>
          </ac:spMkLst>
        </pc:spChg>
        <pc:spChg chg="del">
          <ac:chgData name="Aurelien Domont" userId="6da7715ce44349b3" providerId="LiveId" clId="{8C97B853-E239-49C0-A36B-A3F2C855C3BA}" dt="2023-11-02T05:44:51.994" v="327" actId="478"/>
          <ac:spMkLst>
            <pc:docMk/>
            <pc:sldMk cId="308615889" sldId="2562"/>
            <ac:spMk id="17" creationId="{EAFC49C3-5FA5-AD5C-A23B-A8BAB8DB1AF1}"/>
          </ac:spMkLst>
        </pc:spChg>
        <pc:spChg chg="del">
          <ac:chgData name="Aurelien Domont" userId="6da7715ce44349b3" providerId="LiveId" clId="{8C97B853-E239-49C0-A36B-A3F2C855C3BA}" dt="2023-11-02T05:44:51.994" v="327" actId="478"/>
          <ac:spMkLst>
            <pc:docMk/>
            <pc:sldMk cId="308615889" sldId="2562"/>
            <ac:spMk id="18" creationId="{9A129305-7EEC-B660-15A4-C710F6B828A2}"/>
          </ac:spMkLst>
        </pc:spChg>
        <pc:spChg chg="add mod">
          <ac:chgData name="Aurelien Domont" userId="6da7715ce44349b3" providerId="LiveId" clId="{8C97B853-E239-49C0-A36B-A3F2C855C3BA}" dt="2023-11-02T05:45:11.890" v="337"/>
          <ac:spMkLst>
            <pc:docMk/>
            <pc:sldMk cId="308615889" sldId="2562"/>
            <ac:spMk id="19" creationId="{ED30A191-5790-7C5D-32E7-7D0EF25BA567}"/>
          </ac:spMkLst>
        </pc:spChg>
        <pc:spChg chg="del">
          <ac:chgData name="Aurelien Domont" userId="6da7715ce44349b3" providerId="LiveId" clId="{8C97B853-E239-49C0-A36B-A3F2C855C3BA}" dt="2023-11-02T05:44:51.994" v="327" actId="478"/>
          <ac:spMkLst>
            <pc:docMk/>
            <pc:sldMk cId="308615889" sldId="2562"/>
            <ac:spMk id="23" creationId="{D542DCAD-738A-D3F8-EFF9-D15167844EE8}"/>
          </ac:spMkLst>
        </pc:spChg>
        <pc:spChg chg="del">
          <ac:chgData name="Aurelien Domont" userId="6da7715ce44349b3" providerId="LiveId" clId="{8C97B853-E239-49C0-A36B-A3F2C855C3BA}" dt="2023-11-02T05:44:52.815" v="328" actId="478"/>
          <ac:spMkLst>
            <pc:docMk/>
            <pc:sldMk cId="308615889" sldId="2562"/>
            <ac:spMk id="24" creationId="{8029139B-FF58-BDC3-0F47-7ED24E55BA42}"/>
          </ac:spMkLst>
        </pc:spChg>
        <pc:spChg chg="add mod">
          <ac:chgData name="Aurelien Domont" userId="6da7715ce44349b3" providerId="LiveId" clId="{8C97B853-E239-49C0-A36B-A3F2C855C3BA}" dt="2023-11-02T05:45:11.890" v="337"/>
          <ac:spMkLst>
            <pc:docMk/>
            <pc:sldMk cId="308615889" sldId="2562"/>
            <ac:spMk id="25" creationId="{636FD326-FF61-BB6B-800F-07D8AFEC7E2F}"/>
          </ac:spMkLst>
        </pc:spChg>
        <pc:spChg chg="add mod">
          <ac:chgData name="Aurelien Domont" userId="6da7715ce44349b3" providerId="LiveId" clId="{8C97B853-E239-49C0-A36B-A3F2C855C3BA}" dt="2023-11-02T05:45:11.890" v="337"/>
          <ac:spMkLst>
            <pc:docMk/>
            <pc:sldMk cId="308615889" sldId="2562"/>
            <ac:spMk id="26" creationId="{3B47D9AB-6840-E998-869E-3E3C869724D8}"/>
          </ac:spMkLst>
        </pc:spChg>
        <pc:spChg chg="add mod">
          <ac:chgData name="Aurelien Domont" userId="6da7715ce44349b3" providerId="LiveId" clId="{8C97B853-E239-49C0-A36B-A3F2C855C3BA}" dt="2023-11-02T05:45:47.860" v="346" actId="208"/>
          <ac:spMkLst>
            <pc:docMk/>
            <pc:sldMk cId="308615889" sldId="2562"/>
            <ac:spMk id="27" creationId="{80A18911-96B5-FA74-8E6E-5E859F0A190D}"/>
          </ac:spMkLst>
        </pc:spChg>
        <pc:spChg chg="add mod">
          <ac:chgData name="Aurelien Domont" userId="6da7715ce44349b3" providerId="LiveId" clId="{8C97B853-E239-49C0-A36B-A3F2C855C3BA}" dt="2023-11-02T05:45:11.890" v="337"/>
          <ac:spMkLst>
            <pc:docMk/>
            <pc:sldMk cId="308615889" sldId="2562"/>
            <ac:spMk id="30" creationId="{2C4177FF-5F88-B913-E60A-4AFE3E1980DA}"/>
          </ac:spMkLst>
        </pc:spChg>
        <pc:spChg chg="add mod">
          <ac:chgData name="Aurelien Domont" userId="6da7715ce44349b3" providerId="LiveId" clId="{8C97B853-E239-49C0-A36B-A3F2C855C3BA}" dt="2023-11-02T05:45:11.890" v="337"/>
          <ac:spMkLst>
            <pc:docMk/>
            <pc:sldMk cId="308615889" sldId="2562"/>
            <ac:spMk id="31" creationId="{C09121F6-13EA-A2EC-0CB5-D25F6C35D5E5}"/>
          </ac:spMkLst>
        </pc:spChg>
        <pc:spChg chg="add mod">
          <ac:chgData name="Aurelien Domont" userId="6da7715ce44349b3" providerId="LiveId" clId="{8C97B853-E239-49C0-A36B-A3F2C855C3BA}" dt="2023-11-02T05:45:18.346" v="338" actId="207"/>
          <ac:spMkLst>
            <pc:docMk/>
            <pc:sldMk cId="308615889" sldId="2562"/>
            <ac:spMk id="32" creationId="{6660FA81-CD8B-E49F-D16A-DC22C19EE9CF}"/>
          </ac:spMkLst>
        </pc:spChg>
        <pc:spChg chg="add mod">
          <ac:chgData name="Aurelien Domont" userId="6da7715ce44349b3" providerId="LiveId" clId="{8C97B853-E239-49C0-A36B-A3F2C855C3BA}" dt="2023-11-02T05:45:30.451" v="341" actId="207"/>
          <ac:spMkLst>
            <pc:docMk/>
            <pc:sldMk cId="308615889" sldId="2562"/>
            <ac:spMk id="33" creationId="{8D611F57-93BC-6BC4-C5AE-8674CFC3A40E}"/>
          </ac:spMkLst>
        </pc:spChg>
        <pc:spChg chg="add mod">
          <ac:chgData name="Aurelien Domont" userId="6da7715ce44349b3" providerId="LiveId" clId="{8C97B853-E239-49C0-A36B-A3F2C855C3BA}" dt="2023-11-02T05:45:25.020" v="340" actId="207"/>
          <ac:spMkLst>
            <pc:docMk/>
            <pc:sldMk cId="308615889" sldId="2562"/>
            <ac:spMk id="34" creationId="{730AEF75-7F97-3758-5085-A18881D41CE3}"/>
          </ac:spMkLst>
        </pc:spChg>
        <pc:spChg chg="add mod">
          <ac:chgData name="Aurelien Domont" userId="6da7715ce44349b3" providerId="LiveId" clId="{8C97B853-E239-49C0-A36B-A3F2C855C3BA}" dt="2023-11-02T05:45:42.601" v="343" actId="207"/>
          <ac:spMkLst>
            <pc:docMk/>
            <pc:sldMk cId="308615889" sldId="2562"/>
            <ac:spMk id="35" creationId="{5C3578DD-F496-2B62-4011-2B29B2715212}"/>
          </ac:spMkLst>
        </pc:spChg>
        <pc:spChg chg="add mod">
          <ac:chgData name="Aurelien Domont" userId="6da7715ce44349b3" providerId="LiveId" clId="{8C97B853-E239-49C0-A36B-A3F2C855C3BA}" dt="2023-11-02T05:45:11.890" v="337"/>
          <ac:spMkLst>
            <pc:docMk/>
            <pc:sldMk cId="308615889" sldId="2562"/>
            <ac:spMk id="36" creationId="{82D5D54A-AD03-169B-04C7-AB74F6FEA8D6}"/>
          </ac:spMkLst>
        </pc:spChg>
        <pc:spChg chg="add mod">
          <ac:chgData name="Aurelien Domont" userId="6da7715ce44349b3" providerId="LiveId" clId="{8C97B853-E239-49C0-A36B-A3F2C855C3BA}" dt="2023-11-02T05:45:11.890" v="337"/>
          <ac:spMkLst>
            <pc:docMk/>
            <pc:sldMk cId="308615889" sldId="2562"/>
            <ac:spMk id="37" creationId="{84932598-B4F0-6D9F-DD1E-147687C2673C}"/>
          </ac:spMkLst>
        </pc:spChg>
        <pc:spChg chg="add mod">
          <ac:chgData name="Aurelien Domont" userId="6da7715ce44349b3" providerId="LiveId" clId="{8C97B853-E239-49C0-A36B-A3F2C855C3BA}" dt="2023-11-02T05:45:11.890" v="337"/>
          <ac:spMkLst>
            <pc:docMk/>
            <pc:sldMk cId="308615889" sldId="2562"/>
            <ac:spMk id="38" creationId="{BE867237-90AF-2B9E-74D5-687E3B758CDD}"/>
          </ac:spMkLst>
        </pc:spChg>
        <pc:spChg chg="add mod">
          <ac:chgData name="Aurelien Domont" userId="6da7715ce44349b3" providerId="LiveId" clId="{8C97B853-E239-49C0-A36B-A3F2C855C3BA}" dt="2023-11-02T05:45:11.890" v="337"/>
          <ac:spMkLst>
            <pc:docMk/>
            <pc:sldMk cId="308615889" sldId="2562"/>
            <ac:spMk id="39" creationId="{11FDAF99-AF7A-1048-86E8-8FB2BD2B14CD}"/>
          </ac:spMkLst>
        </pc:spChg>
        <pc:spChg chg="add mod">
          <ac:chgData name="Aurelien Domont" userId="6da7715ce44349b3" providerId="LiveId" clId="{8C97B853-E239-49C0-A36B-A3F2C855C3BA}" dt="2023-11-02T05:45:21.911" v="339" actId="207"/>
          <ac:spMkLst>
            <pc:docMk/>
            <pc:sldMk cId="308615889" sldId="2562"/>
            <ac:spMk id="40" creationId="{D3E85B05-A137-5662-D27E-59C073F8B7DF}"/>
          </ac:spMkLst>
        </pc:spChg>
        <pc:spChg chg="add mod">
          <ac:chgData name="Aurelien Domont" userId="6da7715ce44349b3" providerId="LiveId" clId="{8C97B853-E239-49C0-A36B-A3F2C855C3BA}" dt="2023-11-02T05:45:36.292" v="342" actId="207"/>
          <ac:spMkLst>
            <pc:docMk/>
            <pc:sldMk cId="308615889" sldId="2562"/>
            <ac:spMk id="41" creationId="{93B088B4-266D-DA28-077C-91D23C64A990}"/>
          </ac:spMkLst>
        </pc:spChg>
        <pc:cxnChg chg="add mod">
          <ac:chgData name="Aurelien Domont" userId="6da7715ce44349b3" providerId="LiveId" clId="{8C97B853-E239-49C0-A36B-A3F2C855C3BA}" dt="2023-11-02T05:45:11.890" v="337"/>
          <ac:cxnSpMkLst>
            <pc:docMk/>
            <pc:sldMk cId="308615889" sldId="2562"/>
            <ac:cxnSpMk id="11" creationId="{AE477497-B1D4-79D9-48BC-4B405720EFB4}"/>
          </ac:cxnSpMkLst>
        </pc:cxnChg>
        <pc:cxnChg chg="add mod">
          <ac:chgData name="Aurelien Domont" userId="6da7715ce44349b3" providerId="LiveId" clId="{8C97B853-E239-49C0-A36B-A3F2C855C3BA}" dt="2023-11-02T05:45:11.890" v="337"/>
          <ac:cxnSpMkLst>
            <pc:docMk/>
            <pc:sldMk cId="308615889" sldId="2562"/>
            <ac:cxnSpMk id="20" creationId="{E7DA7A95-DA21-D55C-9737-7442044A2EDD}"/>
          </ac:cxnSpMkLst>
        </pc:cxnChg>
        <pc:cxnChg chg="del">
          <ac:chgData name="Aurelien Domont" userId="6da7715ce44349b3" providerId="LiveId" clId="{8C97B853-E239-49C0-A36B-A3F2C855C3BA}" dt="2023-11-02T05:44:51.994" v="327" actId="478"/>
          <ac:cxnSpMkLst>
            <pc:docMk/>
            <pc:sldMk cId="308615889" sldId="2562"/>
            <ac:cxnSpMk id="21" creationId="{02BD35C4-4D5A-A050-742A-39D74D9E3A9B}"/>
          </ac:cxnSpMkLst>
        </pc:cxnChg>
        <pc:cxnChg chg="del">
          <ac:chgData name="Aurelien Domont" userId="6da7715ce44349b3" providerId="LiveId" clId="{8C97B853-E239-49C0-A36B-A3F2C855C3BA}" dt="2023-11-02T05:44:51.994" v="327" actId="478"/>
          <ac:cxnSpMkLst>
            <pc:docMk/>
            <pc:sldMk cId="308615889" sldId="2562"/>
            <ac:cxnSpMk id="22" creationId="{C20F650D-8D08-CFD8-3E85-798FD3B7C169}"/>
          </ac:cxnSpMkLst>
        </pc:cxnChg>
        <pc:cxnChg chg="add mod">
          <ac:chgData name="Aurelien Domont" userId="6da7715ce44349b3" providerId="LiveId" clId="{8C97B853-E239-49C0-A36B-A3F2C855C3BA}" dt="2023-11-02T05:45:11.890" v="337"/>
          <ac:cxnSpMkLst>
            <pc:docMk/>
            <pc:sldMk cId="308615889" sldId="2562"/>
            <ac:cxnSpMk id="28" creationId="{53A3D7BF-001C-8BF0-9CEA-5BF7826A5D55}"/>
          </ac:cxnSpMkLst>
        </pc:cxnChg>
        <pc:cxnChg chg="add mod">
          <ac:chgData name="Aurelien Domont" userId="6da7715ce44349b3" providerId="LiveId" clId="{8C97B853-E239-49C0-A36B-A3F2C855C3BA}" dt="2023-11-02T05:45:11.890" v="337"/>
          <ac:cxnSpMkLst>
            <pc:docMk/>
            <pc:sldMk cId="308615889" sldId="2562"/>
            <ac:cxnSpMk id="29" creationId="{DD9C2FC6-1AC0-FC44-14EE-3C60D64DC2A3}"/>
          </ac:cxnSpMkLst>
        </pc:cxn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328775880" sldId="2562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958219566" sldId="2563"/>
        </pc:sldMkLst>
      </pc:sldChg>
      <pc:sldChg chg="addSp modSp add mod">
        <pc:chgData name="Aurelien Domont" userId="6da7715ce44349b3" providerId="LiveId" clId="{8C97B853-E239-49C0-A36B-A3F2C855C3BA}" dt="2023-11-02T05:52:17.209" v="468" actId="313"/>
        <pc:sldMkLst>
          <pc:docMk/>
          <pc:sldMk cId="3576432030" sldId="2563"/>
        </pc:sldMkLst>
        <pc:spChg chg="add mod">
          <ac:chgData name="Aurelien Domont" userId="6da7715ce44349b3" providerId="LiveId" clId="{8C97B853-E239-49C0-A36B-A3F2C855C3BA}" dt="2023-11-02T05:46:09.158" v="347"/>
          <ac:spMkLst>
            <pc:docMk/>
            <pc:sldMk cId="3576432030" sldId="2563"/>
            <ac:spMk id="2" creationId="{8D3708C8-F1E5-D017-AC3E-EA64DB521987}"/>
          </ac:spMkLst>
        </pc:spChg>
        <pc:spChg chg="mod">
          <ac:chgData name="Aurelien Domont" userId="6da7715ce44349b3" providerId="LiveId" clId="{8C97B853-E239-49C0-A36B-A3F2C855C3BA}" dt="2023-11-02T05:52:17.209" v="468" actId="313"/>
          <ac:spMkLst>
            <pc:docMk/>
            <pc:sldMk cId="3576432030" sldId="2563"/>
            <ac:spMk id="5" creationId="{B1B67B0A-C7E6-BEA3-23A1-1054E4E2C681}"/>
          </ac:spMkLst>
        </pc:spChg>
        <pc:spChg chg="add mod">
          <ac:chgData name="Aurelien Domont" userId="6da7715ce44349b3" providerId="LiveId" clId="{8C97B853-E239-49C0-A36B-A3F2C855C3BA}" dt="2023-11-02T05:46:09.158" v="347"/>
          <ac:spMkLst>
            <pc:docMk/>
            <pc:sldMk cId="3576432030" sldId="2563"/>
            <ac:spMk id="6" creationId="{C5EF129B-EE65-E835-6132-18E399C45CF7}"/>
          </ac:spMkLst>
        </pc:spChg>
        <pc:spChg chg="add mod">
          <ac:chgData name="Aurelien Domont" userId="6da7715ce44349b3" providerId="LiveId" clId="{8C97B853-E239-49C0-A36B-A3F2C855C3BA}" dt="2023-11-02T05:46:09.158" v="347"/>
          <ac:spMkLst>
            <pc:docMk/>
            <pc:sldMk cId="3576432030" sldId="2563"/>
            <ac:spMk id="7" creationId="{281A0313-2F83-AFC2-1D89-5C47ED253904}"/>
          </ac:spMkLst>
        </pc:spChg>
        <pc:spChg chg="add mod">
          <ac:chgData name="Aurelien Domont" userId="6da7715ce44349b3" providerId="LiveId" clId="{8C97B853-E239-49C0-A36B-A3F2C855C3BA}" dt="2023-11-02T05:46:09.158" v="347"/>
          <ac:spMkLst>
            <pc:docMk/>
            <pc:sldMk cId="3576432030" sldId="2563"/>
            <ac:spMk id="8" creationId="{BF8DFF34-4450-AF0F-B6A6-1160A8F96EAC}"/>
          </ac:spMkLst>
        </pc:spChg>
        <pc:spChg chg="add mod">
          <ac:chgData name="Aurelien Domont" userId="6da7715ce44349b3" providerId="LiveId" clId="{8C97B853-E239-49C0-A36B-A3F2C855C3BA}" dt="2023-11-02T05:46:32.850" v="350" actId="14100"/>
          <ac:spMkLst>
            <pc:docMk/>
            <pc:sldMk cId="3576432030" sldId="2563"/>
            <ac:spMk id="9" creationId="{64E898A4-57E4-2E6E-1A9F-EB28FAD8D073}"/>
          </ac:spMkLst>
        </pc:spChg>
        <pc:spChg chg="add mod">
          <ac:chgData name="Aurelien Domont" userId="6da7715ce44349b3" providerId="LiveId" clId="{8C97B853-E239-49C0-A36B-A3F2C855C3BA}" dt="2023-11-02T05:46:47.625" v="353" actId="14100"/>
          <ac:spMkLst>
            <pc:docMk/>
            <pc:sldMk cId="3576432030" sldId="2563"/>
            <ac:spMk id="10" creationId="{14F4D55D-E7DB-B050-A3D7-337F65EE879D}"/>
          </ac:spMkLst>
        </pc:spChg>
        <pc:spChg chg="add mod">
          <ac:chgData name="Aurelien Domont" userId="6da7715ce44349b3" providerId="LiveId" clId="{8C97B853-E239-49C0-A36B-A3F2C855C3BA}" dt="2023-11-02T05:46:42.944" v="352" actId="14100"/>
          <ac:spMkLst>
            <pc:docMk/>
            <pc:sldMk cId="3576432030" sldId="2563"/>
            <ac:spMk id="11" creationId="{1F4E573E-8F24-D931-0472-D3B37E6DDF5C}"/>
          </ac:spMkLst>
        </pc:spChg>
        <pc:spChg chg="add mod">
          <ac:chgData name="Aurelien Domont" userId="6da7715ce44349b3" providerId="LiveId" clId="{8C97B853-E239-49C0-A36B-A3F2C855C3BA}" dt="2023-11-02T05:46:09.158" v="347"/>
          <ac:spMkLst>
            <pc:docMk/>
            <pc:sldMk cId="3576432030" sldId="2563"/>
            <ac:spMk id="12" creationId="{C374BB8A-DB5F-65D9-E3B0-B0530107742B}"/>
          </ac:spMkLst>
        </pc:spChg>
        <pc:spChg chg="add mod">
          <ac:chgData name="Aurelien Domont" userId="6da7715ce44349b3" providerId="LiveId" clId="{8C97B853-E239-49C0-A36B-A3F2C855C3BA}" dt="2023-11-02T05:46:09.158" v="347"/>
          <ac:spMkLst>
            <pc:docMk/>
            <pc:sldMk cId="3576432030" sldId="2563"/>
            <ac:spMk id="14" creationId="{FB304F44-9991-4607-6B8C-F237300D39FF}"/>
          </ac:spMkLst>
        </pc:spChg>
        <pc:spChg chg="add mod">
          <ac:chgData name="Aurelien Domont" userId="6da7715ce44349b3" providerId="LiveId" clId="{8C97B853-E239-49C0-A36B-A3F2C855C3BA}" dt="2023-11-02T05:46:09.158" v="347"/>
          <ac:spMkLst>
            <pc:docMk/>
            <pc:sldMk cId="3576432030" sldId="2563"/>
            <ac:spMk id="15" creationId="{AF1150C4-BD19-B795-421B-4A55C53AC271}"/>
          </ac:spMkLst>
        </pc:spChg>
        <pc:spChg chg="add mod">
          <ac:chgData name="Aurelien Domont" userId="6da7715ce44349b3" providerId="LiveId" clId="{8C97B853-E239-49C0-A36B-A3F2C855C3BA}" dt="2023-11-02T05:46:09.158" v="347"/>
          <ac:spMkLst>
            <pc:docMk/>
            <pc:sldMk cId="3576432030" sldId="2563"/>
            <ac:spMk id="17" creationId="{7CA8BDCC-591F-9B3B-D9EB-D9F795FFD2AF}"/>
          </ac:spMkLst>
        </pc:spChg>
        <pc:spChg chg="add mod">
          <ac:chgData name="Aurelien Domont" userId="6da7715ce44349b3" providerId="LiveId" clId="{8C97B853-E239-49C0-A36B-A3F2C855C3BA}" dt="2023-11-02T05:46:09.158" v="347"/>
          <ac:spMkLst>
            <pc:docMk/>
            <pc:sldMk cId="3576432030" sldId="2563"/>
            <ac:spMk id="18" creationId="{1EA7D3B4-9E48-0F3F-7265-F227629171F5}"/>
          </ac:spMkLst>
        </pc:spChg>
        <pc:spChg chg="add mod">
          <ac:chgData name="Aurelien Domont" userId="6da7715ce44349b3" providerId="LiveId" clId="{8C97B853-E239-49C0-A36B-A3F2C855C3BA}" dt="2023-11-02T05:46:09.158" v="347"/>
          <ac:spMkLst>
            <pc:docMk/>
            <pc:sldMk cId="3576432030" sldId="2563"/>
            <ac:spMk id="19" creationId="{D8F188BE-3420-29C2-4593-2088BBC9662C}"/>
          </ac:spMkLst>
        </pc:spChg>
        <pc:spChg chg="add mod">
          <ac:chgData name="Aurelien Domont" userId="6da7715ce44349b3" providerId="LiveId" clId="{8C97B853-E239-49C0-A36B-A3F2C855C3BA}" dt="2023-11-02T05:46:09.158" v="347"/>
          <ac:spMkLst>
            <pc:docMk/>
            <pc:sldMk cId="3576432030" sldId="2563"/>
            <ac:spMk id="20" creationId="{C23CF6A1-1D90-A273-2230-9F03E205CD62}"/>
          </ac:spMkLst>
        </pc:spChg>
        <pc:spChg chg="add mod">
          <ac:chgData name="Aurelien Domont" userId="6da7715ce44349b3" providerId="LiveId" clId="{8C97B853-E239-49C0-A36B-A3F2C855C3BA}" dt="2023-11-02T05:46:09.158" v="347"/>
          <ac:spMkLst>
            <pc:docMk/>
            <pc:sldMk cId="3576432030" sldId="2563"/>
            <ac:spMk id="21" creationId="{713DFA4D-16C2-18EC-2B5A-39705C0DBEB6}"/>
          </ac:spMkLst>
        </pc:spChg>
        <pc:cxnChg chg="add mod">
          <ac:chgData name="Aurelien Domont" userId="6da7715ce44349b3" providerId="LiveId" clId="{8C97B853-E239-49C0-A36B-A3F2C855C3BA}" dt="2023-11-02T05:46:09.158" v="347"/>
          <ac:cxnSpMkLst>
            <pc:docMk/>
            <pc:sldMk cId="3576432030" sldId="2563"/>
            <ac:cxnSpMk id="22" creationId="{7DD8872C-24EE-4CB4-67B7-DEA37262F15E}"/>
          </ac:cxnSpMkLst>
        </pc:cxnChg>
      </pc:sldChg>
      <pc:sldChg chg="addSp modSp add mod">
        <pc:chgData name="Aurelien Domont" userId="6da7715ce44349b3" providerId="LiveId" clId="{8C97B853-E239-49C0-A36B-A3F2C855C3BA}" dt="2023-11-02T05:52:17.710" v="469" actId="313"/>
        <pc:sldMkLst>
          <pc:docMk/>
          <pc:sldMk cId="2374931211" sldId="2564"/>
        </pc:sldMkLst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2" creationId="{BEB4387D-AF2E-18B8-1F2D-6448105D4AC1}"/>
          </ac:spMkLst>
        </pc:spChg>
        <pc:spChg chg="mod">
          <ac:chgData name="Aurelien Domont" userId="6da7715ce44349b3" providerId="LiveId" clId="{8C97B853-E239-49C0-A36B-A3F2C855C3BA}" dt="2023-11-02T05:52:17.710" v="469" actId="313"/>
          <ac:spMkLst>
            <pc:docMk/>
            <pc:sldMk cId="2374931211" sldId="2564"/>
            <ac:spMk id="5" creationId="{B1B67B0A-C7E6-BEA3-23A1-1054E4E2C681}"/>
          </ac:spMkLst>
        </pc:spChg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6" creationId="{34EE0850-976E-21B2-0B11-962E91FCEBE1}"/>
          </ac:spMkLst>
        </pc:spChg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7" creationId="{395251CE-D5ED-811B-5480-42B59BFC242D}"/>
          </ac:spMkLst>
        </pc:spChg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8" creationId="{B327D053-E642-B482-3534-21ACB9B529D4}"/>
          </ac:spMkLst>
        </pc:spChg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9" creationId="{853FD40B-0EB1-9339-2AC3-991866BD3949}"/>
          </ac:spMkLst>
        </pc:spChg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10" creationId="{0C6FF77F-1421-2377-B6E2-8C55451559A3}"/>
          </ac:spMkLst>
        </pc:spChg>
        <pc:spChg chg="add mod">
          <ac:chgData name="Aurelien Domont" userId="6da7715ce44349b3" providerId="LiveId" clId="{8C97B853-E239-49C0-A36B-A3F2C855C3BA}" dt="2023-11-02T05:48:00.220" v="363" actId="207"/>
          <ac:spMkLst>
            <pc:docMk/>
            <pc:sldMk cId="2374931211" sldId="2564"/>
            <ac:spMk id="11" creationId="{4C23345C-33F7-E45F-3277-5351253414D4}"/>
          </ac:spMkLst>
        </pc:spChg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12" creationId="{D5DF09A0-C198-A57B-278B-F7E5AD1F387F}"/>
          </ac:spMkLst>
        </pc:spChg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14" creationId="{F101EF4B-F5A5-BC0E-5AD0-EF3997D117CE}"/>
          </ac:spMkLst>
        </pc:spChg>
        <pc:spChg chg="add mod">
          <ac:chgData name="Aurelien Domont" userId="6da7715ce44349b3" providerId="LiveId" clId="{8C97B853-E239-49C0-A36B-A3F2C855C3BA}" dt="2023-11-02T05:48:04.047" v="364" actId="207"/>
          <ac:spMkLst>
            <pc:docMk/>
            <pc:sldMk cId="2374931211" sldId="2564"/>
            <ac:spMk id="15" creationId="{801EC8EA-2EE1-8125-97F4-8645D41C5E94}"/>
          </ac:spMkLst>
        </pc:spChg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17" creationId="{B394BE36-FE1F-364C-F85C-0F0DFA648463}"/>
          </ac:spMkLst>
        </pc:spChg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18" creationId="{6A5921F2-415C-C722-2DD8-D4194DABC58C}"/>
          </ac:spMkLst>
        </pc:spChg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19" creationId="{B73E6C45-CA80-8E2B-1759-07B2F9684023}"/>
          </ac:spMkLst>
        </pc:spChg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20" creationId="{9799E8D3-8C28-B37B-68B8-5D74B4366CE4}"/>
          </ac:spMkLst>
        </pc:spChg>
        <pc:spChg chg="add mod">
          <ac:chgData name="Aurelien Domont" userId="6da7715ce44349b3" providerId="LiveId" clId="{8C97B853-E239-49C0-A36B-A3F2C855C3BA}" dt="2023-11-02T05:47:45.342" v="362"/>
          <ac:spMkLst>
            <pc:docMk/>
            <pc:sldMk cId="2374931211" sldId="2564"/>
            <ac:spMk id="23" creationId="{C4673737-B933-E09F-44CB-9FD876774562}"/>
          </ac:spMkLst>
        </pc:spChg>
        <pc:cxnChg chg="add mod">
          <ac:chgData name="Aurelien Domont" userId="6da7715ce44349b3" providerId="LiveId" clId="{8C97B853-E239-49C0-A36B-A3F2C855C3BA}" dt="2023-11-02T05:47:45.342" v="362"/>
          <ac:cxnSpMkLst>
            <pc:docMk/>
            <pc:sldMk cId="2374931211" sldId="2564"/>
            <ac:cxnSpMk id="21" creationId="{3B9F46C0-3B4F-8126-85BF-0FD941251502}"/>
          </ac:cxnSpMkLst>
        </pc:cxnChg>
        <pc:cxnChg chg="add mod">
          <ac:chgData name="Aurelien Domont" userId="6da7715ce44349b3" providerId="LiveId" clId="{8C97B853-E239-49C0-A36B-A3F2C855C3BA}" dt="2023-11-02T05:47:45.342" v="362"/>
          <ac:cxnSpMkLst>
            <pc:docMk/>
            <pc:sldMk cId="2374931211" sldId="2564"/>
            <ac:cxnSpMk id="22" creationId="{E377164D-C0BD-C35C-BABB-B7AA8A4D87A3}"/>
          </ac:cxnSpMkLst>
        </pc:cxn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031063989" sldId="2564"/>
        </pc:sldMkLst>
      </pc:sldChg>
      <pc:sldChg chg="addSp modSp add mod">
        <pc:chgData name="Aurelien Domont" userId="6da7715ce44349b3" providerId="LiveId" clId="{8C97B853-E239-49C0-A36B-A3F2C855C3BA}" dt="2023-11-02T05:52:18.274" v="470" actId="313"/>
        <pc:sldMkLst>
          <pc:docMk/>
          <pc:sldMk cId="551571960" sldId="2565"/>
        </pc:sldMkLst>
        <pc:spChg chg="mod">
          <ac:chgData name="Aurelien Domont" userId="6da7715ce44349b3" providerId="LiveId" clId="{8C97B853-E239-49C0-A36B-A3F2C855C3BA}" dt="2023-11-02T05:52:18.274" v="470" actId="313"/>
          <ac:spMkLst>
            <pc:docMk/>
            <pc:sldMk cId="551571960" sldId="2565"/>
            <ac:spMk id="5" creationId="{B1B67B0A-C7E6-BEA3-23A1-1054E4E2C681}"/>
          </ac:spMkLst>
        </pc:spChg>
        <pc:spChg chg="add mod">
          <ac:chgData name="Aurelien Domont" userId="6da7715ce44349b3" providerId="LiveId" clId="{8C97B853-E239-49C0-A36B-A3F2C855C3BA}" dt="2023-11-02T05:48:31.171" v="365"/>
          <ac:spMkLst>
            <pc:docMk/>
            <pc:sldMk cId="551571960" sldId="2565"/>
            <ac:spMk id="24" creationId="{4188CD05-4C9D-B4C3-63E4-E5CBA2D554AB}"/>
          </ac:spMkLst>
        </pc:spChg>
        <pc:spChg chg="add mod">
          <ac:chgData name="Aurelien Domont" userId="6da7715ce44349b3" providerId="LiveId" clId="{8C97B853-E239-49C0-A36B-A3F2C855C3BA}" dt="2023-11-02T05:48:31.171" v="365"/>
          <ac:spMkLst>
            <pc:docMk/>
            <pc:sldMk cId="551571960" sldId="2565"/>
            <ac:spMk id="31" creationId="{E17BD702-3F15-8F2C-6CA5-1E80FE95BABF}"/>
          </ac:spMkLst>
        </pc:spChg>
        <pc:spChg chg="add mod">
          <ac:chgData name="Aurelien Domont" userId="6da7715ce44349b3" providerId="LiveId" clId="{8C97B853-E239-49C0-A36B-A3F2C855C3BA}" dt="2023-11-02T05:48:31.171" v="365"/>
          <ac:spMkLst>
            <pc:docMk/>
            <pc:sldMk cId="551571960" sldId="2565"/>
            <ac:spMk id="32" creationId="{07677C64-894B-E01D-ECE1-4B6FC93A4406}"/>
          </ac:spMkLst>
        </pc:spChg>
        <pc:spChg chg="add mod">
          <ac:chgData name="Aurelien Domont" userId="6da7715ce44349b3" providerId="LiveId" clId="{8C97B853-E239-49C0-A36B-A3F2C855C3BA}" dt="2023-11-02T05:48:31.171" v="365"/>
          <ac:spMkLst>
            <pc:docMk/>
            <pc:sldMk cId="551571960" sldId="2565"/>
            <ac:spMk id="33" creationId="{CEFBA0F4-C368-03F2-40E7-D0FA5610A3BD}"/>
          </ac:spMkLst>
        </pc:spChg>
        <pc:spChg chg="add mod">
          <ac:chgData name="Aurelien Domont" userId="6da7715ce44349b3" providerId="LiveId" clId="{8C97B853-E239-49C0-A36B-A3F2C855C3BA}" dt="2023-11-02T05:48:31.171" v="365"/>
          <ac:spMkLst>
            <pc:docMk/>
            <pc:sldMk cId="551571960" sldId="2565"/>
            <ac:spMk id="34" creationId="{8612CEB0-5BF4-9D92-43E9-D45588006A02}"/>
          </ac:spMkLst>
        </pc:spChg>
        <pc:spChg chg="add mod">
          <ac:chgData name="Aurelien Domont" userId="6da7715ce44349b3" providerId="LiveId" clId="{8C97B853-E239-49C0-A36B-A3F2C855C3BA}" dt="2023-11-02T05:48:31.171" v="365"/>
          <ac:spMkLst>
            <pc:docMk/>
            <pc:sldMk cId="551571960" sldId="2565"/>
            <ac:spMk id="35" creationId="{EDFD41A4-24E2-080A-CD4B-A33DCD732B3E}"/>
          </ac:spMkLst>
        </pc:spChg>
        <pc:spChg chg="add mod">
          <ac:chgData name="Aurelien Domont" userId="6da7715ce44349b3" providerId="LiveId" clId="{8C97B853-E239-49C0-A36B-A3F2C855C3BA}" dt="2023-11-02T05:48:31.171" v="365"/>
          <ac:spMkLst>
            <pc:docMk/>
            <pc:sldMk cId="551571960" sldId="2565"/>
            <ac:spMk id="36" creationId="{61FD56E8-1EE8-45D1-B952-0FF9385D53CF}"/>
          </ac:spMkLst>
        </pc:spChg>
        <pc:grpChg chg="add mod">
          <ac:chgData name="Aurelien Domont" userId="6da7715ce44349b3" providerId="LiveId" clId="{8C97B853-E239-49C0-A36B-A3F2C855C3BA}" dt="2023-11-02T05:48:31.171" v="365"/>
          <ac:grpSpMkLst>
            <pc:docMk/>
            <pc:sldMk cId="551571960" sldId="2565"/>
            <ac:grpSpMk id="11" creationId="{106948CC-77E1-5962-6875-34113C0A74BF}"/>
          </ac:grpSpMkLst>
        </pc:grpChg>
        <pc:picChg chg="add mod">
          <ac:chgData name="Aurelien Domont" userId="6da7715ce44349b3" providerId="LiveId" clId="{8C97B853-E239-49C0-A36B-A3F2C855C3BA}" dt="2023-11-02T05:48:31.171" v="365"/>
          <ac:picMkLst>
            <pc:docMk/>
            <pc:sldMk cId="551571960" sldId="2565"/>
            <ac:picMk id="2" creationId="{42026E3B-A235-3E06-9904-08EC1A02ABC7}"/>
          </ac:picMkLst>
        </pc:picChg>
        <pc:picChg chg="add mod">
          <ac:chgData name="Aurelien Domont" userId="6da7715ce44349b3" providerId="LiveId" clId="{8C97B853-E239-49C0-A36B-A3F2C855C3BA}" dt="2023-11-02T05:48:31.171" v="365"/>
          <ac:picMkLst>
            <pc:docMk/>
            <pc:sldMk cId="551571960" sldId="2565"/>
            <ac:picMk id="6" creationId="{AE222EBC-CAD0-1F82-CDA6-DA8B204614FA}"/>
          </ac:picMkLst>
        </pc:picChg>
        <pc:picChg chg="add mod">
          <ac:chgData name="Aurelien Domont" userId="6da7715ce44349b3" providerId="LiveId" clId="{8C97B853-E239-49C0-A36B-A3F2C855C3BA}" dt="2023-11-02T05:48:31.171" v="365"/>
          <ac:picMkLst>
            <pc:docMk/>
            <pc:sldMk cId="551571960" sldId="2565"/>
            <ac:picMk id="7" creationId="{DCA54A1E-B049-52F3-A31C-F531A9BD2BD0}"/>
          </ac:picMkLst>
        </pc:picChg>
        <pc:picChg chg="add mod">
          <ac:chgData name="Aurelien Domont" userId="6da7715ce44349b3" providerId="LiveId" clId="{8C97B853-E239-49C0-A36B-A3F2C855C3BA}" dt="2023-11-02T05:48:31.171" v="365"/>
          <ac:picMkLst>
            <pc:docMk/>
            <pc:sldMk cId="551571960" sldId="2565"/>
            <ac:picMk id="8" creationId="{C9DD06C4-01C8-2017-FAC5-2131F9DA32B8}"/>
          </ac:picMkLst>
        </pc:picChg>
        <pc:picChg chg="add mod">
          <ac:chgData name="Aurelien Domont" userId="6da7715ce44349b3" providerId="LiveId" clId="{8C97B853-E239-49C0-A36B-A3F2C855C3BA}" dt="2023-11-02T05:48:31.171" v="365"/>
          <ac:picMkLst>
            <pc:docMk/>
            <pc:sldMk cId="551571960" sldId="2565"/>
            <ac:picMk id="15" creationId="{04C7F503-592F-085A-3323-2594C5F0627B}"/>
          </ac:picMkLst>
        </pc:picChg>
        <pc:picChg chg="add mod">
          <ac:chgData name="Aurelien Domont" userId="6da7715ce44349b3" providerId="LiveId" clId="{8C97B853-E239-49C0-A36B-A3F2C855C3BA}" dt="2023-11-02T05:48:31.171" v="365"/>
          <ac:picMkLst>
            <pc:docMk/>
            <pc:sldMk cId="551571960" sldId="2565"/>
            <ac:picMk id="17" creationId="{7EA42C80-DE55-F69B-D0CB-9F86DB994BEE}"/>
          </ac:picMkLst>
        </pc:picChg>
        <pc:picChg chg="add mod">
          <ac:chgData name="Aurelien Domont" userId="6da7715ce44349b3" providerId="LiveId" clId="{8C97B853-E239-49C0-A36B-A3F2C855C3BA}" dt="2023-11-02T05:48:31.171" v="365"/>
          <ac:picMkLst>
            <pc:docMk/>
            <pc:sldMk cId="551571960" sldId="2565"/>
            <ac:picMk id="20" creationId="{44DC8EEB-C959-F968-CDF6-70E3564FAB7C}"/>
          </ac:picMkLst>
        </pc:pic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9" creationId="{D9B39076-210E-1935-E54A-7A5E7F704535}"/>
          </ac:cxnSpMkLst>
        </pc:cxn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10" creationId="{1D9E1072-C484-EDC1-F259-CD47E46B2457}"/>
          </ac:cxnSpMkLst>
        </pc:cxnChg>
        <pc:cxnChg chg="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12" creationId="{401B26E2-2D00-7A20-5F1C-DD5DCD24E189}"/>
          </ac:cxnSpMkLst>
        </pc:cxnChg>
        <pc:cxnChg chg="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14" creationId="{743D26C1-134D-BC7F-C5DE-6D0D1059A5AF}"/>
          </ac:cxnSpMkLst>
        </pc:cxn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18" creationId="{64F5430F-D013-D0F5-A9D1-2A73DEC5C0AE}"/>
          </ac:cxnSpMkLst>
        </pc:cxn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19" creationId="{DAFEED3B-4CF0-8608-0671-914946235E98}"/>
          </ac:cxnSpMkLst>
        </pc:cxn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21" creationId="{A4333B7A-A1B9-015F-9E84-FB72F30E73C3}"/>
          </ac:cxnSpMkLst>
        </pc:cxn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22" creationId="{4C787D07-3C8F-C65A-F841-3D27DAD9CBDE}"/>
          </ac:cxnSpMkLst>
        </pc:cxn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23" creationId="{20F79B88-6606-1CDA-9419-758892866920}"/>
          </ac:cxnSpMkLst>
        </pc:cxn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25" creationId="{84E85F17-D691-B3DE-93DA-55AB3A1BC7F0}"/>
          </ac:cxnSpMkLst>
        </pc:cxn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26" creationId="{C7DB87B8-322A-67E9-44FA-3B7E852CDCFC}"/>
          </ac:cxnSpMkLst>
        </pc:cxn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27" creationId="{B2FF6DB6-F4E3-540B-CCA7-5AD098FC7A72}"/>
          </ac:cxnSpMkLst>
        </pc:cxn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28" creationId="{4A130D1F-08E2-3FEC-697C-F6DDEE1294EC}"/>
          </ac:cxnSpMkLst>
        </pc:cxn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29" creationId="{71EFB3C5-49C8-20BE-3771-56DBA7A2BFC7}"/>
          </ac:cxnSpMkLst>
        </pc:cxnChg>
        <pc:cxnChg chg="add mod">
          <ac:chgData name="Aurelien Domont" userId="6da7715ce44349b3" providerId="LiveId" clId="{8C97B853-E239-49C0-A36B-A3F2C855C3BA}" dt="2023-11-02T05:48:31.171" v="365"/>
          <ac:cxnSpMkLst>
            <pc:docMk/>
            <pc:sldMk cId="551571960" sldId="2565"/>
            <ac:cxnSpMk id="30" creationId="{9B47692C-1747-D9B0-31C8-FCAE91818F26}"/>
          </ac:cxnSpMkLst>
        </pc:cxn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709896700" sldId="2565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827524245" sldId="2566"/>
        </pc:sldMkLst>
      </pc:sldChg>
      <pc:sldChg chg="addSp delSp modSp add mod">
        <pc:chgData name="Aurelien Domont" userId="6da7715ce44349b3" providerId="LiveId" clId="{8C97B853-E239-49C0-A36B-A3F2C855C3BA}" dt="2023-11-02T05:52:19.263" v="471" actId="313"/>
        <pc:sldMkLst>
          <pc:docMk/>
          <pc:sldMk cId="3582809319" sldId="2566"/>
        </pc:sldMkLst>
        <pc:spChg chg="mod ord">
          <ac:chgData name="Aurelien Domont" userId="6da7715ce44349b3" providerId="LiveId" clId="{8C97B853-E239-49C0-A36B-A3F2C855C3BA}" dt="2023-11-02T05:49:00.431" v="373"/>
          <ac:spMkLst>
            <pc:docMk/>
            <pc:sldMk cId="3582809319" sldId="2566"/>
            <ac:spMk id="3" creationId="{CE2529A3-BA97-486F-9E02-8DFAAA7D8D38}"/>
          </ac:spMkLst>
        </pc:spChg>
        <pc:spChg chg="mod ord">
          <ac:chgData name="Aurelien Domont" userId="6da7715ce44349b3" providerId="LiveId" clId="{8C97B853-E239-49C0-A36B-A3F2C855C3BA}" dt="2023-11-02T05:49:00.431" v="375"/>
          <ac:spMkLst>
            <pc:docMk/>
            <pc:sldMk cId="3582809319" sldId="2566"/>
            <ac:spMk id="4" creationId="{19855105-A318-46D1-ACEA-7A7C44F66328}"/>
          </ac:spMkLst>
        </pc:spChg>
        <pc:spChg chg="mod ord">
          <ac:chgData name="Aurelien Domont" userId="6da7715ce44349b3" providerId="LiveId" clId="{8C97B853-E239-49C0-A36B-A3F2C855C3BA}" dt="2023-11-02T05:52:19.263" v="471" actId="313"/>
          <ac:spMkLst>
            <pc:docMk/>
            <pc:sldMk cId="3582809319" sldId="2566"/>
            <ac:spMk id="5" creationId="{B1B67B0A-C7E6-BEA3-23A1-1054E4E2C681}"/>
          </ac:spMkLst>
        </pc:spChg>
        <pc:spChg chg="mod">
          <ac:chgData name="Aurelien Domont" userId="6da7715ce44349b3" providerId="LiveId" clId="{8C97B853-E239-49C0-A36B-A3F2C855C3BA}" dt="2023-11-02T05:48:52.894" v="366"/>
          <ac:spMkLst>
            <pc:docMk/>
            <pc:sldMk cId="3582809319" sldId="2566"/>
            <ac:spMk id="7" creationId="{9E077E85-3EDF-2C6E-E9F8-490BE3C98823}"/>
          </ac:spMkLst>
        </pc:spChg>
        <pc:spChg chg="mod">
          <ac:chgData name="Aurelien Domont" userId="6da7715ce44349b3" providerId="LiveId" clId="{8C97B853-E239-49C0-A36B-A3F2C855C3BA}" dt="2023-11-02T05:48:52.894" v="366"/>
          <ac:spMkLst>
            <pc:docMk/>
            <pc:sldMk cId="3582809319" sldId="2566"/>
            <ac:spMk id="8" creationId="{66E32B04-7C35-721B-2C93-F92662AC4A03}"/>
          </ac:spMkLst>
        </pc:spChg>
        <pc:spChg chg="add mod ord">
          <ac:chgData name="Aurelien Domont" userId="6da7715ce44349b3" providerId="LiveId" clId="{8C97B853-E239-49C0-A36B-A3F2C855C3BA}" dt="2023-11-02T05:49:00.431" v="383"/>
          <ac:spMkLst>
            <pc:docMk/>
            <pc:sldMk cId="3582809319" sldId="2566"/>
            <ac:spMk id="9" creationId="{FB1B4834-C64F-03D4-216A-1FEA48821516}"/>
          </ac:spMkLst>
        </pc:spChg>
        <pc:spChg chg="add mod ord">
          <ac:chgData name="Aurelien Domont" userId="6da7715ce44349b3" providerId="LiveId" clId="{8C97B853-E239-49C0-A36B-A3F2C855C3BA}" dt="2023-11-02T05:49:00.431" v="385"/>
          <ac:spMkLst>
            <pc:docMk/>
            <pc:sldMk cId="3582809319" sldId="2566"/>
            <ac:spMk id="10" creationId="{EA4F8360-ECC8-E92F-3F97-5A605D5C7DFB}"/>
          </ac:spMkLst>
        </pc:spChg>
        <pc:spChg chg="mod">
          <ac:chgData name="Aurelien Domont" userId="6da7715ce44349b3" providerId="LiveId" clId="{8C97B853-E239-49C0-A36B-A3F2C855C3BA}" dt="2023-11-02T05:48:52.894" v="366"/>
          <ac:spMkLst>
            <pc:docMk/>
            <pc:sldMk cId="3582809319" sldId="2566"/>
            <ac:spMk id="12" creationId="{0DF3CB09-BCE7-C3FE-424A-826ABD392020}"/>
          </ac:spMkLst>
        </pc:spChg>
        <pc:spChg chg="mod">
          <ac:chgData name="Aurelien Domont" userId="6da7715ce44349b3" providerId="LiveId" clId="{8C97B853-E239-49C0-A36B-A3F2C855C3BA}" dt="2023-11-02T05:48:52.894" v="366"/>
          <ac:spMkLst>
            <pc:docMk/>
            <pc:sldMk cId="3582809319" sldId="2566"/>
            <ac:spMk id="14" creationId="{5050ACD1-B39B-30A2-855E-607DA1CF02D5}"/>
          </ac:spMkLst>
        </pc:spChg>
        <pc:spChg chg="add mod ord">
          <ac:chgData name="Aurelien Domont" userId="6da7715ce44349b3" providerId="LiveId" clId="{8C97B853-E239-49C0-A36B-A3F2C855C3BA}" dt="2023-11-02T05:49:00.431" v="389"/>
          <ac:spMkLst>
            <pc:docMk/>
            <pc:sldMk cId="3582809319" sldId="2566"/>
            <ac:spMk id="15" creationId="{1D3404B8-3893-4418-F542-2DC36C423FE8}"/>
          </ac:spMkLst>
        </pc:spChg>
        <pc:spChg chg="mod ord">
          <ac:chgData name="Aurelien Domont" userId="6da7715ce44349b3" providerId="LiveId" clId="{8C97B853-E239-49C0-A36B-A3F2C855C3BA}" dt="2023-11-02T05:49:00.431" v="371"/>
          <ac:spMkLst>
            <pc:docMk/>
            <pc:sldMk cId="3582809319" sldId="2566"/>
            <ac:spMk id="16" creationId="{6C2BB713-9637-4B9B-938F-E9768876782A}"/>
          </ac:spMkLst>
        </pc:spChg>
        <pc:spChg chg="add mod ord">
          <ac:chgData name="Aurelien Domont" userId="6da7715ce44349b3" providerId="LiveId" clId="{8C97B853-E239-49C0-A36B-A3F2C855C3BA}" dt="2023-11-02T05:49:00.431" v="391"/>
          <ac:spMkLst>
            <pc:docMk/>
            <pc:sldMk cId="3582809319" sldId="2566"/>
            <ac:spMk id="17" creationId="{5389E784-75EE-9F42-DC44-B3966C42479B}"/>
          </ac:spMkLst>
        </pc:spChg>
        <pc:spChg chg="add mod ord">
          <ac:chgData name="Aurelien Domont" userId="6da7715ce44349b3" providerId="LiveId" clId="{8C97B853-E239-49C0-A36B-A3F2C855C3BA}" dt="2023-11-02T05:49:00.431" v="393"/>
          <ac:spMkLst>
            <pc:docMk/>
            <pc:sldMk cId="3582809319" sldId="2566"/>
            <ac:spMk id="18" creationId="{F03BC071-F0C7-99EE-8E20-3F8B084D8A94}"/>
          </ac:spMkLst>
        </pc:spChg>
        <pc:spChg chg="add mod ord">
          <ac:chgData name="Aurelien Domont" userId="6da7715ce44349b3" providerId="LiveId" clId="{8C97B853-E239-49C0-A36B-A3F2C855C3BA}" dt="2023-11-02T05:49:00.431" v="395"/>
          <ac:spMkLst>
            <pc:docMk/>
            <pc:sldMk cId="3582809319" sldId="2566"/>
            <ac:spMk id="19" creationId="{56CA71A8-3842-31C9-40CE-580926792E97}"/>
          </ac:spMkLst>
        </pc:spChg>
        <pc:spChg chg="add mod">
          <ac:chgData name="Aurelien Domont" userId="6da7715ce44349b3" providerId="LiveId" clId="{8C97B853-E239-49C0-A36B-A3F2C855C3BA}" dt="2023-11-02T05:49:00.446" v="396"/>
          <ac:spMkLst>
            <pc:docMk/>
            <pc:sldMk cId="3582809319" sldId="2566"/>
            <ac:spMk id="20" creationId="{8B08D1A3-33F7-B4F9-F386-483BE55809BC}"/>
          </ac:spMkLst>
        </pc:spChg>
        <pc:spChg chg="add mod">
          <ac:chgData name="Aurelien Domont" userId="6da7715ce44349b3" providerId="LiveId" clId="{8C97B853-E239-49C0-A36B-A3F2C855C3BA}" dt="2023-11-02T05:49:00.446" v="397"/>
          <ac:spMkLst>
            <pc:docMk/>
            <pc:sldMk cId="3582809319" sldId="2566"/>
            <ac:spMk id="21" creationId="{63C4684E-FA73-5C68-4CFB-5F96F28165C4}"/>
          </ac:spMkLst>
        </pc:spChg>
        <pc:spChg chg="add mod">
          <ac:chgData name="Aurelien Domont" userId="6da7715ce44349b3" providerId="LiveId" clId="{8C97B853-E239-49C0-A36B-A3F2C855C3BA}" dt="2023-11-02T05:49:00.446" v="398"/>
          <ac:spMkLst>
            <pc:docMk/>
            <pc:sldMk cId="3582809319" sldId="2566"/>
            <ac:spMk id="22" creationId="{1F7024BC-4D4C-B1D6-7143-D302FD149826}"/>
          </ac:spMkLst>
        </pc:spChg>
        <pc:spChg chg="add mod">
          <ac:chgData name="Aurelien Domont" userId="6da7715ce44349b3" providerId="LiveId" clId="{8C97B853-E239-49C0-A36B-A3F2C855C3BA}" dt="2023-11-02T05:49:00.446" v="399"/>
          <ac:spMkLst>
            <pc:docMk/>
            <pc:sldMk cId="3582809319" sldId="2566"/>
            <ac:spMk id="23" creationId="{F2F74DCD-D955-0532-48FC-266673A0134C}"/>
          </ac:spMkLst>
        </pc:spChg>
        <pc:spChg chg="add mod">
          <ac:chgData name="Aurelien Domont" userId="6da7715ce44349b3" providerId="LiveId" clId="{8C97B853-E239-49C0-A36B-A3F2C855C3BA}" dt="2023-11-02T05:49:00.446" v="400"/>
          <ac:spMkLst>
            <pc:docMk/>
            <pc:sldMk cId="3582809319" sldId="2566"/>
            <ac:spMk id="24" creationId="{0587A022-572A-EEC0-2CC0-9C2D12C5C623}"/>
          </ac:spMkLst>
        </pc:spChg>
        <pc:spChg chg="add mod">
          <ac:chgData name="Aurelien Domont" userId="6da7715ce44349b3" providerId="LiveId" clId="{8C97B853-E239-49C0-A36B-A3F2C855C3BA}" dt="2023-11-02T05:49:00.446" v="401"/>
          <ac:spMkLst>
            <pc:docMk/>
            <pc:sldMk cId="3582809319" sldId="2566"/>
            <ac:spMk id="25" creationId="{14A53E52-3C0A-9BDE-67DF-E00774E29C62}"/>
          </ac:spMkLst>
        </pc:spChg>
        <pc:spChg chg="add mod ord">
          <ac:chgData name="Aurelien Domont" userId="6da7715ce44349b3" providerId="LiveId" clId="{8C97B853-E239-49C0-A36B-A3F2C855C3BA}" dt="2023-11-02T05:49:07.509" v="406" actId="207"/>
          <ac:spMkLst>
            <pc:docMk/>
            <pc:sldMk cId="3582809319" sldId="2566"/>
            <ac:spMk id="26" creationId="{ED8FAF15-E3E2-D8B9-11E4-E68654BF54E9}"/>
          </ac:spMkLst>
        </pc:spChg>
        <pc:grpChg chg="add mod ord">
          <ac:chgData name="Aurelien Domont" userId="6da7715ce44349b3" providerId="LiveId" clId="{8C97B853-E239-49C0-A36B-A3F2C855C3BA}" dt="2023-11-02T05:49:00.431" v="381"/>
          <ac:grpSpMkLst>
            <pc:docMk/>
            <pc:sldMk cId="3582809319" sldId="2566"/>
            <ac:grpSpMk id="6" creationId="{75EE4BDC-C41F-D0BB-9669-C8D7E37A9753}"/>
          </ac:grpSpMkLst>
        </pc:grpChg>
        <pc:grpChg chg="add mod ord">
          <ac:chgData name="Aurelien Domont" userId="6da7715ce44349b3" providerId="LiveId" clId="{8C97B853-E239-49C0-A36B-A3F2C855C3BA}" dt="2023-11-02T05:49:00.431" v="387"/>
          <ac:grpSpMkLst>
            <pc:docMk/>
            <pc:sldMk cId="3582809319" sldId="2566"/>
            <ac:grpSpMk id="11" creationId="{5103DC4F-E53A-6B70-C249-34B29A319898}"/>
          </ac:grpSpMkLst>
        </pc:grpChg>
        <pc:graphicFrameChg chg="mod">
          <ac:chgData name="Aurelien Domont" userId="6da7715ce44349b3" providerId="LiveId" clId="{8C97B853-E239-49C0-A36B-A3F2C855C3BA}" dt="2023-11-02T05:49:00.446" v="405"/>
          <ac:graphicFrameMkLst>
            <pc:docMk/>
            <pc:sldMk cId="3582809319" sldId="2566"/>
            <ac:graphicFrameMk id="13" creationId="{A073AF91-5325-42B9-A31A-3D179304022A}"/>
          </ac:graphicFrameMkLst>
        </pc:graphicFrameChg>
        <pc:cxnChg chg="add del mod ord">
          <ac:chgData name="Aurelien Domont" userId="6da7715ce44349b3" providerId="LiveId" clId="{8C97B853-E239-49C0-A36B-A3F2C855C3BA}" dt="2023-11-02T05:49:13.523" v="407" actId="478"/>
          <ac:cxnSpMkLst>
            <pc:docMk/>
            <pc:sldMk cId="3582809319" sldId="2566"/>
            <ac:cxnSpMk id="2" creationId="{952F6FD1-F314-DBEE-6400-BC06856DA3FF}"/>
          </ac:cxnSpMkLst>
        </pc:cxnChg>
      </pc:sldChg>
      <pc:sldChg chg="addSp delSp modSp add mod">
        <pc:chgData name="Aurelien Domont" userId="6da7715ce44349b3" providerId="LiveId" clId="{8C97B853-E239-49C0-A36B-A3F2C855C3BA}" dt="2023-11-02T23:44:20.223" v="24585" actId="20577"/>
        <pc:sldMkLst>
          <pc:docMk/>
          <pc:sldMk cId="2891423568" sldId="2567"/>
        </pc:sldMkLst>
        <pc:spChg chg="mod ord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" creationId="{B0C20905-DC0A-E2EE-6C0B-22F94C53A645}"/>
          </ac:spMkLst>
        </pc:spChg>
        <pc:spChg chg="mod ord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3" creationId="{D67192FA-34C1-9161-05BF-69F825CB57D6}"/>
          </ac:spMkLst>
        </pc:spChg>
        <pc:spChg chg="mod ord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4" creationId="{4357025A-9893-4516-2DE4-9C7FF359389F}"/>
          </ac:spMkLst>
        </pc:spChg>
        <pc:spChg chg="add mod ord">
          <ac:chgData name="Aurelien Domont" userId="6da7715ce44349b3" providerId="LiveId" clId="{8C97B853-E239-49C0-A36B-A3F2C855C3BA}" dt="2023-11-02T23:44:20.223" v="24585" actId="20577"/>
          <ac:spMkLst>
            <pc:docMk/>
            <pc:sldMk cId="2891423568" sldId="2567"/>
            <ac:spMk id="5" creationId="{11E61B3A-2BCA-BA0E-285D-68F67CC3B660}"/>
          </ac:spMkLst>
        </pc:spChg>
        <pc:spChg chg="add del mod modVis">
          <ac:chgData name="Aurelien Domont" userId="6da7715ce44349b3" providerId="LiveId" clId="{8C97B853-E239-49C0-A36B-A3F2C855C3BA}" dt="2023-11-02T05:55:05.607" v="2117"/>
          <ac:spMkLst>
            <pc:docMk/>
            <pc:sldMk cId="2891423568" sldId="2567"/>
            <ac:spMk id="7" creationId="{A028E490-C33D-E141-C99A-3A1BCC32582D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8" creationId="{D0B858BE-8DDB-789C-9C45-123DEBA7261A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9" creationId="{8905965C-E02C-F1A8-3497-FDDF582DEE5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0" creationId="{DA07B62E-54BE-8E03-5D44-7B363CB1C425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1" creationId="{A34CCD9E-B440-6BE5-941E-2F6A76F861AE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2" creationId="{75AF7BC0-25EE-A46F-A3C6-4927E970DEE9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3" creationId="{FE806F63-5CED-06C3-6BD5-E5D1655DAA5E}"/>
          </ac:spMkLst>
        </pc:spChg>
        <pc:spChg chg="add mod replST">
          <ac:chgData name="Aurelien Domont" userId="6da7715ce44349b3" providerId="LiveId" clId="{8C97B853-E239-49C0-A36B-A3F2C855C3BA}" dt="2023-11-02T06:18:45.255" v="15107"/>
          <ac:spMkLst>
            <pc:docMk/>
            <pc:sldMk cId="2891423568" sldId="2567"/>
            <ac:spMk id="14" creationId="{18C0B89C-A304-AEF3-67A2-5CF0E4DE3002}"/>
          </ac:spMkLst>
        </pc:spChg>
        <pc:spChg chg="add del mod replST">
          <ac:chgData name="Aurelien Domont" userId="6da7715ce44349b3" providerId="LiveId" clId="{8C97B853-E239-49C0-A36B-A3F2C855C3BA}" dt="2023-11-02T05:55:05.371" v="1723"/>
          <ac:spMkLst>
            <pc:docMk/>
            <pc:sldMk cId="2891423568" sldId="2567"/>
            <ac:spMk id="15" creationId="{B7D76E43-44E0-2A82-7BCE-07CC17F2A9EA}"/>
          </ac:spMkLst>
        </pc:spChg>
        <pc:spChg chg="add del mod replST">
          <ac:chgData name="Aurelien Domont" userId="6da7715ce44349b3" providerId="LiveId" clId="{8C97B853-E239-49C0-A36B-A3F2C855C3BA}" dt="2023-11-02T05:55:05.382" v="1724"/>
          <ac:spMkLst>
            <pc:docMk/>
            <pc:sldMk cId="2891423568" sldId="2567"/>
            <ac:spMk id="16" creationId="{E166796F-A13E-B963-C5F7-96343BD39AAE}"/>
          </ac:spMkLst>
        </pc:spChg>
        <pc:spChg chg="add del mod replST">
          <ac:chgData name="Aurelien Domont" userId="6da7715ce44349b3" providerId="LiveId" clId="{8C97B853-E239-49C0-A36B-A3F2C855C3BA}" dt="2023-11-02T05:55:05.382" v="1725"/>
          <ac:spMkLst>
            <pc:docMk/>
            <pc:sldMk cId="2891423568" sldId="2567"/>
            <ac:spMk id="17" creationId="{9536B545-80F0-0CBB-2471-265D173E815C}"/>
          </ac:spMkLst>
        </pc:spChg>
        <pc:spChg chg="add del mod replST">
          <ac:chgData name="Aurelien Domont" userId="6da7715ce44349b3" providerId="LiveId" clId="{8C97B853-E239-49C0-A36B-A3F2C855C3BA}" dt="2023-11-02T05:55:05.382" v="1726"/>
          <ac:spMkLst>
            <pc:docMk/>
            <pc:sldMk cId="2891423568" sldId="2567"/>
            <ac:spMk id="18" creationId="{EFE3E4F3-46B3-832A-C735-881DA8D26287}"/>
          </ac:spMkLst>
        </pc:spChg>
        <pc:spChg chg="add del mod replST">
          <ac:chgData name="Aurelien Domont" userId="6da7715ce44349b3" providerId="LiveId" clId="{8C97B853-E239-49C0-A36B-A3F2C855C3BA}" dt="2023-11-02T05:55:05.382" v="1727"/>
          <ac:spMkLst>
            <pc:docMk/>
            <pc:sldMk cId="2891423568" sldId="2567"/>
            <ac:spMk id="19" creationId="{68435CE1-7401-A22C-CB01-FADAEF55B9CF}"/>
          </ac:spMkLst>
        </pc:spChg>
        <pc:spChg chg="add del mod replST">
          <ac:chgData name="Aurelien Domont" userId="6da7715ce44349b3" providerId="LiveId" clId="{8C97B853-E239-49C0-A36B-A3F2C855C3BA}" dt="2023-11-02T05:55:05.382" v="1728"/>
          <ac:spMkLst>
            <pc:docMk/>
            <pc:sldMk cId="2891423568" sldId="2567"/>
            <ac:spMk id="20" creationId="{02460AB5-A90F-ECE1-8B4E-DB840F1EC26B}"/>
          </ac:spMkLst>
        </pc:spChg>
        <pc:spChg chg="add del mod replST">
          <ac:chgData name="Aurelien Domont" userId="6da7715ce44349b3" providerId="LiveId" clId="{8C97B853-E239-49C0-A36B-A3F2C855C3BA}" dt="2023-11-02T05:55:05.382" v="1729"/>
          <ac:spMkLst>
            <pc:docMk/>
            <pc:sldMk cId="2891423568" sldId="2567"/>
            <ac:spMk id="21" creationId="{B49E9BFF-7388-F800-AD0A-0AB5F4528563}"/>
          </ac:spMkLst>
        </pc:spChg>
        <pc:spChg chg="add del mod replST">
          <ac:chgData name="Aurelien Domont" userId="6da7715ce44349b3" providerId="LiveId" clId="{8C97B853-E239-49C0-A36B-A3F2C855C3BA}" dt="2023-11-02T05:55:05.382" v="1730"/>
          <ac:spMkLst>
            <pc:docMk/>
            <pc:sldMk cId="2891423568" sldId="2567"/>
            <ac:spMk id="22" creationId="{DF1C89D2-C0D2-70B1-E39C-404645D186DF}"/>
          </ac:spMkLst>
        </pc:spChg>
        <pc:spChg chg="add del mod replST">
          <ac:chgData name="Aurelien Domont" userId="6da7715ce44349b3" providerId="LiveId" clId="{8C97B853-E239-49C0-A36B-A3F2C855C3BA}" dt="2023-11-02T05:55:05.382" v="1731"/>
          <ac:spMkLst>
            <pc:docMk/>
            <pc:sldMk cId="2891423568" sldId="2567"/>
            <ac:spMk id="23" creationId="{7D95B391-45ED-0117-6B88-454E0F901D97}"/>
          </ac:spMkLst>
        </pc:spChg>
        <pc:spChg chg="add del mod replST">
          <ac:chgData name="Aurelien Domont" userId="6da7715ce44349b3" providerId="LiveId" clId="{8C97B853-E239-49C0-A36B-A3F2C855C3BA}" dt="2023-11-02T05:55:05.382" v="1732"/>
          <ac:spMkLst>
            <pc:docMk/>
            <pc:sldMk cId="2891423568" sldId="2567"/>
            <ac:spMk id="24" creationId="{2E7E6154-B173-4FA4-7317-32D4F778CAEA}"/>
          </ac:spMkLst>
        </pc:spChg>
        <pc:spChg chg="add del mod replST">
          <ac:chgData name="Aurelien Domont" userId="6da7715ce44349b3" providerId="LiveId" clId="{8C97B853-E239-49C0-A36B-A3F2C855C3BA}" dt="2023-11-02T06:02:49.236" v="4302"/>
          <ac:spMkLst>
            <pc:docMk/>
            <pc:sldMk cId="2891423568" sldId="2567"/>
            <ac:spMk id="25" creationId="{9FEBB1C5-58FD-A807-2033-12DA8B28C884}"/>
          </ac:spMkLst>
        </pc:spChg>
        <pc:spChg chg="add del mod replST">
          <ac:chgData name="Aurelien Domont" userId="6da7715ce44349b3" providerId="LiveId" clId="{8C97B853-E239-49C0-A36B-A3F2C855C3BA}" dt="2023-11-02T06:02:49.236" v="4303"/>
          <ac:spMkLst>
            <pc:docMk/>
            <pc:sldMk cId="2891423568" sldId="2567"/>
            <ac:spMk id="26" creationId="{448BC959-EFCF-FA75-50F9-C2C1F8139E67}"/>
          </ac:spMkLst>
        </pc:spChg>
        <pc:spChg chg="add del mod replST">
          <ac:chgData name="Aurelien Domont" userId="6da7715ce44349b3" providerId="LiveId" clId="{8C97B853-E239-49C0-A36B-A3F2C855C3BA}" dt="2023-11-02T06:02:49.236" v="4304"/>
          <ac:spMkLst>
            <pc:docMk/>
            <pc:sldMk cId="2891423568" sldId="2567"/>
            <ac:spMk id="27" creationId="{6B60E66C-805E-196D-FF13-901D9E693D71}"/>
          </ac:spMkLst>
        </pc:spChg>
        <pc:spChg chg="add del mod replST">
          <ac:chgData name="Aurelien Domont" userId="6da7715ce44349b3" providerId="LiveId" clId="{8C97B853-E239-49C0-A36B-A3F2C855C3BA}" dt="2023-11-02T06:02:49.236" v="4305"/>
          <ac:spMkLst>
            <pc:docMk/>
            <pc:sldMk cId="2891423568" sldId="2567"/>
            <ac:spMk id="28" creationId="{2C40C383-D8E4-B46A-5347-478B7A67372C}"/>
          </ac:spMkLst>
        </pc:spChg>
        <pc:spChg chg="add del mod replST">
          <ac:chgData name="Aurelien Domont" userId="6da7715ce44349b3" providerId="LiveId" clId="{8C97B853-E239-49C0-A36B-A3F2C855C3BA}" dt="2023-11-02T06:02:49.236" v="4306"/>
          <ac:spMkLst>
            <pc:docMk/>
            <pc:sldMk cId="2891423568" sldId="2567"/>
            <ac:spMk id="29" creationId="{FB3AA337-415F-E925-8128-751AF5743E1A}"/>
          </ac:spMkLst>
        </pc:spChg>
        <pc:spChg chg="add del mod replST">
          <ac:chgData name="Aurelien Domont" userId="6da7715ce44349b3" providerId="LiveId" clId="{8C97B853-E239-49C0-A36B-A3F2C855C3BA}" dt="2023-11-02T06:02:49.236" v="4307"/>
          <ac:spMkLst>
            <pc:docMk/>
            <pc:sldMk cId="2891423568" sldId="2567"/>
            <ac:spMk id="30" creationId="{A7D51664-71B1-1695-7F1F-7C3CA8DFAAFD}"/>
          </ac:spMkLst>
        </pc:spChg>
        <pc:spChg chg="add del mod replST">
          <ac:chgData name="Aurelien Domont" userId="6da7715ce44349b3" providerId="LiveId" clId="{8C97B853-E239-49C0-A36B-A3F2C855C3BA}" dt="2023-11-02T06:02:49.236" v="4308"/>
          <ac:spMkLst>
            <pc:docMk/>
            <pc:sldMk cId="2891423568" sldId="2567"/>
            <ac:spMk id="31" creationId="{5CDD4605-3DCD-3964-E89E-7A3D5A703350}"/>
          </ac:spMkLst>
        </pc:spChg>
        <pc:spChg chg="add del mod replST">
          <ac:chgData name="Aurelien Domont" userId="6da7715ce44349b3" providerId="LiveId" clId="{8C97B853-E239-49C0-A36B-A3F2C855C3BA}" dt="2023-11-02T06:02:49.236" v="4309"/>
          <ac:spMkLst>
            <pc:docMk/>
            <pc:sldMk cId="2891423568" sldId="2567"/>
            <ac:spMk id="32" creationId="{D3FAC610-1465-F33B-50A2-5F501F721795}"/>
          </ac:spMkLst>
        </pc:spChg>
        <pc:spChg chg="add del mod replST">
          <ac:chgData name="Aurelien Domont" userId="6da7715ce44349b3" providerId="LiveId" clId="{8C97B853-E239-49C0-A36B-A3F2C855C3BA}" dt="2023-11-02T06:02:49.236" v="4310"/>
          <ac:spMkLst>
            <pc:docMk/>
            <pc:sldMk cId="2891423568" sldId="2567"/>
            <ac:spMk id="33" creationId="{E19A7756-DC81-C91E-DFCE-18771FAA0C21}"/>
          </ac:spMkLst>
        </pc:spChg>
        <pc:spChg chg="add del mod replST">
          <ac:chgData name="Aurelien Domont" userId="6da7715ce44349b3" providerId="LiveId" clId="{8C97B853-E239-49C0-A36B-A3F2C855C3BA}" dt="2023-11-02T06:02:49.236" v="4311"/>
          <ac:spMkLst>
            <pc:docMk/>
            <pc:sldMk cId="2891423568" sldId="2567"/>
            <ac:spMk id="34" creationId="{D98E5877-6D89-07C9-712A-154E1A1671AF}"/>
          </ac:spMkLst>
        </pc:spChg>
        <pc:spChg chg="add del mod replST">
          <ac:chgData name="Aurelien Domont" userId="6da7715ce44349b3" providerId="LiveId" clId="{8C97B853-E239-49C0-A36B-A3F2C855C3BA}" dt="2023-11-02T06:02:49.236" v="4312"/>
          <ac:spMkLst>
            <pc:docMk/>
            <pc:sldMk cId="2891423568" sldId="2567"/>
            <ac:spMk id="35" creationId="{672CA5A6-0404-5B98-C18E-AFA9515B38D5}"/>
          </ac:spMkLst>
        </pc:spChg>
        <pc:spChg chg="add del mod replST">
          <ac:chgData name="Aurelien Domont" userId="6da7715ce44349b3" providerId="LiveId" clId="{8C97B853-E239-49C0-A36B-A3F2C855C3BA}" dt="2023-11-02T06:02:49.236" v="4313"/>
          <ac:spMkLst>
            <pc:docMk/>
            <pc:sldMk cId="2891423568" sldId="2567"/>
            <ac:spMk id="36" creationId="{75C70351-24EF-3FC2-39CD-4EB21D246AFE}"/>
          </ac:spMkLst>
        </pc:spChg>
        <pc:spChg chg="add del mod replST">
          <ac:chgData name="Aurelien Domont" userId="6da7715ce44349b3" providerId="LiveId" clId="{8C97B853-E239-49C0-A36B-A3F2C855C3BA}" dt="2023-11-02T06:02:49.236" v="4314"/>
          <ac:spMkLst>
            <pc:docMk/>
            <pc:sldMk cId="2891423568" sldId="2567"/>
            <ac:spMk id="37" creationId="{BAF3DD13-A942-2AA8-4C9E-799CB6C765C2}"/>
          </ac:spMkLst>
        </pc:spChg>
        <pc:spChg chg="add del mod replST">
          <ac:chgData name="Aurelien Domont" userId="6da7715ce44349b3" providerId="LiveId" clId="{8C97B853-E239-49C0-A36B-A3F2C855C3BA}" dt="2023-11-02T06:02:49.236" v="4315"/>
          <ac:spMkLst>
            <pc:docMk/>
            <pc:sldMk cId="2891423568" sldId="2567"/>
            <ac:spMk id="38" creationId="{EBEC5DD7-0702-B557-89BF-9C7EB8AC516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39" creationId="{8CAC5C8C-646E-272D-6C4D-0A3EEF077F9D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40" creationId="{F396E260-D2EC-6B0E-26CE-21DBE900A11F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41" creationId="{4781117E-646E-CD07-CBE8-A2D0C921995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42" creationId="{936652A2-C39C-E9DD-9D6C-681C94398184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43" creationId="{7DF70DA2-A44D-D7C3-9F58-17F58260DD1C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44" creationId="{1E91A6EB-434E-6097-46AB-55A5DA6F64CC}"/>
          </ac:spMkLst>
        </pc:spChg>
        <pc:spChg chg="add mod or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45" creationId="{ADCFD823-F722-84F2-9311-F678EC6F67D9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47" creationId="{E375BC8E-10BA-4927-E48A-94B8A5006D12}"/>
          </ac:spMkLst>
        </pc:spChg>
        <pc:spChg chg="add del mod ord replST">
          <ac:chgData name="Aurelien Domont" userId="6da7715ce44349b3" providerId="LiveId" clId="{8C97B853-E239-49C0-A36B-A3F2C855C3BA}" dt="2023-11-02T06:07:31.755" v="6047"/>
          <ac:spMkLst>
            <pc:docMk/>
            <pc:sldMk cId="2891423568" sldId="2567"/>
            <ac:spMk id="48" creationId="{11C9FD29-5394-A51A-34E1-0B49D45BE051}"/>
          </ac:spMkLst>
        </pc:spChg>
        <pc:spChg chg="add del mod replST">
          <ac:chgData name="Aurelien Domont" userId="6da7715ce44349b3" providerId="LiveId" clId="{8C97B853-E239-49C0-A36B-A3F2C855C3BA}" dt="2023-11-02T06:02:49.236" v="4316"/>
          <ac:spMkLst>
            <pc:docMk/>
            <pc:sldMk cId="2891423568" sldId="2567"/>
            <ac:spMk id="70" creationId="{DD04E075-38DE-EFD8-6BBF-C5C9E672B0BD}"/>
          </ac:spMkLst>
        </pc:spChg>
        <pc:spChg chg="add del mod modVis">
          <ac:chgData name="Aurelien Domont" userId="6da7715ce44349b3" providerId="LiveId" clId="{8C97B853-E239-49C0-A36B-A3F2C855C3BA}" dt="2023-11-02T06:00:42.145" v="4246"/>
          <ac:spMkLst>
            <pc:docMk/>
            <pc:sldMk cId="2891423568" sldId="2567"/>
            <ac:spMk id="71" creationId="{9B77F036-C989-52A3-14BC-9A6BC5D17B57}"/>
          </ac:spMkLst>
        </pc:spChg>
        <pc:spChg chg="add del mod replST">
          <ac:chgData name="Aurelien Domont" userId="6da7715ce44349b3" providerId="LiveId" clId="{8C97B853-E239-49C0-A36B-A3F2C855C3BA}" dt="2023-11-02T06:02:49.236" v="4317"/>
          <ac:spMkLst>
            <pc:docMk/>
            <pc:sldMk cId="2891423568" sldId="2567"/>
            <ac:spMk id="72" creationId="{6F39E9A0-C9F9-3332-120E-30A70EB70F8F}"/>
          </ac:spMkLst>
        </pc:spChg>
        <pc:spChg chg="add del mod replST">
          <ac:chgData name="Aurelien Domont" userId="6da7715ce44349b3" providerId="LiveId" clId="{8C97B853-E239-49C0-A36B-A3F2C855C3BA}" dt="2023-11-02T06:02:49.236" v="4318"/>
          <ac:spMkLst>
            <pc:docMk/>
            <pc:sldMk cId="2891423568" sldId="2567"/>
            <ac:spMk id="73" creationId="{2FF6AAB2-0563-E3B2-9775-F3DE35B65163}"/>
          </ac:spMkLst>
        </pc:spChg>
        <pc:spChg chg="add del mod replST">
          <ac:chgData name="Aurelien Domont" userId="6da7715ce44349b3" providerId="LiveId" clId="{8C97B853-E239-49C0-A36B-A3F2C855C3BA}" dt="2023-11-02T06:02:49.236" v="4319"/>
          <ac:spMkLst>
            <pc:docMk/>
            <pc:sldMk cId="2891423568" sldId="2567"/>
            <ac:spMk id="74" creationId="{BEC629ED-FDCE-85D0-FC5F-758C95ECA611}"/>
          </ac:spMkLst>
        </pc:spChg>
        <pc:spChg chg="add del mod replST">
          <ac:chgData name="Aurelien Domont" userId="6da7715ce44349b3" providerId="LiveId" clId="{8C97B853-E239-49C0-A36B-A3F2C855C3BA}" dt="2023-11-02T06:02:49.236" v="4320"/>
          <ac:spMkLst>
            <pc:docMk/>
            <pc:sldMk cId="2891423568" sldId="2567"/>
            <ac:spMk id="75" creationId="{9E999646-3AD0-23FC-F66B-B6BBC5316E26}"/>
          </ac:spMkLst>
        </pc:spChg>
        <pc:spChg chg="add del mod replST">
          <ac:chgData name="Aurelien Domont" userId="6da7715ce44349b3" providerId="LiveId" clId="{8C97B853-E239-49C0-A36B-A3F2C855C3BA}" dt="2023-11-02T06:02:49.236" v="4321"/>
          <ac:spMkLst>
            <pc:docMk/>
            <pc:sldMk cId="2891423568" sldId="2567"/>
            <ac:spMk id="76" creationId="{E87A0284-17E2-F570-10FA-4CF137D43119}"/>
          </ac:spMkLst>
        </pc:spChg>
        <pc:spChg chg="add del mod replST">
          <ac:chgData name="Aurelien Domont" userId="6da7715ce44349b3" providerId="LiveId" clId="{8C97B853-E239-49C0-A36B-A3F2C855C3BA}" dt="2023-11-02T06:02:49.236" v="4322"/>
          <ac:spMkLst>
            <pc:docMk/>
            <pc:sldMk cId="2891423568" sldId="2567"/>
            <ac:spMk id="77" creationId="{E235E474-1FD1-3670-900A-B541220F1B3B}"/>
          </ac:spMkLst>
        </pc:spChg>
        <pc:spChg chg="add del mod replST">
          <ac:chgData name="Aurelien Domont" userId="6da7715ce44349b3" providerId="LiveId" clId="{8C97B853-E239-49C0-A36B-A3F2C855C3BA}" dt="2023-11-02T06:02:49.236" v="4323"/>
          <ac:spMkLst>
            <pc:docMk/>
            <pc:sldMk cId="2891423568" sldId="2567"/>
            <ac:spMk id="78" creationId="{CA62E8C5-9CC6-66EF-D416-9E3230C4D6A7}"/>
          </ac:spMkLst>
        </pc:spChg>
        <pc:spChg chg="add del mod replST">
          <ac:chgData name="Aurelien Domont" userId="6da7715ce44349b3" providerId="LiveId" clId="{8C97B853-E239-49C0-A36B-A3F2C855C3BA}" dt="2023-11-02T06:02:49.236" v="4324"/>
          <ac:spMkLst>
            <pc:docMk/>
            <pc:sldMk cId="2891423568" sldId="2567"/>
            <ac:spMk id="79" creationId="{A0421E3A-1437-8306-95A6-A3A6129540BC}"/>
          </ac:spMkLst>
        </pc:spChg>
        <pc:spChg chg="add del mod replST">
          <ac:chgData name="Aurelien Domont" userId="6da7715ce44349b3" providerId="LiveId" clId="{8C97B853-E239-49C0-A36B-A3F2C855C3BA}" dt="2023-11-02T06:02:49.236" v="4325"/>
          <ac:spMkLst>
            <pc:docMk/>
            <pc:sldMk cId="2891423568" sldId="2567"/>
            <ac:spMk id="80" creationId="{AE2B79C9-F8A1-788C-C014-4DFD99587CD9}"/>
          </ac:spMkLst>
        </pc:spChg>
        <pc:spChg chg="add del mod replST">
          <ac:chgData name="Aurelien Domont" userId="6da7715ce44349b3" providerId="LiveId" clId="{8C97B853-E239-49C0-A36B-A3F2C855C3BA}" dt="2023-11-02T06:02:49.236" v="4326"/>
          <ac:spMkLst>
            <pc:docMk/>
            <pc:sldMk cId="2891423568" sldId="2567"/>
            <ac:spMk id="81" creationId="{7C990819-F978-4A8C-D702-756D8A76D244}"/>
          </ac:spMkLst>
        </pc:spChg>
        <pc:spChg chg="add del mod replST">
          <ac:chgData name="Aurelien Domont" userId="6da7715ce44349b3" providerId="LiveId" clId="{8C97B853-E239-49C0-A36B-A3F2C855C3BA}" dt="2023-11-02T06:02:49.236" v="4327"/>
          <ac:spMkLst>
            <pc:docMk/>
            <pc:sldMk cId="2891423568" sldId="2567"/>
            <ac:spMk id="82" creationId="{A1B70EEF-303E-15DD-8756-74406D7CF429}"/>
          </ac:spMkLst>
        </pc:spChg>
        <pc:spChg chg="add del mod replST">
          <ac:chgData name="Aurelien Domont" userId="6da7715ce44349b3" providerId="LiveId" clId="{8C97B853-E239-49C0-A36B-A3F2C855C3BA}" dt="2023-11-02T06:02:49.236" v="4328"/>
          <ac:spMkLst>
            <pc:docMk/>
            <pc:sldMk cId="2891423568" sldId="2567"/>
            <ac:spMk id="83" creationId="{ED8A1353-6CD7-9037-A4E3-621ECB6A359B}"/>
          </ac:spMkLst>
        </pc:spChg>
        <pc:spChg chg="add del mod replST">
          <ac:chgData name="Aurelien Domont" userId="6da7715ce44349b3" providerId="LiveId" clId="{8C97B853-E239-49C0-A36B-A3F2C855C3BA}" dt="2023-11-02T06:02:49.236" v="4329"/>
          <ac:spMkLst>
            <pc:docMk/>
            <pc:sldMk cId="2891423568" sldId="2567"/>
            <ac:spMk id="84" creationId="{18A5EF2F-8002-F44B-0E0E-82A71BC75FB0}"/>
          </ac:spMkLst>
        </pc:spChg>
        <pc:spChg chg="add del mod replST">
          <ac:chgData name="Aurelien Domont" userId="6da7715ce44349b3" providerId="LiveId" clId="{8C97B853-E239-49C0-A36B-A3F2C855C3BA}" dt="2023-11-02T06:02:49.236" v="4330"/>
          <ac:spMkLst>
            <pc:docMk/>
            <pc:sldMk cId="2891423568" sldId="2567"/>
            <ac:spMk id="85" creationId="{98E858FF-5171-4384-7E02-D4F613DDBA32}"/>
          </ac:spMkLst>
        </pc:spChg>
        <pc:spChg chg="add del mod replST">
          <ac:chgData name="Aurelien Domont" userId="6da7715ce44349b3" providerId="LiveId" clId="{8C97B853-E239-49C0-A36B-A3F2C855C3BA}" dt="2023-11-02T06:02:49.236" v="4331"/>
          <ac:spMkLst>
            <pc:docMk/>
            <pc:sldMk cId="2891423568" sldId="2567"/>
            <ac:spMk id="86" creationId="{B6E1CA96-5F3B-5A17-A17D-5E53AA161C4E}"/>
          </ac:spMkLst>
        </pc:spChg>
        <pc:spChg chg="add del mod replST">
          <ac:chgData name="Aurelien Domont" userId="6da7715ce44349b3" providerId="LiveId" clId="{8C97B853-E239-49C0-A36B-A3F2C855C3BA}" dt="2023-11-02T06:02:49.236" v="4332"/>
          <ac:spMkLst>
            <pc:docMk/>
            <pc:sldMk cId="2891423568" sldId="2567"/>
            <ac:spMk id="87" creationId="{3D60D1E9-7880-8C56-3E10-FB292431C908}"/>
          </ac:spMkLst>
        </pc:spChg>
        <pc:spChg chg="add del mod replST">
          <ac:chgData name="Aurelien Domont" userId="6da7715ce44349b3" providerId="LiveId" clId="{8C97B853-E239-49C0-A36B-A3F2C855C3BA}" dt="2023-11-02T06:02:49.236" v="4333"/>
          <ac:spMkLst>
            <pc:docMk/>
            <pc:sldMk cId="2891423568" sldId="2567"/>
            <ac:spMk id="88" creationId="{72863DDD-3EBE-BDD0-D40E-D98D2A640CEF}"/>
          </ac:spMkLst>
        </pc:spChg>
        <pc:spChg chg="add del mod replST">
          <ac:chgData name="Aurelien Domont" userId="6da7715ce44349b3" providerId="LiveId" clId="{8C97B853-E239-49C0-A36B-A3F2C855C3BA}" dt="2023-11-02T06:02:49.236" v="4334"/>
          <ac:spMkLst>
            <pc:docMk/>
            <pc:sldMk cId="2891423568" sldId="2567"/>
            <ac:spMk id="89" creationId="{162675C1-7F20-018F-DD87-57C9774750C9}"/>
          </ac:spMkLst>
        </pc:spChg>
        <pc:spChg chg="add del mod replST">
          <ac:chgData name="Aurelien Domont" userId="6da7715ce44349b3" providerId="LiveId" clId="{8C97B853-E239-49C0-A36B-A3F2C855C3BA}" dt="2023-11-02T06:02:49.236" v="4335"/>
          <ac:spMkLst>
            <pc:docMk/>
            <pc:sldMk cId="2891423568" sldId="2567"/>
            <ac:spMk id="90" creationId="{673817ED-438D-6327-544A-117035267767}"/>
          </ac:spMkLst>
        </pc:spChg>
        <pc:spChg chg="add del mod replST">
          <ac:chgData name="Aurelien Domont" userId="6da7715ce44349b3" providerId="LiveId" clId="{8C97B853-E239-49C0-A36B-A3F2C855C3BA}" dt="2023-11-02T06:02:49.236" v="4336"/>
          <ac:spMkLst>
            <pc:docMk/>
            <pc:sldMk cId="2891423568" sldId="2567"/>
            <ac:spMk id="91" creationId="{2BD1CFC9-7188-A4DF-85A9-4552149302A1}"/>
          </ac:spMkLst>
        </pc:spChg>
        <pc:spChg chg="add del mod replST">
          <ac:chgData name="Aurelien Domont" userId="6da7715ce44349b3" providerId="LiveId" clId="{8C97B853-E239-49C0-A36B-A3F2C855C3BA}" dt="2023-11-02T06:02:49.236" v="4337"/>
          <ac:spMkLst>
            <pc:docMk/>
            <pc:sldMk cId="2891423568" sldId="2567"/>
            <ac:spMk id="92" creationId="{FC48DED9-6230-553B-74D9-223343684EB5}"/>
          </ac:spMkLst>
        </pc:spChg>
        <pc:spChg chg="add del mod replST">
          <ac:chgData name="Aurelien Domont" userId="6da7715ce44349b3" providerId="LiveId" clId="{8C97B853-E239-49C0-A36B-A3F2C855C3BA}" dt="2023-11-02T06:02:49.252" v="4338"/>
          <ac:spMkLst>
            <pc:docMk/>
            <pc:sldMk cId="2891423568" sldId="2567"/>
            <ac:spMk id="93" creationId="{C9C1D583-154A-55E2-98AC-E03444233BAF}"/>
          </ac:spMkLst>
        </pc:spChg>
        <pc:spChg chg="add del mod replST">
          <ac:chgData name="Aurelien Domont" userId="6da7715ce44349b3" providerId="LiveId" clId="{8C97B853-E239-49C0-A36B-A3F2C855C3BA}" dt="2023-11-02T06:02:49.252" v="4339"/>
          <ac:spMkLst>
            <pc:docMk/>
            <pc:sldMk cId="2891423568" sldId="2567"/>
            <ac:spMk id="94" creationId="{25B1BC29-A776-7F0E-36F5-4E89B2B39463}"/>
          </ac:spMkLst>
        </pc:spChg>
        <pc:spChg chg="add del mod replST">
          <ac:chgData name="Aurelien Domont" userId="6da7715ce44349b3" providerId="LiveId" clId="{8C97B853-E239-49C0-A36B-A3F2C855C3BA}" dt="2023-11-02T06:02:49.252" v="4340"/>
          <ac:spMkLst>
            <pc:docMk/>
            <pc:sldMk cId="2891423568" sldId="2567"/>
            <ac:spMk id="95" creationId="{E67071B8-05C4-A60E-59B3-D827C043C4B4}"/>
          </ac:spMkLst>
        </pc:spChg>
        <pc:spChg chg="add del mod replST">
          <ac:chgData name="Aurelien Domont" userId="6da7715ce44349b3" providerId="LiveId" clId="{8C97B853-E239-49C0-A36B-A3F2C855C3BA}" dt="2023-11-02T06:02:49.252" v="4341"/>
          <ac:spMkLst>
            <pc:docMk/>
            <pc:sldMk cId="2891423568" sldId="2567"/>
            <ac:spMk id="96" creationId="{E863F2C2-0FAF-5519-48F1-1BFB39D172B7}"/>
          </ac:spMkLst>
        </pc:spChg>
        <pc:spChg chg="add del mod replST">
          <ac:chgData name="Aurelien Domont" userId="6da7715ce44349b3" providerId="LiveId" clId="{8C97B853-E239-49C0-A36B-A3F2C855C3BA}" dt="2023-11-02T06:02:49.252" v="4342"/>
          <ac:spMkLst>
            <pc:docMk/>
            <pc:sldMk cId="2891423568" sldId="2567"/>
            <ac:spMk id="97" creationId="{5D15F3F2-CD86-087E-275F-E62ECFD9E10A}"/>
          </ac:spMkLst>
        </pc:spChg>
        <pc:spChg chg="add del mod replST">
          <ac:chgData name="Aurelien Domont" userId="6da7715ce44349b3" providerId="LiveId" clId="{8C97B853-E239-49C0-A36B-A3F2C855C3BA}" dt="2023-11-02T06:02:49.252" v="4343"/>
          <ac:spMkLst>
            <pc:docMk/>
            <pc:sldMk cId="2891423568" sldId="2567"/>
            <ac:spMk id="98" creationId="{72BBE9A7-71ED-CE87-7E3C-5A577092FF0F}"/>
          </ac:spMkLst>
        </pc:spChg>
        <pc:spChg chg="add del mod replST">
          <ac:chgData name="Aurelien Domont" userId="6da7715ce44349b3" providerId="LiveId" clId="{8C97B853-E239-49C0-A36B-A3F2C855C3BA}" dt="2023-11-02T06:02:49.252" v="4344"/>
          <ac:spMkLst>
            <pc:docMk/>
            <pc:sldMk cId="2891423568" sldId="2567"/>
            <ac:spMk id="99" creationId="{CA4F6EF3-B1B9-4703-18B8-DD03778C17B4}"/>
          </ac:spMkLst>
        </pc:spChg>
        <pc:spChg chg="add del mod replST">
          <ac:chgData name="Aurelien Domont" userId="6da7715ce44349b3" providerId="LiveId" clId="{8C97B853-E239-49C0-A36B-A3F2C855C3BA}" dt="2023-11-02T06:02:49.252" v="4345"/>
          <ac:spMkLst>
            <pc:docMk/>
            <pc:sldMk cId="2891423568" sldId="2567"/>
            <ac:spMk id="100" creationId="{BDEA50B0-DB43-8D68-661C-E2C420A6810D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01" creationId="{FB64D253-8C3A-8FE9-CE8F-3BE84FB94F8E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02" creationId="{4FEFB4B7-F8BB-1A2B-A079-0E1703FA96E3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03" creationId="{1B75E53D-46D8-5A85-3AA9-22900A8A1BC0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04" creationId="{8C44DE3E-CBA5-B5A9-6901-EDB14DEDDAFF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05" creationId="{EB01FF74-0677-F1CF-DC50-FFB0250E135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06" creationId="{3E24E0C9-560D-2BAA-9F17-0777CF9E9D0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07" creationId="{7DC2B8AC-C04C-66C6-0565-216EEA57385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43" creationId="{44711B4A-E759-8D9F-DC2A-50EABC422A8C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44" creationId="{6BBF6BD8-3FC7-55EA-63A2-33E3F9828D95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45" creationId="{8645F9B2-F410-A871-A4C6-553AB8BEAF63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46" creationId="{EF733E03-8B44-1D71-9238-5837753A38DD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47" creationId="{B9E106C8-2492-1E8C-FF8F-A47B3555CE3E}"/>
          </ac:spMkLst>
        </pc:spChg>
        <pc:spChg chg="add del mod replST">
          <ac:chgData name="Aurelien Domont" userId="6da7715ce44349b3" providerId="LiveId" clId="{8C97B853-E239-49C0-A36B-A3F2C855C3BA}" dt="2023-11-02T06:11:53.954" v="8722"/>
          <ac:spMkLst>
            <pc:docMk/>
            <pc:sldMk cId="2891423568" sldId="2567"/>
            <ac:spMk id="148" creationId="{98692215-8343-7CB2-42E9-7744A1F40377}"/>
          </ac:spMkLst>
        </pc:spChg>
        <pc:spChg chg="add del mod modVis">
          <ac:chgData name="Aurelien Domont" userId="6da7715ce44349b3" providerId="LiveId" clId="{8C97B853-E239-49C0-A36B-A3F2C855C3BA}" dt="2023-11-02T06:11:10.099" v="7230"/>
          <ac:spMkLst>
            <pc:docMk/>
            <pc:sldMk cId="2891423568" sldId="2567"/>
            <ac:spMk id="149" creationId="{A7669ECA-5261-5DC3-B83A-6213C16D977F}"/>
          </ac:spMkLst>
        </pc:spChg>
        <pc:spChg chg="add mod or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50" creationId="{48288615-AF1D-2128-C47F-0CEA59E12C38}"/>
          </ac:spMkLst>
        </pc:spChg>
        <pc:spChg chg="add del mod replST">
          <ac:chgData name="Aurelien Domont" userId="6da7715ce44349b3" providerId="LiveId" clId="{8C97B853-E239-49C0-A36B-A3F2C855C3BA}" dt="2023-11-02T06:11:56.484" v="8769"/>
          <ac:spMkLst>
            <pc:docMk/>
            <pc:sldMk cId="2891423568" sldId="2567"/>
            <ac:spMk id="151" creationId="{74A58F89-FFB4-E7FA-7311-CF39CA22D57E}"/>
          </ac:spMkLst>
        </pc:spChg>
        <pc:spChg chg="add del mod modVis">
          <ac:chgData name="Aurelien Domont" userId="6da7715ce44349b3" providerId="LiveId" clId="{8C97B853-E239-49C0-A36B-A3F2C855C3BA}" dt="2023-11-02T06:11:17.104" v="7467"/>
          <ac:spMkLst>
            <pc:docMk/>
            <pc:sldMk cId="2891423568" sldId="2567"/>
            <ac:spMk id="152" creationId="{5B0CC148-3161-BB96-2C6C-AA7FA9733BAD}"/>
          </ac:spMkLst>
        </pc:spChg>
        <pc:spChg chg="add mod or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53" creationId="{FAC39371-873B-8C81-2A2C-7353391B9177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54" creationId="{87B32F98-84BE-B271-4988-43A25A013A80}"/>
          </ac:spMkLst>
        </pc:spChg>
        <pc:spChg chg="add del mod modVis">
          <ac:chgData name="Aurelien Domont" userId="6da7715ce44349b3" providerId="LiveId" clId="{8C97B853-E239-49C0-A36B-A3F2C855C3BA}" dt="2023-11-02T06:11:39.416" v="8402"/>
          <ac:spMkLst>
            <pc:docMk/>
            <pc:sldMk cId="2891423568" sldId="2567"/>
            <ac:spMk id="155" creationId="{82CA33BC-F2DB-530B-A376-CAC8A82E01B5}"/>
          </ac:spMkLst>
        </pc:spChg>
        <pc:spChg chg="add mod or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57" creationId="{708F7CB3-C4BA-7501-F8D8-9DFAFC8151E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60" creationId="{D7E85292-1C5D-F3D5-D6E6-CF47BF2F99DF}"/>
          </ac:spMkLst>
        </pc:spChg>
        <pc:spChg chg="add del mod modVis">
          <ac:chgData name="Aurelien Domont" userId="6da7715ce44349b3" providerId="LiveId" clId="{8C97B853-E239-49C0-A36B-A3F2C855C3BA}" dt="2023-11-02T06:11:45.027" v="8717"/>
          <ac:spMkLst>
            <pc:docMk/>
            <pc:sldMk cId="2891423568" sldId="2567"/>
            <ac:spMk id="161" creationId="{99CB6AFF-81C9-8B85-6D2E-FC259A8A91DC}"/>
          </ac:spMkLst>
        </pc:spChg>
        <pc:spChg chg="add mod or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63" creationId="{D82067BA-A22F-B76B-C103-82E77D041ED3}"/>
          </ac:spMkLst>
        </pc:spChg>
        <pc:spChg chg="add mod or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66" creationId="{F46EC3A1-85AC-5238-CC24-198125C93888}"/>
          </ac:spMkLst>
        </pc:spChg>
        <pc:spChg chg="add mod or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67" creationId="{31BD70F7-C712-071D-E46B-655EB26370F4}"/>
          </ac:spMkLst>
        </pc:spChg>
        <pc:spChg chg="add del mod ord replST">
          <ac:chgData name="Aurelien Domont" userId="6da7715ce44349b3" providerId="LiveId" clId="{8C97B853-E239-49C0-A36B-A3F2C855C3BA}" dt="2023-11-02T06:15:20.019" v="9902"/>
          <ac:spMkLst>
            <pc:docMk/>
            <pc:sldMk cId="2891423568" sldId="2567"/>
            <ac:spMk id="168" creationId="{BC2AFF85-1B7A-C4D8-81A9-A6A22BF4AAAF}"/>
          </ac:spMkLst>
        </pc:spChg>
        <pc:spChg chg="add mod or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69" creationId="{BD47A3AA-E432-EB7B-BE78-827D71E05FE5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70" creationId="{EA5AF830-31B0-95F6-561D-A115A643861B}"/>
          </ac:spMkLst>
        </pc:spChg>
        <pc:spChg chg="add del mod modVis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71" creationId="{EA342B3E-820C-6D26-3D8B-40B6E26D1B1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72" creationId="{4A1E7F70-5FF8-1652-557C-152D899FD622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73" creationId="{35AE20D7-C242-ED37-6630-92D0F8FAFE0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74" creationId="{4FC5E629-8C3C-0DCD-B18C-705443319FB0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75" creationId="{D682C872-3C71-C4A2-4F5C-561DC85CF721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76" creationId="{AF7E2BE8-4ADD-0049-30A3-5F8D562E9F70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77" creationId="{B863BCF9-6FB6-A5C0-0EFF-6A5CC03847B0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78" creationId="{B96137C8-8F88-D315-D21A-21A28CDCDB5F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79" creationId="{0F141B0E-D9A0-6AFE-9E0D-529AF8E6032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80" creationId="{35D56A61-F563-0A45-BFEF-2B514786F5DC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81" creationId="{D7CA36D3-EC34-28D1-F50E-E173CEDDC070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82" creationId="{C45F328B-FCCB-B81B-F285-9B333B00665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83" creationId="{7909A02A-9343-C4A4-6BC4-5925E7953031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84" creationId="{6918FEB4-0AE7-6652-6FD1-D7CB4B91C58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85" creationId="{6F292C2A-BDBA-1A01-BB45-63419C66AB4A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86" creationId="{533855D8-B642-5BE0-EC82-BB884383807C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87" creationId="{1713B62F-8FDC-FE71-B097-FD7D81A8E5C1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88" creationId="{237FE35B-EA80-B3B4-721E-9EEF18F31F5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89" creationId="{BE76303A-E223-83B6-3EAC-831B6158062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90" creationId="{7845E6D5-7A7C-AEAA-9A18-978AADB420CD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91" creationId="{F6B9587E-4FB4-D273-72EE-6F0208DA87C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92" creationId="{BABE1414-C924-96E6-42D3-C6FA7EC68DB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93" creationId="{13D265FE-0DAE-2041-E1BE-45614376D665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94" creationId="{05320EC5-A342-03AE-0AB0-A7C56A51C24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95" creationId="{1E26210D-5BF8-191C-8355-F3A79A73439D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96" creationId="{36AD9719-17B3-9179-444F-1F4D3E6B732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97" creationId="{2098B729-A928-96BF-2D22-8A1FD57C777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98" creationId="{317FE2AC-9F7A-F882-3A87-C2B445342E4A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199" creationId="{72731D6D-7B94-E465-5E0B-99AAABF1B013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00" creationId="{ABC06E62-0036-5D2E-EF3F-42C6987AA0DA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01" creationId="{B0678320-BAD7-CB26-BBEB-EA459C424C41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02" creationId="{BDAA9A7B-4090-70AA-5003-9CB2AC42C222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03" creationId="{EFF1F879-2AAA-304D-03DD-E78943BF920E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04" creationId="{3AF54E2B-0DA2-7888-6174-A125F9BE469A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05" creationId="{D5C0463E-FEDB-6974-DE57-79E6DCCB4E45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06" creationId="{CF3E29AD-DA4A-2A5C-CBE9-304B88D2375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07" creationId="{F001A14B-20C0-18EE-BA72-6ABC8A2B64AE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08" creationId="{77D613C3-CB0E-61C5-0117-217DC0EA3B13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09" creationId="{110F4832-CCB9-CAB5-555C-8BF749219483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10" creationId="{B94763CF-F1E8-F25C-B859-396F576161A7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11" creationId="{46806FDB-DE6D-C4A4-991D-C0584AC9CBD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12" creationId="{013DFC5C-E2AB-8157-0079-1142553A740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13" creationId="{B9FBFDFC-4E59-FDED-C3C9-62F2F38E6F84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14" creationId="{BF7A64A1-03F0-5A52-7136-41669B544FB4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15" creationId="{7442E6DE-F481-9D18-BD59-7CE582D2E609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16" creationId="{007A42F5-DAF7-E5D7-7C87-4627C9269E59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17" creationId="{3843956F-E725-428B-041F-B68928354F6F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18" creationId="{04C7B37E-2786-9AB4-C4BB-B2A5AB3B11C7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19" creationId="{8A302DAE-9E36-57EF-2FD9-84D9A9D4E414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20" creationId="{072C5EB4-4E65-7B1E-0D65-8C0EDC0B1779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21" creationId="{976313EB-6DC9-D387-C1EB-4C94539F950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22" creationId="{22AF802A-F5ED-7AE7-DF75-2B6BB9E8F5D1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23" creationId="{F5E45912-593C-0131-705D-0575D52FA70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24" creationId="{BEC616C9-F280-63FB-F29F-316BAF948430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25" creationId="{CD2007B7-8B3E-54D3-8AE6-E71AC8DB01D2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26" creationId="{E475DC69-4BCA-B424-E844-4839BDD8BD00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27" creationId="{C2B98BC0-860D-084F-4A3E-B59E1787B1E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28" creationId="{C46BFB58-86E5-464A-9F2B-00B1490CD363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29" creationId="{19F71F5F-ECDB-4539-E39D-782ADF07524E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30" creationId="{A2CF60EF-EF25-27E7-D7CC-73B5D540278A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31" creationId="{9D1B2F87-BE0E-B178-4532-B22841A30B8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32" creationId="{0A5AADB8-B244-B45B-5193-E5A2D7B59294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33" creationId="{9C81F6F5-08A4-410B-B4EE-18FDF8A5ED3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34" creationId="{4748BA43-A3D1-1147-C508-D17DB007ECF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35" creationId="{F6F5927E-A10F-D9BD-94B7-F8ED438475E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36" creationId="{C3E791F9-ABED-6E47-B3C6-DDF9408EC5AC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37" creationId="{929DDD2C-7AF1-CB66-F966-52882E79DBD1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38" creationId="{A1764B9D-50F3-F0A4-9536-EAE21432BE79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39" creationId="{828D3105-2FCA-A491-94C2-2B5508F4D23C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40" creationId="{69882139-C2AE-D576-EFE9-3C95A5C3E235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41" creationId="{FCA1CA87-7211-A7CB-76D7-7FE8D47E1E27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42" creationId="{6DE443CE-C25F-A18E-76A3-7FB2CEC251D9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43" creationId="{04A9D80A-0C5B-44D2-5F4B-E1822F0EC62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44" creationId="{7DD17CDF-6A4E-D733-1369-7461737D2DA0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45" creationId="{42FA6108-7C0B-DFB6-F58A-809207DCEE04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46" creationId="{2D6F1FCE-3A2F-71D0-A45D-C02C24D38152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47" creationId="{89EDBAE3-17E8-C334-CE5B-F14F1B930DA7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48" creationId="{5EB331F3-CBFF-3270-0199-4E8F36315B75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49" creationId="{F61D760E-2079-9DE9-AA4C-3203F6FF5C83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50" creationId="{1BE893AE-C827-0B2D-E5E3-DEC14320E27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51" creationId="{1C94D8F0-AAEF-98CB-3B3C-1B87BF0AC05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52" creationId="{C90FFE9C-0EAA-3031-09A3-E52088AC56BA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53" creationId="{1260FA29-9D26-4A39-4B35-0954148D6177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54" creationId="{F3C088BB-E3A6-D519-C323-A9012C3962C9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55" creationId="{1564A317-79BE-1E4A-A96B-151054997CA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56" creationId="{7358FD3E-B7F5-D15E-C500-E1AF0C3317CA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57" creationId="{3747B7AD-0DE0-64A9-2722-A51DFD84BC5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58" creationId="{2AEB0547-FD07-AC76-D222-57ECD024BD0D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59" creationId="{F7F0D4F4-D103-446A-636F-6A300D0C8059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60" creationId="{8E2F2A75-2B28-02E5-19FF-B470418E1081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61" creationId="{7FFE79AC-CE46-CAF4-350D-BFAADE44DB4E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62" creationId="{8FEFB75C-1DC6-D762-A100-AF5A56F7E6D2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63" creationId="{03778E91-9348-8E57-03F1-EAB766E6192D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64" creationId="{6FBD1410-44B2-1ACF-0A0E-74A3051CEBBD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65" creationId="{0E3867BA-68EE-4968-BBBC-DB1015EDF271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66" creationId="{96CF4564-6F8B-3770-BB85-1A6E8C03E469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67" creationId="{92BA2288-3CA3-3CA0-F392-1FB6E2C43AEF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68" creationId="{7A995E01-E75B-5DA0-21ED-FDCD065DB5EF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69" creationId="{4C157FE2-1D52-ACE4-57A3-5264D9485003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70" creationId="{E3673CF1-39FA-C564-DB66-FAFA5DCA3B9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71" creationId="{622B4DCD-183A-A354-AF77-BCBFBC4F377D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72" creationId="{53EF3ABB-6664-6B1D-71BF-07C8B45E44B6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73" creationId="{A3242149-7E3F-19E8-9195-0D7E38BFCAC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74" creationId="{53A97A08-476F-30EF-1175-129B62B6820D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75" creationId="{3D28105B-A90F-0330-3D7C-B08ED7450C4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76" creationId="{C3351B7E-5ACF-9B8E-0F36-DB638CDAA878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77" creationId="{8C297862-E3F0-8E94-50C0-7E7D5E518385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78" creationId="{AC5FA9AA-6356-C1B7-BC62-0E16B136A765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79" creationId="{54C2CA17-09B2-EFE3-A048-1BEBBADA1590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80" creationId="{A5695562-4247-9F0A-2337-005D733B53F2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81" creationId="{AB29F8D1-49FC-CD68-1565-C7CE67012043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82" creationId="{E0CB80A7-C89A-F6F3-CCBF-9EE1B567CE5E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83" creationId="{B759F7FB-C10A-EFBD-D6E0-65D56BE64CFE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84" creationId="{49877016-3A2B-2517-831B-937A40E60083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85" creationId="{6775FE45-8497-94D5-501C-4014AA0B44C9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86" creationId="{1F1518E1-F389-6F61-C7C0-A43A85DE68D1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87" creationId="{48122191-EE6A-5028-702E-211134C97C8B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88" creationId="{38C8E6EB-6D31-93B2-60F8-8C71F8F8C022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89" creationId="{A32BFF70-CE53-87E9-98E3-D9E94920D93C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90" creationId="{C2B09541-ABA0-F397-1F0B-DD78C8CBDA24}"/>
          </ac:spMkLst>
        </pc:spChg>
        <pc:spChg chg="add mod replST">
          <ac:chgData name="Aurelien Domont" userId="6da7715ce44349b3" providerId="LiveId" clId="{8C97B853-E239-49C0-A36B-A3F2C855C3BA}" dt="2023-11-02T06:18:48.523" v="16930"/>
          <ac:spMkLst>
            <pc:docMk/>
            <pc:sldMk cId="2891423568" sldId="2567"/>
            <ac:spMk id="291" creationId="{BF1B955A-1651-5172-0F54-E3A59F3DDBE9}"/>
          </ac:spMkLst>
        </pc:spChg>
        <pc:graphicFrameChg chg="mod">
          <ac:chgData name="Aurelien Domont" userId="6da7715ce44349b3" providerId="LiveId" clId="{8C97B853-E239-49C0-A36B-A3F2C855C3BA}" dt="2023-11-02T06:18:48.598" v="16932"/>
          <ac:graphicFrameMkLst>
            <pc:docMk/>
            <pc:sldMk cId="2891423568" sldId="2567"/>
            <ac:graphicFrameMk id="6" creationId="{7D825B00-E688-B0F3-14A2-091926C576C5}"/>
          </ac:graphicFrameMkLst>
        </pc:graphicFrame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46" creationId="{7F496599-E28F-EA4C-142F-387F59B3016C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49" creationId="{D8ED9592-6BAE-4DAD-A42A-689C9A2C3F5B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50" creationId="{0BC71C6C-E029-4B7E-1065-A7828CEC719C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51" creationId="{4898043C-DABF-87CD-A7A9-3D58CBA8308E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52" creationId="{F87B7DAD-678C-5381-9B32-19AADC339A4C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53" creationId="{FEA400F3-C33F-410A-8AF9-D2B82A4A05F0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54" creationId="{A88E839F-80EC-05A7-9C6B-B8F5A272C254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55" creationId="{C8F95FFC-DEB4-609B-8FA7-8B89C5629BE7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56" creationId="{D579B1EA-52AD-7DA5-579F-75639D75FCE3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57" creationId="{5321CE9A-144E-0282-7A3E-3390C0B3556C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58" creationId="{3629630C-2B15-74CA-8043-C7A97263C42D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59" creationId="{8A929C45-14A9-027E-92E4-7E3DA9DDA09E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60" creationId="{96E77571-3B87-7473-098D-5FEA01D7010C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61" creationId="{7D59262E-0217-EE8A-2DC0-575FC79DDE1B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62" creationId="{45EEF42F-BC63-AC66-71F0-8420C642CD76}"/>
          </ac:cxnSpMkLst>
        </pc:cxnChg>
        <pc:cxnChg chg="add del mod ord replST">
          <ac:chgData name="Aurelien Domont" userId="6da7715ce44349b3" providerId="LiveId" clId="{8C97B853-E239-49C0-A36B-A3F2C855C3BA}" dt="2023-11-02T06:11:39.306" v="8103"/>
          <ac:cxnSpMkLst>
            <pc:docMk/>
            <pc:sldMk cId="2891423568" sldId="2567"/>
            <ac:cxnSpMk id="63" creationId="{B1B95259-298B-43BF-534B-F3F9B661DA41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64" creationId="{FBDD34E8-9FC4-1299-526C-C2F378C60F05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65" creationId="{4B15BF1B-A2C2-CE8E-15BA-D19800FA9DA8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66" creationId="{DED0A3AC-3DC7-8384-B5AF-4C11A1874FFB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67" creationId="{C2B3A3E1-F922-C615-ABA8-F3A6EF8F8F6E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68" creationId="{721A3061-5A70-0FA7-9D7D-DB9150517B95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69" creationId="{BE323640-A9E9-C6AF-DDC5-4F709900F29E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08" creationId="{82C56767-5ECB-EF21-7E48-37395CA9A233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09" creationId="{208F7235-3A40-6470-64C6-D42BC839565B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10" creationId="{A2D63D71-991B-2720-1E65-5ABC62E1F3D8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11" creationId="{1F7F47F8-1B3C-BAE9-6873-0EFA1D6CB7BC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12" creationId="{A500F036-C395-A3A7-DF03-A3BA3E79C092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13" creationId="{323EFA93-FC8E-0BDC-6EBB-074203293D71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14" creationId="{A7628132-77BE-5708-B419-EA8D6178C8DE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15" creationId="{BAB81F75-B46F-1CAA-AB9E-1A634C0E583B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16" creationId="{CD6BF3B7-4E82-8FA0-E818-7FD57868FA2B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17" creationId="{0DD03539-16D6-F412-60DE-1BCF29092D6D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18" creationId="{806802CA-71F4-82DA-76B2-703E50A0B0D9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19" creationId="{B275B3E8-1036-F5DA-DBC3-A042AEE02F4B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20" creationId="{D00DADBC-725A-B0B1-289C-BC47D9D28D9E}"/>
          </ac:cxnSpMkLst>
        </pc:cxnChg>
        <pc:cxnChg chg="add del mod ord replST">
          <ac:chgData name="Aurelien Domont" userId="6da7715ce44349b3" providerId="LiveId" clId="{8C97B853-E239-49C0-A36B-A3F2C855C3BA}" dt="2023-11-02T06:11:44.949" v="8543"/>
          <ac:cxnSpMkLst>
            <pc:docMk/>
            <pc:sldMk cId="2891423568" sldId="2567"/>
            <ac:cxnSpMk id="121" creationId="{A47891CA-91C5-64FA-F577-CA59DC8631DA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22" creationId="{BC5A8AEE-47A4-B356-1F5C-9524B2A78411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23" creationId="{29CE7E3D-362F-96B1-EA1E-067967EC7088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24" creationId="{5046106E-5AD0-5EF5-8D9C-C8531D8EC4C6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25" creationId="{5CAD438E-60C1-8758-88DE-852B29848463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26" creationId="{025EAE3C-E716-4FF8-7DC0-AF6423877854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27" creationId="{CD4A52A8-1A40-E107-FBD0-60D28DDAA132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28" creationId="{2A3214F8-C344-240B-92E4-3049233EBFDC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29" creationId="{1C6F1F41-A881-EEB5-9093-72F80A16048D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30" creationId="{22E67F36-30DC-48EC-0F74-20C02D8671CF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31" creationId="{E458D9E1-83D1-BBCE-2592-DFA46DF02E11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32" creationId="{6156C1EB-6D77-3E33-1862-BFD8B7D71BD0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33" creationId="{F6EBD513-02AB-27C7-94D5-B9EA34948049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34" creationId="{308AE22C-1AF3-8952-DBB6-A97A6817D1F3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35" creationId="{390C207D-93CD-34AB-8546-1E98A783033E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36" creationId="{272A24D6-BDE2-DA5A-D60D-7FECE837FE09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37" creationId="{EEEC9B86-B6D0-8BE1-F5C9-EB75369619F0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38" creationId="{C16FE402-180F-F6A0-009C-9079B526FC20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39" creationId="{C3DDBD9A-3583-9BC4-E3AA-F37ADB3EBD90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40" creationId="{64338E10-88DD-EE99-2051-EF1C80EE1D83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41" creationId="{D75BFC10-5614-3D5E-3143-A66246D04E0C}"/>
          </ac:cxnSpMkLst>
        </pc:cxnChg>
        <pc:cxnChg chg="add del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42" creationId="{4D54F097-D1DD-55A1-5FF9-48F50C76FE20}"/>
          </ac:cxnSpMkLst>
        </pc:cxnChg>
        <pc:cxnChg chg="add del mod ord replST">
          <ac:chgData name="Aurelien Domont" userId="6da7715ce44349b3" providerId="LiveId" clId="{8C97B853-E239-49C0-A36B-A3F2C855C3BA}" dt="2023-11-02T06:11:53.954" v="8721"/>
          <ac:cxnSpMkLst>
            <pc:docMk/>
            <pc:sldMk cId="2891423568" sldId="2567"/>
            <ac:cxnSpMk id="156" creationId="{F110F60F-06BD-6B38-7337-4ECBBBF28D7D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58" creationId="{BD71468E-AA0B-56A5-3FA2-CD12B67E5009}"/>
          </ac:cxnSpMkLst>
        </pc:cxnChg>
        <pc:cxnChg chg="add del mod ord replST">
          <ac:chgData name="Aurelien Domont" userId="6da7715ce44349b3" providerId="LiveId" clId="{8C97B853-E239-49C0-A36B-A3F2C855C3BA}" dt="2023-11-02T06:11:53.970" v="8738"/>
          <ac:cxnSpMkLst>
            <pc:docMk/>
            <pc:sldMk cId="2891423568" sldId="2567"/>
            <ac:cxnSpMk id="159" creationId="{A69C3044-DAA5-0D8D-FF87-188A6B96B84F}"/>
          </ac:cxnSpMkLst>
        </pc:cxnChg>
        <pc:cxnChg chg="add del mod ord replST">
          <ac:chgData name="Aurelien Domont" userId="6da7715ce44349b3" providerId="LiveId" clId="{8C97B853-E239-49C0-A36B-A3F2C855C3BA}" dt="2023-11-02T06:11:56.484" v="8768"/>
          <ac:cxnSpMkLst>
            <pc:docMk/>
            <pc:sldMk cId="2891423568" sldId="2567"/>
            <ac:cxnSpMk id="162" creationId="{E86B703D-E68F-A411-35C2-6DB98607464F}"/>
          </ac:cxnSpMkLst>
        </pc:cxnChg>
        <pc:cxnChg chg="add mod ord rep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164" creationId="{AF6BF33A-8C7A-806D-8D56-4AEB163D913A}"/>
          </ac:cxnSpMkLst>
        </pc:cxnChg>
        <pc:cxnChg chg="add del mod ord replST">
          <ac:chgData name="Aurelien Domont" userId="6da7715ce44349b3" providerId="LiveId" clId="{8C97B853-E239-49C0-A36B-A3F2C855C3BA}" dt="2023-11-02T06:11:56.517" v="8816"/>
          <ac:cxnSpMkLst>
            <pc:docMk/>
            <pc:sldMk cId="2891423568" sldId="2567"/>
            <ac:cxnSpMk id="165" creationId="{2ED82335-8CA7-C9E6-6BD6-B2C58F575AEB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292" creationId="{99FAC9ED-3C84-12D2-C1A2-460C26484D1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293" creationId="{1DBC9B3A-2175-9F08-7703-EB92FAA41CA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294" creationId="{BB73BD0C-1B0B-7D72-9095-C6CB8968F4A0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295" creationId="{2393E570-2700-1A99-CD17-E73E03D75707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296" creationId="{3F9402A0-8355-E38D-650F-47406E8DD5CF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297" creationId="{D062E884-76AE-73B7-CE85-E4E362B6F8A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298" creationId="{6DE8A092-4317-D352-0A5C-F18509F50E63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299" creationId="{46AB0151-C009-0BDD-02EC-DE2B0A84578C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00" creationId="{D6DBB091-E801-317C-4BC8-BC6B19DB4DA3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01" creationId="{2D17BA83-F24E-AB79-B492-88B848D7F79F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02" creationId="{8BEE900B-8540-E3BE-A97D-C66476688A74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03" creationId="{5A8344CF-C472-C715-9301-4652AB563EDB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04" creationId="{830F9CB3-3FD8-9495-DF51-9D881A28E367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05" creationId="{471D3918-21B4-8CBF-33CE-1D9F724CE853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06" creationId="{AC1FD314-8389-E878-FF4A-8B8558AE9A21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07" creationId="{DB7825D8-29BF-5071-BC9B-AFC74E8950D1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08" creationId="{2BDD2E68-4E34-4F81-4E1A-6212B3B37FFB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09" creationId="{2F855DE8-F2B9-D459-D60C-6CDA779E9038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10" creationId="{2A540F29-1E68-C51C-60C1-D28FD5741A78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11" creationId="{F160C0D2-B663-38BC-21B7-14AB65139CC0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12" creationId="{C78D9092-20F2-E018-6DE6-2D4FCAB12BC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13" creationId="{766FD082-45AD-BAE8-B0B0-0FE8CD7C200D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14" creationId="{7CD57E58-FE5C-5B43-2C9C-03B7DDFD2459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15" creationId="{89EBF14C-7DE8-49E1-3184-E99368347968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16" creationId="{A0190B54-CD86-D7AB-2BD5-4899AE8A6F7D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17" creationId="{C5D69537-2B8F-4968-9AF2-3538FB70525E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18" creationId="{249F9862-5700-BE19-1D59-6349FC2536D7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19" creationId="{1727CD3E-D746-D2C5-DD15-5DF3BE7A0DBA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20" creationId="{82458169-FB3B-7312-6B88-2FE9828246C5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21" creationId="{4E89B5C3-C65B-069A-837F-5D98608E3EA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22" creationId="{58A87FFB-C35B-36B5-A398-CFD418EB172E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23" creationId="{FFB26F37-7ED6-75D6-36B5-1E99F52004B8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24" creationId="{4F87F6B3-B82C-61DC-31BF-03E34A9E7211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25" creationId="{5327EC5A-17B4-0195-FAD0-0C44AE0BD4B9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26" creationId="{C9EB0AD3-3CA9-8959-42B2-6353AC751B93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27" creationId="{D41CBF7A-C373-F2DC-95F3-BA0E0A85BFBA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28" creationId="{E50C2804-6B23-2B4F-71D6-EF194C8E4D20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29" creationId="{02607EFD-B365-399A-DBE1-91E4971CD780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30" creationId="{639DC985-5A28-EB2E-1200-FCAFFC860E46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31" creationId="{9245F691-2AEC-F07E-9EB2-ADCE49C03717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32" creationId="{8663E50B-CC83-31EB-0A30-50310BA37DEF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33" creationId="{7E1D5CA0-A68F-C67C-0D31-F0E36EFCC98D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34" creationId="{F53A1CDE-EE6C-F93F-62B4-26727CE4F37C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35" creationId="{A645B1FA-C955-FBCB-5D55-2291F31FB443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36" creationId="{43B61D23-4388-CF8C-EF91-2D76946C2C2F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37" creationId="{3B0A3E1A-79E3-902C-6741-F8B1E9517EFE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38" creationId="{2484ED44-9911-E4D1-5805-39F765242D55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39" creationId="{A041D2EA-4255-6B87-6434-6849B0127CCE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40" creationId="{B690E2EE-97E2-5698-33A3-BA9440A7225F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41" creationId="{1F309EDA-3375-92C3-428D-E7AA450D6204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42" creationId="{A708B7A3-6EB4-BC6E-4757-C8E479DD7DA9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43" creationId="{378240CB-E4D7-2AFC-D84D-1D7F12A196A8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44" creationId="{26437249-1DCE-72A0-40BF-145929567B7E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45" creationId="{70CAA13B-525D-03B7-0690-19FF50AD89C6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46" creationId="{4D92F8B4-F644-CF07-E94F-E7146460B996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47" creationId="{9A15F14F-809B-7069-3497-C9F550151D2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48" creationId="{BDE3214C-7E43-BEAE-5739-88DB59EE98EA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49" creationId="{9782524C-439A-9A8A-7820-FE2A8734FACE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50" creationId="{2C8DF2D4-960F-93D1-FDC8-90153C65FAA3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51" creationId="{54533B55-E193-411D-6DBC-EB63DBF11F90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52" creationId="{BD66C6B6-5DD9-E24C-8F8F-D56B18AE6F21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53" creationId="{D8A98F5B-3473-2089-FB0C-42805D477010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54" creationId="{278F55A4-51E4-9BDE-0685-A4A464AF46A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55" creationId="{45F3E515-2517-CB8B-41FB-26E946F7D633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56" creationId="{D347B58E-20E5-06F1-62DF-58EBF67FFFAD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57" creationId="{FC8A7131-56DA-E397-FD77-C3FFE50F03A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58" creationId="{8E29101D-FC66-03C3-4765-7EDC93C9CDD0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59" creationId="{7D80AACF-F181-5B2D-94EF-0CDF9BC6B469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60" creationId="{24A8CDDB-7BA7-0742-C04D-C8DF2BEC0AC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61" creationId="{42A958F9-0F5F-8EA0-87A4-DA27133ED41C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62" creationId="{8DA1F437-2DC5-2F49-6F33-462FA61172DF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63" creationId="{49FE03CC-2D10-AF6A-D125-3D83E3C9BB81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64" creationId="{D24AB0FB-0B99-142E-B418-C7BD2CF149CD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65" creationId="{4DB09F99-7D8D-588D-EA8D-37BB6E43CEF3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66" creationId="{EF224307-EAA5-2073-0EB4-AC479D7B0DB6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67" creationId="{466D0FD5-63A0-13EF-19B5-BBC42B23317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68" creationId="{EC11DDB0-CC93-A917-C811-4D4507573F97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69" creationId="{E95CC4CD-FF5E-8ADE-7D37-3E28B86974CF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70" creationId="{FACF98A5-81F3-6DED-C4D7-27B838BB5FBE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71" creationId="{623DAE51-A388-DDEA-F09F-25A7BA5B4E66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72" creationId="{1837B0B5-0704-9769-BD02-804B56438970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73" creationId="{4B1EE09A-DF5A-E375-43DB-337A33FAB326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74" creationId="{8E8DF19D-2669-A84E-FD6A-BA174E1E586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75" creationId="{BF7A8DBE-269A-CFC9-EF0E-40EB2DA7F8A8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76" creationId="{7365BD8E-B18E-ECF9-CDD2-0BD3E9668A1C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77" creationId="{F35C3742-074D-CCF3-2706-DC5ABAB474ED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78" creationId="{8A343912-073F-4C1A-BF58-5B67F2F81B00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79" creationId="{F71F6FED-A24D-B6E3-DEDD-924342E1953B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80" creationId="{DDD8E206-5997-C3AF-5189-974BCA73AC8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81" creationId="{EC778F25-9EF2-D1AE-D859-33ECCD9ACD0C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82" creationId="{851A777A-5891-4E1E-1278-FBA8B67C52AD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83" creationId="{23F77101-476B-2007-9F05-14476A18C588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84" creationId="{CA5D2DF5-0DC6-06C1-1E85-3B1FA87CBF7D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85" creationId="{52C22653-887E-F2AE-12D7-443BC7410652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86" creationId="{DB5E79EE-4BBF-4416-4798-824579D966D9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87" creationId="{78B5A919-0890-B21C-0765-FB51CE72DB5F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88" creationId="{B797D26F-7B76-A996-DB69-E9F8AE48C979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89" creationId="{E1B8174A-CE79-047E-ADA5-D19F53E014C3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90" creationId="{E7DAF0DC-D0EB-412F-444D-C33DC3267FCC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91" creationId="{4DBD9E59-C085-5BF4-1A49-B82890353B84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92" creationId="{215893EC-5D25-5F17-A034-645782C4250E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93" creationId="{DDA40E01-5EBA-D5F8-CEF1-CBC14D42D7BD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94" creationId="{CBDBB9DE-EB99-AA2A-DDB3-1D0636B56CEE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95" creationId="{CB2B7D52-5490-1BDF-826C-5F7D3D7B128E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96" creationId="{0E67CE1B-382A-90A3-D09D-2880259418A6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97" creationId="{FB7F53E4-F9A4-D852-BA2C-C3816703EDB3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98" creationId="{26DE3767-50DF-E1E4-8FFF-62241C93E74A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399" creationId="{A2959E7B-7618-FA4D-80AE-94990AB3314E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400" creationId="{5D54AA8C-3B7F-A886-0961-CC0E115BDD2D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401" creationId="{34C18233-1C7C-EF28-4A1D-3D9636517F49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402" creationId="{7854184D-350F-7F00-558C-1BAE6C1C986E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403" creationId="{848B5469-D9B9-726D-6DF1-B6239884EA8D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404" creationId="{B46387C4-A440-2E67-6CEF-31D2967AFEF0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405" creationId="{E55930D6-C457-064F-1111-0CDF92E8F03A}"/>
          </ac:cxnSpMkLst>
        </pc:cxnChg>
        <pc:cxnChg chg="add del mod ord replST delST">
          <ac:chgData name="Aurelien Domont" userId="6da7715ce44349b3" providerId="LiveId" clId="{8C97B853-E239-49C0-A36B-A3F2C855C3BA}" dt="2023-11-02T06:18:48.523" v="16930"/>
          <ac:cxnSpMkLst>
            <pc:docMk/>
            <pc:sldMk cId="2891423568" sldId="2567"/>
            <ac:cxnSpMk id="406" creationId="{CD26B17F-9E87-B6EB-D8DE-CF2010CECFCD}"/>
          </ac:cxnSpMkLst>
        </pc:cxn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157727741" sldId="2567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316376722" sldId="2568"/>
        </pc:sldMkLst>
      </pc:sldChg>
      <pc:sldChg chg="addSp delSp modSp add mod">
        <pc:chgData name="Aurelien Domont" userId="6da7715ce44349b3" providerId="LiveId" clId="{8C97B853-E239-49C0-A36B-A3F2C855C3BA}" dt="2023-11-02T23:44:16.528" v="24583" actId="20577"/>
        <pc:sldMkLst>
          <pc:docMk/>
          <pc:sldMk cId="3903418997" sldId="2568"/>
        </pc:sldMkLst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7" creationId="{0425262F-3430-0EBC-2E92-4E9FCCCD84F0}"/>
          </ac:spMkLst>
        </pc:spChg>
        <pc:spChg chg="mod">
          <ac:chgData name="Aurelien Domont" userId="6da7715ce44349b3" providerId="LiveId" clId="{8C97B853-E239-49C0-A36B-A3F2C855C3BA}" dt="2023-11-02T23:44:16.528" v="24583" actId="20577"/>
          <ac:spMkLst>
            <pc:docMk/>
            <pc:sldMk cId="3903418997" sldId="2568"/>
            <ac:spMk id="8" creationId="{283D8879-911B-9B5C-E64C-10BE7780FB67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10" creationId="{F77B9236-76E4-1E77-10D7-E23AB07E436F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11" creationId="{1AA7172C-9FBF-6D59-159A-291067743FFD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13" creationId="{11371C50-EF18-251D-396B-665BD97DA1C5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14" creationId="{467FA576-45E0-6C9C-7E52-98A9852390B8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15" creationId="{D442BBFB-FAB9-304B-305A-BEE327B5709F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16" creationId="{0AD97C23-728F-AC1F-F164-167CB7E86554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17" creationId="{49249967-1891-0EDC-125E-F1EEAB08950D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18" creationId="{FF098CCA-226A-9AD2-56F4-D5BFD7019258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19" creationId="{C1B847F6-1017-A084-2D39-98478187736D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20" creationId="{2EBAA04A-254C-C29B-A43D-8E710FD67873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21" creationId="{7CDD57AF-2058-6909-AE0A-E02343DFF963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22" creationId="{84D8F018-1887-2CDD-9482-82DFDF6E66E7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23" creationId="{4C395D23-4999-7E0B-762D-73F5A83D17AB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24" creationId="{4074F491-A68A-C58E-F30A-E56010B1DB2B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25" creationId="{44D60CAF-0EAE-066F-1769-8FE545979FB4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26" creationId="{60DD3555-906E-02C8-FC4D-8661ACC1A2F9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27" creationId="{EB3F24F8-ADCE-BC33-A015-030A7BD4DEE2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28" creationId="{5CB56975-8A97-3B8D-E285-65A8D54CFA19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29" creationId="{E5460BA1-FDF8-5B75-FF72-0E1AB51DAC5C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30" creationId="{239BCCBB-3815-522D-DDF4-2E53DFC7ED2C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31" creationId="{F3B9B12D-C5A7-4926-FC78-F9E9D1FF00F8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32" creationId="{0ECA0D49-6E9A-7017-9F4E-833E5D63AF1D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33" creationId="{5D968FB9-B0A2-A05E-4035-F3B67B2B5329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34" creationId="{1DDD9C3E-5A8C-6636-1F38-A4E8F66AD32B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35" creationId="{3BE9735F-391E-533A-868C-A6E808EDD34F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36" creationId="{FF251FAA-43C3-4FB7-966B-E692C4F48769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37" creationId="{578C43CF-D85F-A01B-7532-D345950404EB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38" creationId="{902E1C79-F751-22CD-1DD5-06DE6451005B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39" creationId="{CBCB69FF-3226-E5D2-1D16-B6082E36E3F9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40" creationId="{DD984646-7373-884F-1A56-6F1D578255BB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41" creationId="{010A17BC-5587-345C-6943-228FEA7EE0D5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42" creationId="{FDE16140-1B60-F695-680D-A1CF442B76BF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43" creationId="{532DA47A-CFA0-BA61-50E2-53E5B8728047}"/>
          </ac:spMkLst>
        </pc:spChg>
        <pc:spChg chg="del">
          <ac:chgData name="Aurelien Domont" userId="6da7715ce44349b3" providerId="LiveId" clId="{8C97B853-E239-49C0-A36B-A3F2C855C3BA}" dt="2023-11-02T05:52:48.511" v="473" actId="478"/>
          <ac:spMkLst>
            <pc:docMk/>
            <pc:sldMk cId="3903418997" sldId="2568"/>
            <ac:spMk id="44" creationId="{1E156E60-A1D0-D21F-AEE7-F544F64992BB}"/>
          </ac:spMkLst>
        </pc:spChg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45" creationId="{A0A07D59-BA55-A66B-BB82-7B99CDF203C7}"/>
          </ac:spMkLst>
        </pc:spChg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46" creationId="{BD3BE3C3-28B5-B13C-B8B2-C0B94AA9813C}"/>
          </ac:spMkLst>
        </pc:spChg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47" creationId="{DD70A3C7-30D4-8C24-5B39-9B989C6B4148}"/>
          </ac:spMkLst>
        </pc:spChg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48" creationId="{E955A2AE-9961-96BD-0F84-4386E3F13C8C}"/>
          </ac:spMkLst>
        </pc:spChg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49" creationId="{B9DFEC22-78DE-B8AF-4E20-01A4B733D7E6}"/>
          </ac:spMkLst>
        </pc:spChg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50" creationId="{30FDE6B5-F462-38C2-5801-8F87D8BA6DC7}"/>
          </ac:spMkLst>
        </pc:spChg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51" creationId="{8D508DBA-145A-498C-7748-4F2840A1FC67}"/>
          </ac:spMkLst>
        </pc:spChg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52" creationId="{21D9CB31-B340-9471-A3AC-8B94567B2A41}"/>
          </ac:spMkLst>
        </pc:spChg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53" creationId="{F0C8CDA6-33E0-AA0C-0E55-1D36DF0BF592}"/>
          </ac:spMkLst>
        </pc:spChg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54" creationId="{1D6881B6-0708-49ED-3E84-708D262E94A7}"/>
          </ac:spMkLst>
        </pc:spChg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55" creationId="{2160E39D-B6EC-2962-08B1-E20464054F09}"/>
          </ac:spMkLst>
        </pc:spChg>
        <pc:spChg chg="add mod">
          <ac:chgData name="Aurelien Domont" userId="6da7715ce44349b3" providerId="LiveId" clId="{8C97B853-E239-49C0-A36B-A3F2C855C3BA}" dt="2023-11-02T05:53:19.648" v="480"/>
          <ac:spMkLst>
            <pc:docMk/>
            <pc:sldMk cId="3903418997" sldId="2568"/>
            <ac:spMk id="56" creationId="{0518B219-E174-C278-D23F-6B54AD83B9CC}"/>
          </ac:spMkLst>
        </pc:spChg>
        <pc:graphicFrameChg chg="add mod">
          <ac:chgData name="Aurelien Domont" userId="6da7715ce44349b3" providerId="LiveId" clId="{8C97B853-E239-49C0-A36B-A3F2C855C3BA}" dt="2023-11-02T05:53:19.648" v="480"/>
          <ac:graphicFrameMkLst>
            <pc:docMk/>
            <pc:sldMk cId="3903418997" sldId="2568"/>
            <ac:graphicFrameMk id="5" creationId="{1BBDCF18-C2F9-41BD-EF74-81DB621E8D14}"/>
          </ac:graphicFrameMkLst>
        </pc:graphicFrameChg>
        <pc:graphicFrameChg chg="del">
          <ac:chgData name="Aurelien Domont" userId="6da7715ce44349b3" providerId="LiveId" clId="{8C97B853-E239-49C0-A36B-A3F2C855C3BA}" dt="2023-11-02T05:52:48.511" v="473" actId="478"/>
          <ac:graphicFrameMkLst>
            <pc:docMk/>
            <pc:sldMk cId="3903418997" sldId="2568"/>
            <ac:graphicFrameMk id="9" creationId="{C9CE1E9D-F0BE-0E57-AD2E-3E409C3C4BA5}"/>
          </ac:graphicFrameMkLst>
        </pc:graphicFrameChg>
        <pc:graphicFrameChg chg="del">
          <ac:chgData name="Aurelien Domont" userId="6da7715ce44349b3" providerId="LiveId" clId="{8C97B853-E239-49C0-A36B-A3F2C855C3BA}" dt="2023-11-02T05:52:48.511" v="473" actId="478"/>
          <ac:graphicFrameMkLst>
            <pc:docMk/>
            <pc:sldMk cId="3903418997" sldId="2568"/>
            <ac:graphicFrameMk id="12" creationId="{544A593A-8F77-2489-8B43-0E2B7EAF6832}"/>
          </ac:graphicFrameMkLst>
        </pc:graphicFrameChg>
      </pc:sldChg>
      <pc:sldChg chg="addSp modSp add mod">
        <pc:chgData name="Aurelien Domont" userId="6da7715ce44349b3" providerId="LiveId" clId="{8C97B853-E239-49C0-A36B-A3F2C855C3BA}" dt="2023-11-02T23:44:34.527" v="24598" actId="20577"/>
        <pc:sldMkLst>
          <pc:docMk/>
          <pc:sldMk cId="2009755545" sldId="2569"/>
        </pc:sldMkLst>
        <pc:spChg chg="mod">
          <ac:chgData name="Aurelien Domont" userId="6da7715ce44349b3" providerId="LiveId" clId="{8C97B853-E239-49C0-A36B-A3F2C855C3BA}" dt="2023-11-02T23:44:34.527" v="24598" actId="20577"/>
          <ac:spMkLst>
            <pc:docMk/>
            <pc:sldMk cId="2009755545" sldId="2569"/>
            <ac:spMk id="5" creationId="{11E61B3A-2BCA-BA0E-285D-68F67CC3B660}"/>
          </ac:spMkLst>
        </pc:spChg>
        <pc:picChg chg="add mod">
          <ac:chgData name="Aurelien Domont" userId="6da7715ce44349b3" providerId="LiveId" clId="{8C97B853-E239-49C0-A36B-A3F2C855C3BA}" dt="2023-11-02T05:53:52.301" v="484"/>
          <ac:picMkLst>
            <pc:docMk/>
            <pc:sldMk cId="2009755545" sldId="2569"/>
            <ac:picMk id="7" creationId="{62A1FA70-5A02-4E65-2B91-D38EE0D0B441}"/>
          </ac:picMkLst>
        </pc:picChg>
        <pc:picChg chg="add mod">
          <ac:chgData name="Aurelien Domont" userId="6da7715ce44349b3" providerId="LiveId" clId="{8C97B853-E239-49C0-A36B-A3F2C855C3BA}" dt="2023-11-02T05:53:52.301" v="484"/>
          <ac:picMkLst>
            <pc:docMk/>
            <pc:sldMk cId="2009755545" sldId="2569"/>
            <ac:picMk id="8" creationId="{9B4868F8-F882-6525-B10C-E619A0189B6A}"/>
          </ac:picMkLst>
        </pc:pic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064932023" sldId="2569"/>
        </pc:sldMkLst>
      </pc:sldChg>
      <pc:sldChg chg="addSp modSp add mod">
        <pc:chgData name="Aurelien Domont" userId="6da7715ce44349b3" providerId="LiveId" clId="{8C97B853-E239-49C0-A36B-A3F2C855C3BA}" dt="2023-11-02T05:54:09.980" v="500" actId="207"/>
        <pc:sldMkLst>
          <pc:docMk/>
          <pc:sldMk cId="2197559153" sldId="2570"/>
        </pc:sldMkLst>
        <pc:spChg chg="mod">
          <ac:chgData name="Aurelien Domont" userId="6da7715ce44349b3" providerId="LiveId" clId="{8C97B853-E239-49C0-A36B-A3F2C855C3BA}" dt="2023-11-02T05:54:01.638" v="498" actId="20577"/>
          <ac:spMkLst>
            <pc:docMk/>
            <pc:sldMk cId="2197559153" sldId="2570"/>
            <ac:spMk id="5" creationId="{11E61B3A-2BCA-BA0E-285D-68F67CC3B660}"/>
          </ac:spMkLst>
        </pc:spChg>
        <pc:spChg chg="add mod">
          <ac:chgData name="Aurelien Domont" userId="6da7715ce44349b3" providerId="LiveId" clId="{8C97B853-E239-49C0-A36B-A3F2C855C3BA}" dt="2023-11-02T05:54:09.980" v="500" actId="207"/>
          <ac:spMkLst>
            <pc:docMk/>
            <pc:sldMk cId="2197559153" sldId="2570"/>
            <ac:spMk id="9" creationId="{C8117FA5-7663-EE60-60B0-730D21CED355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485613412" sldId="2570"/>
        </pc:sldMkLst>
      </pc:sldChg>
      <pc:sldChg chg="addSp delSp modSp add mod">
        <pc:chgData name="Aurelien Domont" userId="6da7715ce44349b3" providerId="LiveId" clId="{8C97B853-E239-49C0-A36B-A3F2C855C3BA}" dt="2023-11-02T23:44:23.992" v="24587" actId="20577"/>
        <pc:sldMkLst>
          <pc:docMk/>
          <pc:sldMk cId="246935978" sldId="2571"/>
        </pc:sldMkLst>
        <pc:spChg chg="mod ord">
          <ac:chgData name="Aurelien Domont" userId="6da7715ce44349b3" providerId="LiveId" clId="{8C97B853-E239-49C0-A36B-A3F2C855C3BA}" dt="2023-11-02T06:23:06.739" v="23309"/>
          <ac:spMkLst>
            <pc:docMk/>
            <pc:sldMk cId="246935978" sldId="2571"/>
            <ac:spMk id="2" creationId="{B0C20905-DC0A-E2EE-6C0B-22F94C53A645}"/>
          </ac:spMkLst>
        </pc:spChg>
        <pc:spChg chg="mod ord">
          <ac:chgData name="Aurelien Domont" userId="6da7715ce44349b3" providerId="LiveId" clId="{8C97B853-E239-49C0-A36B-A3F2C855C3BA}" dt="2023-11-02T06:23:06.739" v="23311"/>
          <ac:spMkLst>
            <pc:docMk/>
            <pc:sldMk cId="246935978" sldId="2571"/>
            <ac:spMk id="3" creationId="{D67192FA-34C1-9161-05BF-69F825CB57D6}"/>
          </ac:spMkLst>
        </pc:spChg>
        <pc:spChg chg="mod ord">
          <ac:chgData name="Aurelien Domont" userId="6da7715ce44349b3" providerId="LiveId" clId="{8C97B853-E239-49C0-A36B-A3F2C855C3BA}" dt="2023-11-02T06:23:06.739" v="23313"/>
          <ac:spMkLst>
            <pc:docMk/>
            <pc:sldMk cId="246935978" sldId="2571"/>
            <ac:spMk id="4" creationId="{4357025A-9893-4516-2DE4-9C7FF359389F}"/>
          </ac:spMkLst>
        </pc:spChg>
        <pc:spChg chg="mod ord">
          <ac:chgData name="Aurelien Domont" userId="6da7715ce44349b3" providerId="LiveId" clId="{8C97B853-E239-49C0-A36B-A3F2C855C3BA}" dt="2023-11-02T23:44:23.992" v="24587" actId="20577"/>
          <ac:spMkLst>
            <pc:docMk/>
            <pc:sldMk cId="246935978" sldId="2571"/>
            <ac:spMk id="5" creationId="{11E61B3A-2BCA-BA0E-285D-68F67CC3B660}"/>
          </ac:spMkLst>
        </pc:spChg>
        <pc:spChg chg="add del mod modVis">
          <ac:chgData name="Aurelien Domont" userId="6da7715ce44349b3" providerId="LiveId" clId="{8C97B853-E239-49C0-A36B-A3F2C855C3BA}" dt="2023-11-02T06:19:36.211" v="17528"/>
          <ac:spMkLst>
            <pc:docMk/>
            <pc:sldMk cId="246935978" sldId="2571"/>
            <ac:spMk id="7" creationId="{FB718873-1CF3-8DE7-3201-9BC0B9491842}"/>
          </ac:spMkLst>
        </pc:spChg>
        <pc:spChg chg="mod">
          <ac:chgData name="Aurelien Domont" userId="6da7715ce44349b3" providerId="LiveId" clId="{8C97B853-E239-49C0-A36B-A3F2C855C3BA}" dt="2023-11-02T06:23:06.817" v="23478"/>
          <ac:spMkLst>
            <pc:docMk/>
            <pc:sldMk cId="246935978" sldId="2571"/>
            <ac:spMk id="8" creationId="{D0B858BE-8DDB-789C-9C45-123DEBA7261A}"/>
          </ac:spMkLst>
        </pc:spChg>
        <pc:spChg chg="mod">
          <ac:chgData name="Aurelien Domont" userId="6da7715ce44349b3" providerId="LiveId" clId="{8C97B853-E239-49C0-A36B-A3F2C855C3BA}" dt="2023-11-02T06:23:06.833" v="23497"/>
          <ac:spMkLst>
            <pc:docMk/>
            <pc:sldMk cId="246935978" sldId="2571"/>
            <ac:spMk id="9" creationId="{8905965C-E02C-F1A8-3497-FDDF582DEE5B}"/>
          </ac:spMkLst>
        </pc:spChg>
        <pc:spChg chg="mod">
          <ac:chgData name="Aurelien Domont" userId="6da7715ce44349b3" providerId="LiveId" clId="{8C97B853-E239-49C0-A36B-A3F2C855C3BA}" dt="2023-11-02T06:23:06.833" v="23490"/>
          <ac:spMkLst>
            <pc:docMk/>
            <pc:sldMk cId="246935978" sldId="2571"/>
            <ac:spMk id="10" creationId="{DA07B62E-54BE-8E03-5D44-7B363CB1C425}"/>
          </ac:spMkLst>
        </pc:spChg>
        <pc:spChg chg="mod">
          <ac:chgData name="Aurelien Domont" userId="6da7715ce44349b3" providerId="LiveId" clId="{8C97B853-E239-49C0-A36B-A3F2C855C3BA}" dt="2023-11-02T06:23:06.833" v="23494"/>
          <ac:spMkLst>
            <pc:docMk/>
            <pc:sldMk cId="246935978" sldId="2571"/>
            <ac:spMk id="11" creationId="{A34CCD9E-B440-6BE5-941E-2F6A76F861AE}"/>
          </ac:spMkLst>
        </pc:spChg>
        <pc:spChg chg="mod">
          <ac:chgData name="Aurelien Domont" userId="6da7715ce44349b3" providerId="LiveId" clId="{8C97B853-E239-49C0-A36B-A3F2C855C3BA}" dt="2023-11-02T06:23:06.833" v="23484"/>
          <ac:spMkLst>
            <pc:docMk/>
            <pc:sldMk cId="246935978" sldId="2571"/>
            <ac:spMk id="12" creationId="{75AF7BC0-25EE-A46F-A3C6-4927E970DEE9}"/>
          </ac:spMkLst>
        </pc:spChg>
        <pc:spChg chg="mod">
          <ac:chgData name="Aurelien Domont" userId="6da7715ce44349b3" providerId="LiveId" clId="{8C97B853-E239-49C0-A36B-A3F2C855C3BA}" dt="2023-11-02T06:23:06.833" v="23483"/>
          <ac:spMkLst>
            <pc:docMk/>
            <pc:sldMk cId="246935978" sldId="2571"/>
            <ac:spMk id="13" creationId="{FE806F63-5CED-06C3-6BD5-E5D1655DAA5E}"/>
          </ac:spMkLst>
        </pc:spChg>
        <pc:spChg chg="mod">
          <ac:chgData name="Aurelien Domont" userId="6da7715ce44349b3" providerId="LiveId" clId="{8C97B853-E239-49C0-A36B-A3F2C855C3BA}" dt="2023-11-02T06:23:06.833" v="23482"/>
          <ac:spMkLst>
            <pc:docMk/>
            <pc:sldMk cId="246935978" sldId="2571"/>
            <ac:spMk id="14" creationId="{18C0B89C-A304-AEF3-67A2-5CF0E4DE3002}"/>
          </ac:spMkLst>
        </pc:spChg>
        <pc:spChg chg="add mod replST">
          <ac:chgData name="Aurelien Domont" userId="6da7715ce44349b3" providerId="LiveId" clId="{8C97B853-E239-49C0-A36B-A3F2C855C3BA}" dt="2023-11-02T06:23:06.833" v="23491"/>
          <ac:spMkLst>
            <pc:docMk/>
            <pc:sldMk cId="246935978" sldId="2571"/>
            <ac:spMk id="15" creationId="{5BE7276D-7D6F-97B0-EE3D-89BC08A3D387}"/>
          </ac:spMkLst>
        </pc:spChg>
        <pc:spChg chg="add mod replST">
          <ac:chgData name="Aurelien Domont" userId="6da7715ce44349b3" providerId="LiveId" clId="{8C97B853-E239-49C0-A36B-A3F2C855C3BA}" dt="2023-11-02T06:23:06.833" v="23500"/>
          <ac:spMkLst>
            <pc:docMk/>
            <pc:sldMk cId="246935978" sldId="2571"/>
            <ac:spMk id="17" creationId="{01AD9102-0C11-E66D-00C4-075B5CD5B65E}"/>
          </ac:spMkLst>
        </pc:spChg>
        <pc:spChg chg="add del mod modVis">
          <ac:chgData name="Aurelien Domont" userId="6da7715ce44349b3" providerId="LiveId" clId="{8C97B853-E239-49C0-A36B-A3F2C855C3BA}" dt="2023-11-02T06:19:44.279" v="18069"/>
          <ac:spMkLst>
            <pc:docMk/>
            <pc:sldMk cId="246935978" sldId="2571"/>
            <ac:spMk id="18" creationId="{4492B481-B0F8-24DD-7330-8A28CDADC1B0}"/>
          </ac:spMkLst>
        </pc:spChg>
        <pc:spChg chg="add mod replST">
          <ac:chgData name="Aurelien Domont" userId="6da7715ce44349b3" providerId="LiveId" clId="{8C97B853-E239-49C0-A36B-A3F2C855C3BA}" dt="2023-11-02T06:23:06.833" v="23503"/>
          <ac:spMkLst>
            <pc:docMk/>
            <pc:sldMk cId="246935978" sldId="2571"/>
            <ac:spMk id="19" creationId="{37A92690-B18E-ACB8-77D9-A3DE6A591B71}"/>
          </ac:spMkLst>
        </pc:spChg>
        <pc:spChg chg="add del mod modVis">
          <ac:chgData name="Aurelien Domont" userId="6da7715ce44349b3" providerId="LiveId" clId="{8C97B853-E239-49C0-A36B-A3F2C855C3BA}" dt="2023-11-02T06:19:55.363" v="18330"/>
          <ac:spMkLst>
            <pc:docMk/>
            <pc:sldMk cId="246935978" sldId="2571"/>
            <ac:spMk id="20" creationId="{69FBE023-81E8-A1E8-7048-BBB779C4B824}"/>
          </ac:spMkLst>
        </pc:spChg>
        <pc:spChg chg="add mod replST">
          <ac:chgData name="Aurelien Domont" userId="6da7715ce44349b3" providerId="LiveId" clId="{8C97B853-E239-49C0-A36B-A3F2C855C3BA}" dt="2023-11-02T06:23:06.833" v="23485"/>
          <ac:spMkLst>
            <pc:docMk/>
            <pc:sldMk cId="246935978" sldId="2571"/>
            <ac:spMk id="21" creationId="{C3383E41-8034-54AA-AF53-7FE1D2E2A307}"/>
          </ac:spMkLst>
        </pc:spChg>
        <pc:spChg chg="add del mod modVis">
          <ac:chgData name="Aurelien Domont" userId="6da7715ce44349b3" providerId="LiveId" clId="{8C97B853-E239-49C0-A36B-A3F2C855C3BA}" dt="2023-11-02T06:20:09.843" v="18671"/>
          <ac:spMkLst>
            <pc:docMk/>
            <pc:sldMk cId="246935978" sldId="2571"/>
            <ac:spMk id="22" creationId="{33552E83-C308-82CC-5652-7E1A3B5731DC}"/>
          </ac:spMkLst>
        </pc:spChg>
        <pc:spChg chg="add mod replST">
          <ac:chgData name="Aurelien Domont" userId="6da7715ce44349b3" providerId="LiveId" clId="{8C97B853-E239-49C0-A36B-A3F2C855C3BA}" dt="2023-11-02T06:23:06.833" v="23486"/>
          <ac:spMkLst>
            <pc:docMk/>
            <pc:sldMk cId="246935978" sldId="2571"/>
            <ac:spMk id="23" creationId="{9201C74F-7B60-EAC8-614C-D82FB2813CE7}"/>
          </ac:spMkLst>
        </pc:spChg>
        <pc:spChg chg="add del mod modVis">
          <ac:chgData name="Aurelien Domont" userId="6da7715ce44349b3" providerId="LiveId" clId="{8C97B853-E239-49C0-A36B-A3F2C855C3BA}" dt="2023-11-02T06:20:13.819" v="18953"/>
          <ac:spMkLst>
            <pc:docMk/>
            <pc:sldMk cId="246935978" sldId="2571"/>
            <ac:spMk id="24" creationId="{36143B50-6487-AB53-B825-B84102C1A5A7}"/>
          </ac:spMkLst>
        </pc:spChg>
        <pc:spChg chg="add mod replST">
          <ac:chgData name="Aurelien Domont" userId="6da7715ce44349b3" providerId="LiveId" clId="{8C97B853-E239-49C0-A36B-A3F2C855C3BA}" dt="2023-11-02T06:23:06.833" v="23487"/>
          <ac:spMkLst>
            <pc:docMk/>
            <pc:sldMk cId="246935978" sldId="2571"/>
            <ac:spMk id="25" creationId="{69BA9D72-36E1-8054-4AE7-A3BDF5E07A8D}"/>
          </ac:spMkLst>
        </pc:spChg>
        <pc:spChg chg="add del mod modVis">
          <ac:chgData name="Aurelien Domont" userId="6da7715ce44349b3" providerId="LiveId" clId="{8C97B853-E239-49C0-A36B-A3F2C855C3BA}" dt="2023-11-02T06:20:17.134" v="19237"/>
          <ac:spMkLst>
            <pc:docMk/>
            <pc:sldMk cId="246935978" sldId="2571"/>
            <ac:spMk id="26" creationId="{C58E94A6-20EA-E831-73C4-2DEB39151F35}"/>
          </ac:spMkLst>
        </pc:spChg>
        <pc:spChg chg="add mod replST">
          <ac:chgData name="Aurelien Domont" userId="6da7715ce44349b3" providerId="LiveId" clId="{8C97B853-E239-49C0-A36B-A3F2C855C3BA}" dt="2023-11-02T06:23:06.833" v="23488"/>
          <ac:spMkLst>
            <pc:docMk/>
            <pc:sldMk cId="246935978" sldId="2571"/>
            <ac:spMk id="27" creationId="{BDFD5647-EE5C-6EFF-6107-750FF573E578}"/>
          </ac:spMkLst>
        </pc:spChg>
        <pc:spChg chg="add del mod modVis">
          <ac:chgData name="Aurelien Domont" userId="6da7715ce44349b3" providerId="LiveId" clId="{8C97B853-E239-49C0-A36B-A3F2C855C3BA}" dt="2023-11-02T06:20:30.306" v="19598"/>
          <ac:spMkLst>
            <pc:docMk/>
            <pc:sldMk cId="246935978" sldId="2571"/>
            <ac:spMk id="28" creationId="{EA302E88-30A8-8F0B-4281-83E37C3C457D}"/>
          </ac:spMkLst>
        </pc:spChg>
        <pc:spChg chg="add mod replST">
          <ac:chgData name="Aurelien Domont" userId="6da7715ce44349b3" providerId="LiveId" clId="{8C97B853-E239-49C0-A36B-A3F2C855C3BA}" dt="2023-11-02T06:23:06.833" v="23489"/>
          <ac:spMkLst>
            <pc:docMk/>
            <pc:sldMk cId="246935978" sldId="2571"/>
            <ac:spMk id="29" creationId="{DF595E40-C55A-F6B7-24A9-A0E7CCEE878C}"/>
          </ac:spMkLst>
        </pc:spChg>
        <pc:spChg chg="add del mod modVis">
          <ac:chgData name="Aurelien Domont" userId="6da7715ce44349b3" providerId="LiveId" clId="{8C97B853-E239-49C0-A36B-A3F2C855C3BA}" dt="2023-11-02T06:20:34.932" v="19887"/>
          <ac:spMkLst>
            <pc:docMk/>
            <pc:sldMk cId="246935978" sldId="2571"/>
            <ac:spMk id="30" creationId="{E2BCEA55-0CFA-E4A4-DA1B-B8A51C75E259}"/>
          </ac:spMkLst>
        </pc:spChg>
        <pc:spChg chg="add mod ord replST">
          <ac:chgData name="Aurelien Domont" userId="6da7715ce44349b3" providerId="LiveId" clId="{8C97B853-E239-49C0-A36B-A3F2C855C3BA}" dt="2023-11-02T06:23:06.817" v="23471"/>
          <ac:spMkLst>
            <pc:docMk/>
            <pc:sldMk cId="246935978" sldId="2571"/>
            <ac:spMk id="31" creationId="{6D5F42FB-888B-6DC9-4FA5-21A7683FD893}"/>
          </ac:spMkLst>
        </pc:spChg>
        <pc:spChg chg="add del mod ord replST">
          <ac:chgData name="Aurelien Domont" userId="6da7715ce44349b3" providerId="LiveId" clId="{8C97B853-E239-49C0-A36B-A3F2C855C3BA}" dt="2023-11-02T06:22:59.811" v="22939"/>
          <ac:spMkLst>
            <pc:docMk/>
            <pc:sldMk cId="246935978" sldId="2571"/>
            <ac:spMk id="32" creationId="{24222FB0-F705-DCAF-5F3D-2A73667177E6}"/>
          </ac:spMkLst>
        </pc:spChg>
        <pc:spChg chg="add mod ord replST">
          <ac:chgData name="Aurelien Domont" userId="6da7715ce44349b3" providerId="LiveId" clId="{8C97B853-E239-49C0-A36B-A3F2C855C3BA}" dt="2023-11-02T06:23:06.817" v="23473"/>
          <ac:spMkLst>
            <pc:docMk/>
            <pc:sldMk cId="246935978" sldId="2571"/>
            <ac:spMk id="33" creationId="{3E65CEDE-93C3-0D9B-BD85-8AC95ED54988}"/>
          </ac:spMkLst>
        </pc:spChg>
        <pc:spChg chg="add mod ord replST">
          <ac:chgData name="Aurelien Domont" userId="6da7715ce44349b3" providerId="LiveId" clId="{8C97B853-E239-49C0-A36B-A3F2C855C3BA}" dt="2023-11-02T06:23:06.833" v="23493"/>
          <ac:spMkLst>
            <pc:docMk/>
            <pc:sldMk cId="246935978" sldId="2571"/>
            <ac:spMk id="34" creationId="{FC93A756-68E5-2635-83DA-B9DB456B72F3}"/>
          </ac:spMkLst>
        </pc:spChg>
        <pc:spChg chg="add del mod replST">
          <ac:chgData name="Aurelien Domont" userId="6da7715ce44349b3" providerId="LiveId" clId="{8C97B853-E239-49C0-A36B-A3F2C855C3BA}" dt="2023-11-02T06:22:52.149" v="22844"/>
          <ac:spMkLst>
            <pc:docMk/>
            <pc:sldMk cId="246935978" sldId="2571"/>
            <ac:spMk id="35" creationId="{9B0AB763-739E-6D27-3F13-008226C2F2DB}"/>
          </ac:spMkLst>
        </pc:spChg>
        <pc:spChg chg="add del mod replST">
          <ac:chgData name="Aurelien Domont" userId="6da7715ce44349b3" providerId="LiveId" clId="{8C97B853-E239-49C0-A36B-A3F2C855C3BA}" dt="2023-11-02T06:22:53.537" v="22881"/>
          <ac:spMkLst>
            <pc:docMk/>
            <pc:sldMk cId="246935978" sldId="2571"/>
            <ac:spMk id="36" creationId="{698DD527-BB6A-C6E8-EE61-4DB11E3EB203}"/>
          </ac:spMkLst>
        </pc:spChg>
        <pc:spChg chg="add mod ord replST">
          <ac:chgData name="Aurelien Domont" userId="6da7715ce44349b3" providerId="LiveId" clId="{8C97B853-E239-49C0-A36B-A3F2C855C3BA}" dt="2023-11-02T06:23:06.817" v="23475"/>
          <ac:spMkLst>
            <pc:docMk/>
            <pc:sldMk cId="246935978" sldId="2571"/>
            <ac:spMk id="37" creationId="{054EC898-5DC8-0398-DDF0-002489A5AE6B}"/>
          </ac:spMkLst>
        </pc:spChg>
        <pc:spChg chg="add mod ord replST">
          <ac:chgData name="Aurelien Domont" userId="6da7715ce44349b3" providerId="LiveId" clId="{8C97B853-E239-49C0-A36B-A3F2C855C3BA}" dt="2023-11-02T06:23:06.833" v="23496"/>
          <ac:spMkLst>
            <pc:docMk/>
            <pc:sldMk cId="246935978" sldId="2571"/>
            <ac:spMk id="38" creationId="{2250C7F7-64A9-E46B-1EA1-C4DFCCD84E41}"/>
          </ac:spMkLst>
        </pc:spChg>
        <pc:spChg chg="mod">
          <ac:chgData name="Aurelien Domont" userId="6da7715ce44349b3" providerId="LiveId" clId="{8C97B853-E239-49C0-A36B-A3F2C855C3BA}" dt="2023-11-02T06:23:06.739" v="23318"/>
          <ac:spMkLst>
            <pc:docMk/>
            <pc:sldMk cId="246935978" sldId="2571"/>
            <ac:spMk id="39" creationId="{8CAC5C8C-646E-272D-6C4D-0A3EEF077F9D}"/>
          </ac:spMkLst>
        </pc:spChg>
        <pc:spChg chg="mod">
          <ac:chgData name="Aurelien Domont" userId="6da7715ce44349b3" providerId="LiveId" clId="{8C97B853-E239-49C0-A36B-A3F2C855C3BA}" dt="2023-11-02T06:23:06.739" v="23319"/>
          <ac:spMkLst>
            <pc:docMk/>
            <pc:sldMk cId="246935978" sldId="2571"/>
            <ac:spMk id="40" creationId="{F396E260-D2EC-6B0E-26CE-21DBE900A11F}"/>
          </ac:spMkLst>
        </pc:spChg>
        <pc:spChg chg="mod">
          <ac:chgData name="Aurelien Domont" userId="6da7715ce44349b3" providerId="LiveId" clId="{8C97B853-E239-49C0-A36B-A3F2C855C3BA}" dt="2023-11-02T06:23:06.739" v="23320"/>
          <ac:spMkLst>
            <pc:docMk/>
            <pc:sldMk cId="246935978" sldId="2571"/>
            <ac:spMk id="41" creationId="{4781117E-646E-CD07-CBE8-A2D0C921995B}"/>
          </ac:spMkLst>
        </pc:spChg>
        <pc:spChg chg="mod">
          <ac:chgData name="Aurelien Domont" userId="6da7715ce44349b3" providerId="LiveId" clId="{8C97B853-E239-49C0-A36B-A3F2C855C3BA}" dt="2023-11-02T06:23:06.739" v="23316"/>
          <ac:spMkLst>
            <pc:docMk/>
            <pc:sldMk cId="246935978" sldId="2571"/>
            <ac:spMk id="42" creationId="{936652A2-C39C-E9DD-9D6C-681C94398184}"/>
          </ac:spMkLst>
        </pc:spChg>
        <pc:spChg chg="mod">
          <ac:chgData name="Aurelien Domont" userId="6da7715ce44349b3" providerId="LiveId" clId="{8C97B853-E239-49C0-A36B-A3F2C855C3BA}" dt="2023-11-02T06:23:06.739" v="23317"/>
          <ac:spMkLst>
            <pc:docMk/>
            <pc:sldMk cId="246935978" sldId="2571"/>
            <ac:spMk id="43" creationId="{7DF70DA2-A44D-D7C3-9F58-17F58260DD1C}"/>
          </ac:spMkLst>
        </pc:spChg>
        <pc:spChg chg="mod">
          <ac:chgData name="Aurelien Domont" userId="6da7715ce44349b3" providerId="LiveId" clId="{8C97B853-E239-49C0-A36B-A3F2C855C3BA}" dt="2023-11-02T06:23:06.833" v="23481"/>
          <ac:spMkLst>
            <pc:docMk/>
            <pc:sldMk cId="246935978" sldId="2571"/>
            <ac:spMk id="44" creationId="{1E91A6EB-434E-6097-46AB-55A5DA6F64CC}"/>
          </ac:spMkLst>
        </pc:spChg>
        <pc:spChg chg="mod ord">
          <ac:chgData name="Aurelien Domont" userId="6da7715ce44349b3" providerId="LiveId" clId="{8C97B853-E239-49C0-A36B-A3F2C855C3BA}" dt="2023-11-02T06:23:06.817" v="23461"/>
          <ac:spMkLst>
            <pc:docMk/>
            <pc:sldMk cId="246935978" sldId="2571"/>
            <ac:spMk id="45" creationId="{ADCFD823-F722-84F2-9311-F678EC6F67D9}"/>
          </ac:spMkLst>
        </pc:spChg>
        <pc:spChg chg="mod">
          <ac:chgData name="Aurelien Domont" userId="6da7715ce44349b3" providerId="LiveId" clId="{8C97B853-E239-49C0-A36B-A3F2C855C3BA}" dt="2023-11-02T06:23:06.802" v="23445"/>
          <ac:spMkLst>
            <pc:docMk/>
            <pc:sldMk cId="246935978" sldId="2571"/>
            <ac:spMk id="47" creationId="{E375BC8E-10BA-4927-E48A-94B8A5006D12}"/>
          </ac:spMkLst>
        </pc:spChg>
        <pc:spChg chg="add mod ord replST">
          <ac:chgData name="Aurelien Domont" userId="6da7715ce44349b3" providerId="LiveId" clId="{8C97B853-E239-49C0-A36B-A3F2C855C3BA}" dt="2023-11-02T06:23:06.817" v="23469"/>
          <ac:spMkLst>
            <pc:docMk/>
            <pc:sldMk cId="246935978" sldId="2571"/>
            <ac:spMk id="48" creationId="{44543217-E505-32D1-172B-BF846A04A203}"/>
          </ac:spMkLst>
        </pc:spChg>
        <pc:spChg chg="add mod ord replST">
          <ac:chgData name="Aurelien Domont" userId="6da7715ce44349b3" providerId="LiveId" clId="{8C97B853-E239-49C0-A36B-A3F2C855C3BA}" dt="2023-11-02T06:23:06.833" v="23499"/>
          <ac:spMkLst>
            <pc:docMk/>
            <pc:sldMk cId="246935978" sldId="2571"/>
            <ac:spMk id="63" creationId="{56200205-150A-2194-253F-7D0417C0DB88}"/>
          </ac:spMkLst>
        </pc:spChg>
        <pc:spChg chg="add del mod modVis">
          <ac:chgData name="Aurelien Domont" userId="6da7715ce44349b3" providerId="LiveId" clId="{8C97B853-E239-49C0-A36B-A3F2C855C3BA}" dt="2023-11-02T06:22:37.010" v="22021"/>
          <ac:spMkLst>
            <pc:docMk/>
            <pc:sldMk cId="246935978" sldId="2571"/>
            <ac:spMk id="70" creationId="{BF2EA9D8-C621-2EAA-B1DC-72A53F9A7CDF}"/>
          </ac:spMkLst>
        </pc:spChg>
        <pc:spChg chg="add mod ord replST">
          <ac:chgData name="Aurelien Domont" userId="6da7715ce44349b3" providerId="LiveId" clId="{8C97B853-E239-49C0-A36B-A3F2C855C3BA}" dt="2023-11-02T06:23:06.817" v="23477"/>
          <ac:spMkLst>
            <pc:docMk/>
            <pc:sldMk cId="246935978" sldId="2571"/>
            <ac:spMk id="71" creationId="{551DE947-F483-AA88-6CE5-4EE39AB1CCF0}"/>
          </ac:spMkLst>
        </pc:spChg>
        <pc:spChg chg="add mod ord replST">
          <ac:chgData name="Aurelien Domont" userId="6da7715ce44349b3" providerId="LiveId" clId="{8C97B853-E239-49C0-A36B-A3F2C855C3BA}" dt="2023-11-02T06:23:06.833" v="23502"/>
          <ac:spMkLst>
            <pc:docMk/>
            <pc:sldMk cId="246935978" sldId="2571"/>
            <ac:spMk id="72" creationId="{D04C22D8-23B2-796C-5B11-3354C3772046}"/>
          </ac:spMkLst>
        </pc:spChg>
        <pc:spChg chg="add mod ord replST">
          <ac:chgData name="Aurelien Domont" userId="6da7715ce44349b3" providerId="LiveId" clId="{8C97B853-E239-49C0-A36B-A3F2C855C3BA}" dt="2023-11-02T06:23:06.817" v="23467"/>
          <ac:spMkLst>
            <pc:docMk/>
            <pc:sldMk cId="246935978" sldId="2571"/>
            <ac:spMk id="73" creationId="{23F0B537-53AF-A4CA-1298-C6C138032B35}"/>
          </ac:spMkLst>
        </pc:spChg>
        <pc:spChg chg="add mod ord replST">
          <ac:chgData name="Aurelien Domont" userId="6da7715ce44349b3" providerId="LiveId" clId="{8C97B853-E239-49C0-A36B-A3F2C855C3BA}" dt="2023-11-02T06:23:06.833" v="23505"/>
          <ac:spMkLst>
            <pc:docMk/>
            <pc:sldMk cId="246935978" sldId="2571"/>
            <ac:spMk id="74" creationId="{6DE9E1F3-6098-E02E-3D12-474C65E0FB34}"/>
          </ac:spMkLst>
        </pc:spChg>
        <pc:spChg chg="mod">
          <ac:chgData name="Aurelien Domont" userId="6da7715ce44349b3" providerId="LiveId" clId="{8C97B853-E239-49C0-A36B-A3F2C855C3BA}" dt="2023-11-02T06:23:06.754" v="23321"/>
          <ac:spMkLst>
            <pc:docMk/>
            <pc:sldMk cId="246935978" sldId="2571"/>
            <ac:spMk id="101" creationId="{FB64D253-8C3A-8FE9-CE8F-3BE84FB94F8E}"/>
          </ac:spMkLst>
        </pc:spChg>
        <pc:spChg chg="mod">
          <ac:chgData name="Aurelien Domont" userId="6da7715ce44349b3" providerId="LiveId" clId="{8C97B853-E239-49C0-A36B-A3F2C855C3BA}" dt="2023-11-02T06:23:06.754" v="23322"/>
          <ac:spMkLst>
            <pc:docMk/>
            <pc:sldMk cId="246935978" sldId="2571"/>
            <ac:spMk id="102" creationId="{4FEFB4B7-F8BB-1A2B-A079-0E1703FA96E3}"/>
          </ac:spMkLst>
        </pc:spChg>
        <pc:spChg chg="mod">
          <ac:chgData name="Aurelien Domont" userId="6da7715ce44349b3" providerId="LiveId" clId="{8C97B853-E239-49C0-A36B-A3F2C855C3BA}" dt="2023-11-02T06:23:06.754" v="23323"/>
          <ac:spMkLst>
            <pc:docMk/>
            <pc:sldMk cId="246935978" sldId="2571"/>
            <ac:spMk id="103" creationId="{1B75E53D-46D8-5A85-3AA9-22900A8A1BC0}"/>
          </ac:spMkLst>
        </pc:spChg>
        <pc:spChg chg="mod">
          <ac:chgData name="Aurelien Domont" userId="6da7715ce44349b3" providerId="LiveId" clId="{8C97B853-E239-49C0-A36B-A3F2C855C3BA}" dt="2023-11-02T06:23:06.754" v="23324"/>
          <ac:spMkLst>
            <pc:docMk/>
            <pc:sldMk cId="246935978" sldId="2571"/>
            <ac:spMk id="104" creationId="{8C44DE3E-CBA5-B5A9-6901-EDB14DEDDAFF}"/>
          </ac:spMkLst>
        </pc:spChg>
        <pc:spChg chg="mod">
          <ac:chgData name="Aurelien Domont" userId="6da7715ce44349b3" providerId="LiveId" clId="{8C97B853-E239-49C0-A36B-A3F2C855C3BA}" dt="2023-11-02T06:23:06.754" v="23325"/>
          <ac:spMkLst>
            <pc:docMk/>
            <pc:sldMk cId="246935978" sldId="2571"/>
            <ac:spMk id="105" creationId="{EB01FF74-0677-F1CF-DC50-FFB0250E135B}"/>
          </ac:spMkLst>
        </pc:spChg>
        <pc:spChg chg="mod">
          <ac:chgData name="Aurelien Domont" userId="6da7715ce44349b3" providerId="LiveId" clId="{8C97B853-E239-49C0-A36B-A3F2C855C3BA}" dt="2023-11-02T06:23:06.754" v="23326"/>
          <ac:spMkLst>
            <pc:docMk/>
            <pc:sldMk cId="246935978" sldId="2571"/>
            <ac:spMk id="106" creationId="{3E24E0C9-560D-2BAA-9F17-0777CF9E9D08}"/>
          </ac:spMkLst>
        </pc:spChg>
        <pc:spChg chg="mod">
          <ac:chgData name="Aurelien Domont" userId="6da7715ce44349b3" providerId="LiveId" clId="{8C97B853-E239-49C0-A36B-A3F2C855C3BA}" dt="2023-11-02T06:23:06.754" v="23327"/>
          <ac:spMkLst>
            <pc:docMk/>
            <pc:sldMk cId="246935978" sldId="2571"/>
            <ac:spMk id="107" creationId="{7DC2B8AC-C04C-66C6-0565-216EEA573856}"/>
          </ac:spMkLst>
        </pc:spChg>
        <pc:spChg chg="mod">
          <ac:chgData name="Aurelien Domont" userId="6da7715ce44349b3" providerId="LiveId" clId="{8C97B853-E239-49C0-A36B-A3F2C855C3BA}" dt="2023-11-02T06:23:06.802" v="23444"/>
          <ac:spMkLst>
            <pc:docMk/>
            <pc:sldMk cId="246935978" sldId="2571"/>
            <ac:spMk id="143" creationId="{44711B4A-E759-8D9F-DC2A-50EABC422A8C}"/>
          </ac:spMkLst>
        </pc:spChg>
        <pc:spChg chg="mod">
          <ac:chgData name="Aurelien Domont" userId="6da7715ce44349b3" providerId="LiveId" clId="{8C97B853-E239-49C0-A36B-A3F2C855C3BA}" dt="2023-11-02T06:23:06.817" v="23448"/>
          <ac:spMkLst>
            <pc:docMk/>
            <pc:sldMk cId="246935978" sldId="2571"/>
            <ac:spMk id="144" creationId="{6BBF6BD8-3FC7-55EA-63A2-33E3F9828D95}"/>
          </ac:spMkLst>
        </pc:spChg>
        <pc:spChg chg="mod">
          <ac:chgData name="Aurelien Domont" userId="6da7715ce44349b3" providerId="LiveId" clId="{8C97B853-E239-49C0-A36B-A3F2C855C3BA}" dt="2023-11-02T06:23:06.817" v="23446"/>
          <ac:spMkLst>
            <pc:docMk/>
            <pc:sldMk cId="246935978" sldId="2571"/>
            <ac:spMk id="145" creationId="{8645F9B2-F410-A871-A4C6-553AB8BEAF63}"/>
          </ac:spMkLst>
        </pc:spChg>
        <pc:spChg chg="mod">
          <ac:chgData name="Aurelien Domont" userId="6da7715ce44349b3" providerId="LiveId" clId="{8C97B853-E239-49C0-A36B-A3F2C855C3BA}" dt="2023-11-02T06:23:06.817" v="23447"/>
          <ac:spMkLst>
            <pc:docMk/>
            <pc:sldMk cId="246935978" sldId="2571"/>
            <ac:spMk id="146" creationId="{EF733E03-8B44-1D71-9238-5837753A38DD}"/>
          </ac:spMkLst>
        </pc:spChg>
        <pc:spChg chg="mod">
          <ac:chgData name="Aurelien Domont" userId="6da7715ce44349b3" providerId="LiveId" clId="{8C97B853-E239-49C0-A36B-A3F2C855C3BA}" dt="2023-11-02T06:23:06.817" v="23449"/>
          <ac:spMkLst>
            <pc:docMk/>
            <pc:sldMk cId="246935978" sldId="2571"/>
            <ac:spMk id="147" creationId="{B9E106C8-2492-1E8C-FF8F-A47B3555CE3E}"/>
          </ac:spMkLst>
        </pc:spChg>
        <pc:spChg chg="mod ord">
          <ac:chgData name="Aurelien Domont" userId="6da7715ce44349b3" providerId="LiveId" clId="{8C97B853-E239-49C0-A36B-A3F2C855C3BA}" dt="2023-11-02T06:23:06.817" v="23459"/>
          <ac:spMkLst>
            <pc:docMk/>
            <pc:sldMk cId="246935978" sldId="2571"/>
            <ac:spMk id="150" creationId="{48288615-AF1D-2128-C47F-0CEA59E12C38}"/>
          </ac:spMkLst>
        </pc:spChg>
        <pc:spChg chg="mod ord">
          <ac:chgData name="Aurelien Domont" userId="6da7715ce44349b3" providerId="LiveId" clId="{8C97B853-E239-49C0-A36B-A3F2C855C3BA}" dt="2023-11-02T06:23:06.817" v="23453"/>
          <ac:spMkLst>
            <pc:docMk/>
            <pc:sldMk cId="246935978" sldId="2571"/>
            <ac:spMk id="153" creationId="{FAC39371-873B-8C81-2A2C-7353391B9177}"/>
          </ac:spMkLst>
        </pc:spChg>
        <pc:spChg chg="mod">
          <ac:chgData name="Aurelien Domont" userId="6da7715ce44349b3" providerId="LiveId" clId="{8C97B853-E239-49C0-A36B-A3F2C855C3BA}" dt="2023-11-02T06:23:06.833" v="23479"/>
          <ac:spMkLst>
            <pc:docMk/>
            <pc:sldMk cId="246935978" sldId="2571"/>
            <ac:spMk id="154" creationId="{87B32F98-84BE-B271-4988-43A25A013A80}"/>
          </ac:spMkLst>
        </pc:spChg>
        <pc:spChg chg="mod ord">
          <ac:chgData name="Aurelien Domont" userId="6da7715ce44349b3" providerId="LiveId" clId="{8C97B853-E239-49C0-A36B-A3F2C855C3BA}" dt="2023-11-02T06:23:06.817" v="23455"/>
          <ac:spMkLst>
            <pc:docMk/>
            <pc:sldMk cId="246935978" sldId="2571"/>
            <ac:spMk id="157" creationId="{708F7CB3-C4BA-7501-F8D8-9DFAFC8151E8}"/>
          </ac:spMkLst>
        </pc:spChg>
        <pc:spChg chg="mod">
          <ac:chgData name="Aurelien Domont" userId="6da7715ce44349b3" providerId="LiveId" clId="{8C97B853-E239-49C0-A36B-A3F2C855C3BA}" dt="2023-11-02T06:23:06.833" v="23480"/>
          <ac:spMkLst>
            <pc:docMk/>
            <pc:sldMk cId="246935978" sldId="2571"/>
            <ac:spMk id="160" creationId="{D7E85292-1C5D-F3D5-D6E6-CF47BF2F99DF}"/>
          </ac:spMkLst>
        </pc:spChg>
        <pc:spChg chg="mod ord">
          <ac:chgData name="Aurelien Domont" userId="6da7715ce44349b3" providerId="LiveId" clId="{8C97B853-E239-49C0-A36B-A3F2C855C3BA}" dt="2023-11-02T06:23:06.817" v="23451"/>
          <ac:spMkLst>
            <pc:docMk/>
            <pc:sldMk cId="246935978" sldId="2571"/>
            <ac:spMk id="163" creationId="{D82067BA-A22F-B76B-C103-82E77D041ED3}"/>
          </ac:spMkLst>
        </pc:spChg>
        <pc:spChg chg="mod ord">
          <ac:chgData name="Aurelien Domont" userId="6da7715ce44349b3" providerId="LiveId" clId="{8C97B853-E239-49C0-A36B-A3F2C855C3BA}" dt="2023-11-02T06:23:06.817" v="23457"/>
          <ac:spMkLst>
            <pc:docMk/>
            <pc:sldMk cId="246935978" sldId="2571"/>
            <ac:spMk id="166" creationId="{F46EC3A1-85AC-5238-CC24-198125C93888}"/>
          </ac:spMkLst>
        </pc:spChg>
        <pc:spChg chg="mod ord">
          <ac:chgData name="Aurelien Domont" userId="6da7715ce44349b3" providerId="LiveId" clId="{8C97B853-E239-49C0-A36B-A3F2C855C3BA}" dt="2023-11-02T06:23:06.817" v="23465"/>
          <ac:spMkLst>
            <pc:docMk/>
            <pc:sldMk cId="246935978" sldId="2571"/>
            <ac:spMk id="167" creationId="{31BD70F7-C712-071D-E46B-655EB26370F4}"/>
          </ac:spMkLst>
        </pc:spChg>
        <pc:spChg chg="mod ord">
          <ac:chgData name="Aurelien Domont" userId="6da7715ce44349b3" providerId="LiveId" clId="{8C97B853-E239-49C0-A36B-A3F2C855C3BA}" dt="2023-11-02T06:23:06.817" v="23463"/>
          <ac:spMkLst>
            <pc:docMk/>
            <pc:sldMk cId="246935978" sldId="2571"/>
            <ac:spMk id="169" creationId="{BD47A3AA-E432-EB7B-BE78-827D71E05FE5}"/>
          </ac:spMkLst>
        </pc:spChg>
        <pc:graphicFrameChg chg="mod">
          <ac:chgData name="Aurelien Domont" userId="6da7715ce44349b3" providerId="LiveId" clId="{8C97B853-E239-49C0-A36B-A3F2C855C3BA}" dt="2023-11-02T06:23:06.848" v="23509"/>
          <ac:graphicFrameMkLst>
            <pc:docMk/>
            <pc:sldMk cId="246935978" sldId="2571"/>
            <ac:graphicFrameMk id="6" creationId="{7D825B00-E688-B0F3-14A2-091926C576C5}"/>
          </ac:graphicFrameMkLst>
        </pc:graphicFrameChg>
        <pc:cxnChg chg="add mod ord replST">
          <ac:chgData name="Aurelien Domont" userId="6da7715ce44349b3" providerId="LiveId" clId="{8C97B853-E239-49C0-A36B-A3F2C855C3BA}" dt="2023-11-02T06:23:06.754" v="23345"/>
          <ac:cxnSpMkLst>
            <pc:docMk/>
            <pc:sldMk cId="246935978" sldId="2571"/>
            <ac:cxnSpMk id="16" creationId="{53808D8A-E5E2-8DBF-52DE-95D33C7FDFD7}"/>
          </ac:cxnSpMkLst>
        </pc:cxnChg>
        <pc:cxnChg chg="mod ord">
          <ac:chgData name="Aurelien Domont" userId="6da7715ce44349b3" providerId="LiveId" clId="{8C97B853-E239-49C0-A36B-A3F2C855C3BA}" dt="2023-11-02T06:23:06.802" v="23441"/>
          <ac:cxnSpMkLst>
            <pc:docMk/>
            <pc:sldMk cId="246935978" sldId="2571"/>
            <ac:cxnSpMk id="46" creationId="{7F496599-E28F-EA4C-142F-387F59B3016C}"/>
          </ac:cxnSpMkLst>
        </pc:cxnChg>
        <pc:cxnChg chg="mod ord">
          <ac:chgData name="Aurelien Domont" userId="6da7715ce44349b3" providerId="LiveId" clId="{8C97B853-E239-49C0-A36B-A3F2C855C3BA}" dt="2023-11-02T06:23:06.802" v="23431"/>
          <ac:cxnSpMkLst>
            <pc:docMk/>
            <pc:sldMk cId="246935978" sldId="2571"/>
            <ac:cxnSpMk id="49" creationId="{D8ED9592-6BAE-4DAD-A42A-689C9A2C3F5B}"/>
          </ac:cxnSpMkLst>
        </pc:cxnChg>
        <pc:cxnChg chg="mod ord">
          <ac:chgData name="Aurelien Domont" userId="6da7715ce44349b3" providerId="LiveId" clId="{8C97B853-E239-49C0-A36B-A3F2C855C3BA}" dt="2023-11-02T06:23:06.802" v="23433"/>
          <ac:cxnSpMkLst>
            <pc:docMk/>
            <pc:sldMk cId="246935978" sldId="2571"/>
            <ac:cxnSpMk id="50" creationId="{0BC71C6C-E029-4B7E-1065-A7828CEC719C}"/>
          </ac:cxnSpMkLst>
        </pc:cxnChg>
        <pc:cxnChg chg="mod ord">
          <ac:chgData name="Aurelien Domont" userId="6da7715ce44349b3" providerId="LiveId" clId="{8C97B853-E239-49C0-A36B-A3F2C855C3BA}" dt="2023-11-02T06:23:06.754" v="23329"/>
          <ac:cxnSpMkLst>
            <pc:docMk/>
            <pc:sldMk cId="246935978" sldId="2571"/>
            <ac:cxnSpMk id="51" creationId="{4898043C-DABF-87CD-A7A9-3D58CBA8308E}"/>
          </ac:cxnSpMkLst>
        </pc:cxnChg>
        <pc:cxnChg chg="mod ord">
          <ac:chgData name="Aurelien Domont" userId="6da7715ce44349b3" providerId="LiveId" clId="{8C97B853-E239-49C0-A36B-A3F2C855C3BA}" dt="2023-11-02T06:23:06.754" v="23347"/>
          <ac:cxnSpMkLst>
            <pc:docMk/>
            <pc:sldMk cId="246935978" sldId="2571"/>
            <ac:cxnSpMk id="52" creationId="{F87B7DAD-678C-5381-9B32-19AADC339A4C}"/>
          </ac:cxnSpMkLst>
        </pc:cxnChg>
        <pc:cxnChg chg="mod ord">
          <ac:chgData name="Aurelien Domont" userId="6da7715ce44349b3" providerId="LiveId" clId="{8C97B853-E239-49C0-A36B-A3F2C855C3BA}" dt="2023-11-02T06:23:06.786" v="23405"/>
          <ac:cxnSpMkLst>
            <pc:docMk/>
            <pc:sldMk cId="246935978" sldId="2571"/>
            <ac:cxnSpMk id="53" creationId="{FEA400F3-C33F-410A-8AF9-D2B82A4A05F0}"/>
          </ac:cxnSpMkLst>
        </pc:cxnChg>
        <pc:cxnChg chg="mod ord">
          <ac:chgData name="Aurelien Domont" userId="6da7715ce44349b3" providerId="LiveId" clId="{8C97B853-E239-49C0-A36B-A3F2C855C3BA}" dt="2023-11-02T06:23:06.786" v="23407"/>
          <ac:cxnSpMkLst>
            <pc:docMk/>
            <pc:sldMk cId="246935978" sldId="2571"/>
            <ac:cxnSpMk id="54" creationId="{A88E839F-80EC-05A7-9C6B-B8F5A272C254}"/>
          </ac:cxnSpMkLst>
        </pc:cxnChg>
        <pc:cxnChg chg="mod ord">
          <ac:chgData name="Aurelien Domont" userId="6da7715ce44349b3" providerId="LiveId" clId="{8C97B853-E239-49C0-A36B-A3F2C855C3BA}" dt="2023-11-02T06:23:06.786" v="23409"/>
          <ac:cxnSpMkLst>
            <pc:docMk/>
            <pc:sldMk cId="246935978" sldId="2571"/>
            <ac:cxnSpMk id="55" creationId="{C8F95FFC-DEB4-609B-8FA7-8B89C5629BE7}"/>
          </ac:cxnSpMkLst>
        </pc:cxnChg>
        <pc:cxnChg chg="mod ord">
          <ac:chgData name="Aurelien Domont" userId="6da7715ce44349b3" providerId="LiveId" clId="{8C97B853-E239-49C0-A36B-A3F2C855C3BA}" dt="2023-11-02T06:23:06.793" v="23411"/>
          <ac:cxnSpMkLst>
            <pc:docMk/>
            <pc:sldMk cId="246935978" sldId="2571"/>
            <ac:cxnSpMk id="56" creationId="{D579B1EA-52AD-7DA5-579F-75639D75FCE3}"/>
          </ac:cxnSpMkLst>
        </pc:cxnChg>
        <pc:cxnChg chg="mod ord">
          <ac:chgData name="Aurelien Domont" userId="6da7715ce44349b3" providerId="LiveId" clId="{8C97B853-E239-49C0-A36B-A3F2C855C3BA}" dt="2023-11-02T06:23:06.770" v="23367"/>
          <ac:cxnSpMkLst>
            <pc:docMk/>
            <pc:sldMk cId="246935978" sldId="2571"/>
            <ac:cxnSpMk id="57" creationId="{5321CE9A-144E-0282-7A3E-3390C0B3556C}"/>
          </ac:cxnSpMkLst>
        </pc:cxnChg>
        <pc:cxnChg chg="mod ord">
          <ac:chgData name="Aurelien Domont" userId="6da7715ce44349b3" providerId="LiveId" clId="{8C97B853-E239-49C0-A36B-A3F2C855C3BA}" dt="2023-11-02T06:23:06.770" v="23375"/>
          <ac:cxnSpMkLst>
            <pc:docMk/>
            <pc:sldMk cId="246935978" sldId="2571"/>
            <ac:cxnSpMk id="58" creationId="{3629630C-2B15-74CA-8043-C7A97263C42D}"/>
          </ac:cxnSpMkLst>
        </pc:cxnChg>
        <pc:cxnChg chg="mod ord">
          <ac:chgData name="Aurelien Domont" userId="6da7715ce44349b3" providerId="LiveId" clId="{8C97B853-E239-49C0-A36B-A3F2C855C3BA}" dt="2023-11-02T06:23:06.770" v="23359"/>
          <ac:cxnSpMkLst>
            <pc:docMk/>
            <pc:sldMk cId="246935978" sldId="2571"/>
            <ac:cxnSpMk id="59" creationId="{8A929C45-14A9-027E-92E4-7E3DA9DDA09E}"/>
          </ac:cxnSpMkLst>
        </pc:cxnChg>
        <pc:cxnChg chg="mod ord">
          <ac:chgData name="Aurelien Domont" userId="6da7715ce44349b3" providerId="LiveId" clId="{8C97B853-E239-49C0-A36B-A3F2C855C3BA}" dt="2023-11-02T06:23:06.786" v="23401"/>
          <ac:cxnSpMkLst>
            <pc:docMk/>
            <pc:sldMk cId="246935978" sldId="2571"/>
            <ac:cxnSpMk id="60" creationId="{96E77571-3B87-7473-098D-5FEA01D7010C}"/>
          </ac:cxnSpMkLst>
        </pc:cxnChg>
        <pc:cxnChg chg="mod ord">
          <ac:chgData name="Aurelien Domont" userId="6da7715ce44349b3" providerId="LiveId" clId="{8C97B853-E239-49C0-A36B-A3F2C855C3BA}" dt="2023-11-02T06:23:06.786" v="23399"/>
          <ac:cxnSpMkLst>
            <pc:docMk/>
            <pc:sldMk cId="246935978" sldId="2571"/>
            <ac:cxnSpMk id="61" creationId="{7D59262E-0217-EE8A-2DC0-575FC79DDE1B}"/>
          </ac:cxnSpMkLst>
        </pc:cxnChg>
        <pc:cxnChg chg="mod ord">
          <ac:chgData name="Aurelien Domont" userId="6da7715ce44349b3" providerId="LiveId" clId="{8C97B853-E239-49C0-A36B-A3F2C855C3BA}" dt="2023-11-02T06:23:06.786" v="23397"/>
          <ac:cxnSpMkLst>
            <pc:docMk/>
            <pc:sldMk cId="246935978" sldId="2571"/>
            <ac:cxnSpMk id="62" creationId="{45EEF42F-BC63-AC66-71F0-8420C642CD76}"/>
          </ac:cxnSpMkLst>
        </pc:cxnChg>
        <pc:cxnChg chg="mod ord">
          <ac:chgData name="Aurelien Domont" userId="6da7715ce44349b3" providerId="LiveId" clId="{8C97B853-E239-49C0-A36B-A3F2C855C3BA}" dt="2023-11-02T06:23:06.770" v="23387"/>
          <ac:cxnSpMkLst>
            <pc:docMk/>
            <pc:sldMk cId="246935978" sldId="2571"/>
            <ac:cxnSpMk id="64" creationId="{FBDD34E8-9FC4-1299-526C-C2F378C60F05}"/>
          </ac:cxnSpMkLst>
        </pc:cxnChg>
        <pc:cxnChg chg="mod ord">
          <ac:chgData name="Aurelien Domont" userId="6da7715ce44349b3" providerId="LiveId" clId="{8C97B853-E239-49C0-A36B-A3F2C855C3BA}" dt="2023-11-02T06:23:06.754" v="23339"/>
          <ac:cxnSpMkLst>
            <pc:docMk/>
            <pc:sldMk cId="246935978" sldId="2571"/>
            <ac:cxnSpMk id="65" creationId="{4B15BF1B-A2C2-CE8E-15BA-D19800FA9DA8}"/>
          </ac:cxnSpMkLst>
        </pc:cxnChg>
        <pc:cxnChg chg="mod ord">
          <ac:chgData name="Aurelien Domont" userId="6da7715ce44349b3" providerId="LiveId" clId="{8C97B853-E239-49C0-A36B-A3F2C855C3BA}" dt="2023-11-02T06:23:06.754" v="23341"/>
          <ac:cxnSpMkLst>
            <pc:docMk/>
            <pc:sldMk cId="246935978" sldId="2571"/>
            <ac:cxnSpMk id="66" creationId="{DED0A3AC-3DC7-8384-B5AF-4C11A1874FFB}"/>
          </ac:cxnSpMkLst>
        </pc:cxnChg>
        <pc:cxnChg chg="mod ord">
          <ac:chgData name="Aurelien Domont" userId="6da7715ce44349b3" providerId="LiveId" clId="{8C97B853-E239-49C0-A36B-A3F2C855C3BA}" dt="2023-11-02T06:23:06.754" v="23343"/>
          <ac:cxnSpMkLst>
            <pc:docMk/>
            <pc:sldMk cId="246935978" sldId="2571"/>
            <ac:cxnSpMk id="67" creationId="{C2B3A3E1-F922-C615-ABA8-F3A6EF8F8F6E}"/>
          </ac:cxnSpMkLst>
        </pc:cxnChg>
        <pc:cxnChg chg="mod ord">
          <ac:chgData name="Aurelien Domont" userId="6da7715ce44349b3" providerId="LiveId" clId="{8C97B853-E239-49C0-A36B-A3F2C855C3BA}" dt="2023-11-02T06:23:06.802" v="23443"/>
          <ac:cxnSpMkLst>
            <pc:docMk/>
            <pc:sldMk cId="246935978" sldId="2571"/>
            <ac:cxnSpMk id="68" creationId="{721A3061-5A70-0FA7-9D7D-DB9150517B95}"/>
          </ac:cxnSpMkLst>
        </pc:cxnChg>
        <pc:cxnChg chg="mod ord">
          <ac:chgData name="Aurelien Domont" userId="6da7715ce44349b3" providerId="LiveId" clId="{8C97B853-E239-49C0-A36B-A3F2C855C3BA}" dt="2023-11-02T06:23:06.802" v="23435"/>
          <ac:cxnSpMkLst>
            <pc:docMk/>
            <pc:sldMk cId="246935978" sldId="2571"/>
            <ac:cxnSpMk id="69" creationId="{BE323640-A9E9-C6AF-DDC5-4F709900F29E}"/>
          </ac:cxnSpMkLst>
        </pc:cxnChg>
        <pc:cxnChg chg="mod ord">
          <ac:chgData name="Aurelien Domont" userId="6da7715ce44349b3" providerId="LiveId" clId="{8C97B853-E239-49C0-A36B-A3F2C855C3BA}" dt="2023-11-02T06:23:06.754" v="23349"/>
          <ac:cxnSpMkLst>
            <pc:docMk/>
            <pc:sldMk cId="246935978" sldId="2571"/>
            <ac:cxnSpMk id="108" creationId="{82C56767-5ECB-EF21-7E48-37395CA9A233}"/>
          </ac:cxnSpMkLst>
        </pc:cxnChg>
        <pc:cxnChg chg="mod ord">
          <ac:chgData name="Aurelien Domont" userId="6da7715ce44349b3" providerId="LiveId" clId="{8C97B853-E239-49C0-A36B-A3F2C855C3BA}" dt="2023-11-02T06:23:06.754" v="23351"/>
          <ac:cxnSpMkLst>
            <pc:docMk/>
            <pc:sldMk cId="246935978" sldId="2571"/>
            <ac:cxnSpMk id="109" creationId="{208F7235-3A40-6470-64C6-D42BC839565B}"/>
          </ac:cxnSpMkLst>
        </pc:cxnChg>
        <pc:cxnChg chg="mod ord">
          <ac:chgData name="Aurelien Domont" userId="6da7715ce44349b3" providerId="LiveId" clId="{8C97B853-E239-49C0-A36B-A3F2C855C3BA}" dt="2023-11-02T06:23:06.754" v="23353"/>
          <ac:cxnSpMkLst>
            <pc:docMk/>
            <pc:sldMk cId="246935978" sldId="2571"/>
            <ac:cxnSpMk id="110" creationId="{A2D63D71-991B-2720-1E65-5ABC62E1F3D8}"/>
          </ac:cxnSpMkLst>
        </pc:cxnChg>
        <pc:cxnChg chg="mod ord">
          <ac:chgData name="Aurelien Domont" userId="6da7715ce44349b3" providerId="LiveId" clId="{8C97B853-E239-49C0-A36B-A3F2C855C3BA}" dt="2023-11-02T06:23:06.754" v="23331"/>
          <ac:cxnSpMkLst>
            <pc:docMk/>
            <pc:sldMk cId="246935978" sldId="2571"/>
            <ac:cxnSpMk id="111" creationId="{1F7F47F8-1B3C-BAE9-6873-0EFA1D6CB7BC}"/>
          </ac:cxnSpMkLst>
        </pc:cxnChg>
        <pc:cxnChg chg="mod ord">
          <ac:chgData name="Aurelien Domont" userId="6da7715ce44349b3" providerId="LiveId" clId="{8C97B853-E239-49C0-A36B-A3F2C855C3BA}" dt="2023-11-02T06:23:06.754" v="23333"/>
          <ac:cxnSpMkLst>
            <pc:docMk/>
            <pc:sldMk cId="246935978" sldId="2571"/>
            <ac:cxnSpMk id="112" creationId="{A500F036-C395-A3A7-DF03-A3BA3E79C092}"/>
          </ac:cxnSpMkLst>
        </pc:cxnChg>
        <pc:cxnChg chg="mod ord">
          <ac:chgData name="Aurelien Domont" userId="6da7715ce44349b3" providerId="LiveId" clId="{8C97B853-E239-49C0-A36B-A3F2C855C3BA}" dt="2023-11-02T06:23:06.754" v="23335"/>
          <ac:cxnSpMkLst>
            <pc:docMk/>
            <pc:sldMk cId="246935978" sldId="2571"/>
            <ac:cxnSpMk id="113" creationId="{323EFA93-FC8E-0BDC-6EBB-074203293D71}"/>
          </ac:cxnSpMkLst>
        </pc:cxnChg>
        <pc:cxnChg chg="mod ord">
          <ac:chgData name="Aurelien Domont" userId="6da7715ce44349b3" providerId="LiveId" clId="{8C97B853-E239-49C0-A36B-A3F2C855C3BA}" dt="2023-11-02T06:23:06.754" v="23337"/>
          <ac:cxnSpMkLst>
            <pc:docMk/>
            <pc:sldMk cId="246935978" sldId="2571"/>
            <ac:cxnSpMk id="114" creationId="{A7628132-77BE-5708-B419-EA8D6178C8DE}"/>
          </ac:cxnSpMkLst>
        </pc:cxnChg>
        <pc:cxnChg chg="mod ord">
          <ac:chgData name="Aurelien Domont" userId="6da7715ce44349b3" providerId="LiveId" clId="{8C97B853-E239-49C0-A36B-A3F2C855C3BA}" dt="2023-11-02T06:23:06.802" v="23429"/>
          <ac:cxnSpMkLst>
            <pc:docMk/>
            <pc:sldMk cId="246935978" sldId="2571"/>
            <ac:cxnSpMk id="115" creationId="{BAB81F75-B46F-1CAA-AB9E-1A634C0E583B}"/>
          </ac:cxnSpMkLst>
        </pc:cxnChg>
        <pc:cxnChg chg="mod ord">
          <ac:chgData name="Aurelien Domont" userId="6da7715ce44349b3" providerId="LiveId" clId="{8C97B853-E239-49C0-A36B-A3F2C855C3BA}" dt="2023-11-02T06:23:06.802" v="23427"/>
          <ac:cxnSpMkLst>
            <pc:docMk/>
            <pc:sldMk cId="246935978" sldId="2571"/>
            <ac:cxnSpMk id="116" creationId="{CD6BF3B7-4E82-8FA0-E818-7FD57868FA2B}"/>
          </ac:cxnSpMkLst>
        </pc:cxnChg>
        <pc:cxnChg chg="mod ord">
          <ac:chgData name="Aurelien Domont" userId="6da7715ce44349b3" providerId="LiveId" clId="{8C97B853-E239-49C0-A36B-A3F2C855C3BA}" dt="2023-11-02T06:23:06.786" v="23403"/>
          <ac:cxnSpMkLst>
            <pc:docMk/>
            <pc:sldMk cId="246935978" sldId="2571"/>
            <ac:cxnSpMk id="117" creationId="{0DD03539-16D6-F412-60DE-1BCF29092D6D}"/>
          </ac:cxnSpMkLst>
        </pc:cxnChg>
        <pc:cxnChg chg="mod ord">
          <ac:chgData name="Aurelien Domont" userId="6da7715ce44349b3" providerId="LiveId" clId="{8C97B853-E239-49C0-A36B-A3F2C855C3BA}" dt="2023-11-02T06:23:06.770" v="23393"/>
          <ac:cxnSpMkLst>
            <pc:docMk/>
            <pc:sldMk cId="246935978" sldId="2571"/>
            <ac:cxnSpMk id="118" creationId="{806802CA-71F4-82DA-76B2-703E50A0B0D9}"/>
          </ac:cxnSpMkLst>
        </pc:cxnChg>
        <pc:cxnChg chg="mod ord">
          <ac:chgData name="Aurelien Domont" userId="6da7715ce44349b3" providerId="LiveId" clId="{8C97B853-E239-49C0-A36B-A3F2C855C3BA}" dt="2023-11-02T06:23:06.770" v="23391"/>
          <ac:cxnSpMkLst>
            <pc:docMk/>
            <pc:sldMk cId="246935978" sldId="2571"/>
            <ac:cxnSpMk id="119" creationId="{B275B3E8-1036-F5DA-DBC3-A042AEE02F4B}"/>
          </ac:cxnSpMkLst>
        </pc:cxnChg>
        <pc:cxnChg chg="mod ord">
          <ac:chgData name="Aurelien Domont" userId="6da7715ce44349b3" providerId="LiveId" clId="{8C97B853-E239-49C0-A36B-A3F2C855C3BA}" dt="2023-11-02T06:23:06.770" v="23389"/>
          <ac:cxnSpMkLst>
            <pc:docMk/>
            <pc:sldMk cId="246935978" sldId="2571"/>
            <ac:cxnSpMk id="120" creationId="{D00DADBC-725A-B0B1-289C-BC47D9D28D9E}"/>
          </ac:cxnSpMkLst>
        </pc:cxnChg>
        <pc:cxnChg chg="mod ord">
          <ac:chgData name="Aurelien Domont" userId="6da7715ce44349b3" providerId="LiveId" clId="{8C97B853-E239-49C0-A36B-A3F2C855C3BA}" dt="2023-11-02T06:23:06.770" v="23385"/>
          <ac:cxnSpMkLst>
            <pc:docMk/>
            <pc:sldMk cId="246935978" sldId="2571"/>
            <ac:cxnSpMk id="122" creationId="{BC5A8AEE-47A4-B356-1F5C-9524B2A78411}"/>
          </ac:cxnSpMkLst>
        </pc:cxnChg>
        <pc:cxnChg chg="mod ord">
          <ac:chgData name="Aurelien Domont" userId="6da7715ce44349b3" providerId="LiveId" clId="{8C97B853-E239-49C0-A36B-A3F2C855C3BA}" dt="2023-11-02T06:23:06.770" v="23383"/>
          <ac:cxnSpMkLst>
            <pc:docMk/>
            <pc:sldMk cId="246935978" sldId="2571"/>
            <ac:cxnSpMk id="123" creationId="{29CE7E3D-362F-96B1-EA1E-067967EC7088}"/>
          </ac:cxnSpMkLst>
        </pc:cxnChg>
        <pc:cxnChg chg="mod ord">
          <ac:chgData name="Aurelien Domont" userId="6da7715ce44349b3" providerId="LiveId" clId="{8C97B853-E239-49C0-A36B-A3F2C855C3BA}" dt="2023-11-02T06:23:06.770" v="23381"/>
          <ac:cxnSpMkLst>
            <pc:docMk/>
            <pc:sldMk cId="246935978" sldId="2571"/>
            <ac:cxnSpMk id="124" creationId="{5046106E-5AD0-5EF5-8D9C-C8531D8EC4C6}"/>
          </ac:cxnSpMkLst>
        </pc:cxnChg>
        <pc:cxnChg chg="mod ord">
          <ac:chgData name="Aurelien Domont" userId="6da7715ce44349b3" providerId="LiveId" clId="{8C97B853-E239-49C0-A36B-A3F2C855C3BA}" dt="2023-11-02T06:23:06.793" v="23419"/>
          <ac:cxnSpMkLst>
            <pc:docMk/>
            <pc:sldMk cId="246935978" sldId="2571"/>
            <ac:cxnSpMk id="125" creationId="{5CAD438E-60C1-8758-88DE-852B29848463}"/>
          </ac:cxnSpMkLst>
        </pc:cxnChg>
        <pc:cxnChg chg="mod ord">
          <ac:chgData name="Aurelien Domont" userId="6da7715ce44349b3" providerId="LiveId" clId="{8C97B853-E239-49C0-A36B-A3F2C855C3BA}" dt="2023-11-02T06:23:06.770" v="23379"/>
          <ac:cxnSpMkLst>
            <pc:docMk/>
            <pc:sldMk cId="246935978" sldId="2571"/>
            <ac:cxnSpMk id="126" creationId="{025EAE3C-E716-4FF8-7DC0-AF6423877854}"/>
          </ac:cxnSpMkLst>
        </pc:cxnChg>
        <pc:cxnChg chg="mod ord">
          <ac:chgData name="Aurelien Domont" userId="6da7715ce44349b3" providerId="LiveId" clId="{8C97B853-E239-49C0-A36B-A3F2C855C3BA}" dt="2023-11-02T06:23:06.770" v="23377"/>
          <ac:cxnSpMkLst>
            <pc:docMk/>
            <pc:sldMk cId="246935978" sldId="2571"/>
            <ac:cxnSpMk id="127" creationId="{CD4A52A8-1A40-E107-FBD0-60D28DDAA132}"/>
          </ac:cxnSpMkLst>
        </pc:cxnChg>
        <pc:cxnChg chg="mod ord">
          <ac:chgData name="Aurelien Domont" userId="6da7715ce44349b3" providerId="LiveId" clId="{8C97B853-E239-49C0-A36B-A3F2C855C3BA}" dt="2023-11-02T06:23:06.770" v="23373"/>
          <ac:cxnSpMkLst>
            <pc:docMk/>
            <pc:sldMk cId="246935978" sldId="2571"/>
            <ac:cxnSpMk id="128" creationId="{2A3214F8-C344-240B-92E4-3049233EBFDC}"/>
          </ac:cxnSpMkLst>
        </pc:cxnChg>
        <pc:cxnChg chg="mod ord">
          <ac:chgData name="Aurelien Domont" userId="6da7715ce44349b3" providerId="LiveId" clId="{8C97B853-E239-49C0-A36B-A3F2C855C3BA}" dt="2023-11-02T06:23:06.770" v="23371"/>
          <ac:cxnSpMkLst>
            <pc:docMk/>
            <pc:sldMk cId="246935978" sldId="2571"/>
            <ac:cxnSpMk id="129" creationId="{1C6F1F41-A881-EEB5-9093-72F80A16048D}"/>
          </ac:cxnSpMkLst>
        </pc:cxnChg>
        <pc:cxnChg chg="mod ord">
          <ac:chgData name="Aurelien Domont" userId="6da7715ce44349b3" providerId="LiveId" clId="{8C97B853-E239-49C0-A36B-A3F2C855C3BA}" dt="2023-11-02T06:23:06.770" v="23369"/>
          <ac:cxnSpMkLst>
            <pc:docMk/>
            <pc:sldMk cId="246935978" sldId="2571"/>
            <ac:cxnSpMk id="130" creationId="{22E67F36-30DC-48EC-0F74-20C02D8671CF}"/>
          </ac:cxnSpMkLst>
        </pc:cxnChg>
        <pc:cxnChg chg="mod ord">
          <ac:chgData name="Aurelien Domont" userId="6da7715ce44349b3" providerId="LiveId" clId="{8C97B853-E239-49C0-A36B-A3F2C855C3BA}" dt="2023-11-02T06:23:06.770" v="23365"/>
          <ac:cxnSpMkLst>
            <pc:docMk/>
            <pc:sldMk cId="246935978" sldId="2571"/>
            <ac:cxnSpMk id="131" creationId="{E458D9E1-83D1-BBCE-2592-DFA46DF02E11}"/>
          </ac:cxnSpMkLst>
        </pc:cxnChg>
        <pc:cxnChg chg="mod ord">
          <ac:chgData name="Aurelien Domont" userId="6da7715ce44349b3" providerId="LiveId" clId="{8C97B853-E239-49C0-A36B-A3F2C855C3BA}" dt="2023-11-02T06:23:06.770" v="23363"/>
          <ac:cxnSpMkLst>
            <pc:docMk/>
            <pc:sldMk cId="246935978" sldId="2571"/>
            <ac:cxnSpMk id="132" creationId="{6156C1EB-6D77-3E33-1862-BFD8B7D71BD0}"/>
          </ac:cxnSpMkLst>
        </pc:cxnChg>
        <pc:cxnChg chg="mod ord">
          <ac:chgData name="Aurelien Domont" userId="6da7715ce44349b3" providerId="LiveId" clId="{8C97B853-E239-49C0-A36B-A3F2C855C3BA}" dt="2023-11-02T06:23:06.770" v="23361"/>
          <ac:cxnSpMkLst>
            <pc:docMk/>
            <pc:sldMk cId="246935978" sldId="2571"/>
            <ac:cxnSpMk id="133" creationId="{F6EBD513-02AB-27C7-94D5-B9EA34948049}"/>
          </ac:cxnSpMkLst>
        </pc:cxnChg>
        <pc:cxnChg chg="mod ord">
          <ac:chgData name="Aurelien Domont" userId="6da7715ce44349b3" providerId="LiveId" clId="{8C97B853-E239-49C0-A36B-A3F2C855C3BA}" dt="2023-11-02T06:23:06.754" v="23357"/>
          <ac:cxnSpMkLst>
            <pc:docMk/>
            <pc:sldMk cId="246935978" sldId="2571"/>
            <ac:cxnSpMk id="134" creationId="{308AE22C-1AF3-8952-DBB6-A97A6817D1F3}"/>
          </ac:cxnSpMkLst>
        </pc:cxnChg>
        <pc:cxnChg chg="mod ord">
          <ac:chgData name="Aurelien Domont" userId="6da7715ce44349b3" providerId="LiveId" clId="{8C97B853-E239-49C0-A36B-A3F2C855C3BA}" dt="2023-11-02T06:23:06.754" v="23355"/>
          <ac:cxnSpMkLst>
            <pc:docMk/>
            <pc:sldMk cId="246935978" sldId="2571"/>
            <ac:cxnSpMk id="135" creationId="{390C207D-93CD-34AB-8546-1E98A783033E}"/>
          </ac:cxnSpMkLst>
        </pc:cxnChg>
        <pc:cxnChg chg="mod ord">
          <ac:chgData name="Aurelien Domont" userId="6da7715ce44349b3" providerId="LiveId" clId="{8C97B853-E239-49C0-A36B-A3F2C855C3BA}" dt="2023-11-02T06:23:06.793" v="23413"/>
          <ac:cxnSpMkLst>
            <pc:docMk/>
            <pc:sldMk cId="246935978" sldId="2571"/>
            <ac:cxnSpMk id="136" creationId="{272A24D6-BDE2-DA5A-D60D-7FECE837FE09}"/>
          </ac:cxnSpMkLst>
        </pc:cxnChg>
        <pc:cxnChg chg="mod ord">
          <ac:chgData name="Aurelien Domont" userId="6da7715ce44349b3" providerId="LiveId" clId="{8C97B853-E239-49C0-A36B-A3F2C855C3BA}" dt="2023-11-02T06:23:06.793" v="23415"/>
          <ac:cxnSpMkLst>
            <pc:docMk/>
            <pc:sldMk cId="246935978" sldId="2571"/>
            <ac:cxnSpMk id="137" creationId="{EEEC9B86-B6D0-8BE1-F5C9-EB75369619F0}"/>
          </ac:cxnSpMkLst>
        </pc:cxnChg>
        <pc:cxnChg chg="mod ord">
          <ac:chgData name="Aurelien Domont" userId="6da7715ce44349b3" providerId="LiveId" clId="{8C97B853-E239-49C0-A36B-A3F2C855C3BA}" dt="2023-11-02T06:23:06.793" v="23417"/>
          <ac:cxnSpMkLst>
            <pc:docMk/>
            <pc:sldMk cId="246935978" sldId="2571"/>
            <ac:cxnSpMk id="138" creationId="{C16FE402-180F-F6A0-009C-9079B526FC20}"/>
          </ac:cxnSpMkLst>
        </pc:cxnChg>
        <pc:cxnChg chg="mod ord">
          <ac:chgData name="Aurelien Domont" userId="6da7715ce44349b3" providerId="LiveId" clId="{8C97B853-E239-49C0-A36B-A3F2C855C3BA}" dt="2023-11-02T06:23:06.786" v="23395"/>
          <ac:cxnSpMkLst>
            <pc:docMk/>
            <pc:sldMk cId="246935978" sldId="2571"/>
            <ac:cxnSpMk id="139" creationId="{C3DDBD9A-3583-9BC4-E3AA-F37ADB3EBD90}"/>
          </ac:cxnSpMkLst>
        </pc:cxnChg>
        <pc:cxnChg chg="mod ord">
          <ac:chgData name="Aurelien Domont" userId="6da7715ce44349b3" providerId="LiveId" clId="{8C97B853-E239-49C0-A36B-A3F2C855C3BA}" dt="2023-11-02T06:23:06.793" v="23421"/>
          <ac:cxnSpMkLst>
            <pc:docMk/>
            <pc:sldMk cId="246935978" sldId="2571"/>
            <ac:cxnSpMk id="140" creationId="{64338E10-88DD-EE99-2051-EF1C80EE1D83}"/>
          </ac:cxnSpMkLst>
        </pc:cxnChg>
        <pc:cxnChg chg="mod ord">
          <ac:chgData name="Aurelien Domont" userId="6da7715ce44349b3" providerId="LiveId" clId="{8C97B853-E239-49C0-A36B-A3F2C855C3BA}" dt="2023-11-02T06:23:06.802" v="23423"/>
          <ac:cxnSpMkLst>
            <pc:docMk/>
            <pc:sldMk cId="246935978" sldId="2571"/>
            <ac:cxnSpMk id="141" creationId="{D75BFC10-5614-3D5E-3143-A66246D04E0C}"/>
          </ac:cxnSpMkLst>
        </pc:cxnChg>
        <pc:cxnChg chg="mod ord">
          <ac:chgData name="Aurelien Domont" userId="6da7715ce44349b3" providerId="LiveId" clId="{8C97B853-E239-49C0-A36B-A3F2C855C3BA}" dt="2023-11-02T06:23:06.802" v="23425"/>
          <ac:cxnSpMkLst>
            <pc:docMk/>
            <pc:sldMk cId="246935978" sldId="2571"/>
            <ac:cxnSpMk id="142" creationId="{4D54F097-D1DD-55A1-5FF9-48F50C76FE20}"/>
          </ac:cxnSpMkLst>
        </pc:cxnChg>
        <pc:cxnChg chg="mod ord">
          <ac:chgData name="Aurelien Domont" userId="6da7715ce44349b3" providerId="LiveId" clId="{8C97B853-E239-49C0-A36B-A3F2C855C3BA}" dt="2023-11-02T06:23:06.802" v="23437"/>
          <ac:cxnSpMkLst>
            <pc:docMk/>
            <pc:sldMk cId="246935978" sldId="2571"/>
            <ac:cxnSpMk id="158" creationId="{BD71468E-AA0B-56A5-3FA2-CD12B67E5009}"/>
          </ac:cxnSpMkLst>
        </pc:cxnChg>
        <pc:cxnChg chg="mod ord">
          <ac:chgData name="Aurelien Domont" userId="6da7715ce44349b3" providerId="LiveId" clId="{8C97B853-E239-49C0-A36B-A3F2C855C3BA}" dt="2023-11-02T06:23:06.802" v="23439"/>
          <ac:cxnSpMkLst>
            <pc:docMk/>
            <pc:sldMk cId="246935978" sldId="2571"/>
            <ac:cxnSpMk id="164" creationId="{AF6BF33A-8C7A-806D-8D56-4AEB163D913A}"/>
          </ac:cxnSpMkLst>
        </pc:cxn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4243464569" sldId="2571"/>
        </pc:sldMkLst>
      </pc:sldChg>
      <pc:sldChg chg="modSp add mod">
        <pc:chgData name="Aurelien Domont" userId="6da7715ce44349b3" providerId="LiveId" clId="{8C97B853-E239-49C0-A36B-A3F2C855C3BA}" dt="2023-11-02T06:30:53.443" v="23511" actId="207"/>
        <pc:sldMkLst>
          <pc:docMk/>
          <pc:sldMk cId="2657703967" sldId="2572"/>
        </pc:sldMkLst>
        <pc:spChg chg="mod">
          <ac:chgData name="Aurelien Domont" userId="6da7715ce44349b3" providerId="LiveId" clId="{8C97B853-E239-49C0-A36B-A3F2C855C3BA}" dt="2023-11-02T06:30:53.443" v="23511" actId="207"/>
          <ac:spMkLst>
            <pc:docMk/>
            <pc:sldMk cId="2657703967" sldId="2572"/>
            <ac:spMk id="3" creationId="{7BC2ED5B-4F72-AE2F-0909-83D57A7256AA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094821979" sldId="2572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47547206" sldId="2573"/>
        </pc:sldMkLst>
      </pc:sldChg>
      <pc:sldChg chg="add del">
        <pc:chgData name="Aurelien Domont" userId="6da7715ce44349b3" providerId="LiveId" clId="{8C97B853-E239-49C0-A36B-A3F2C855C3BA}" dt="2023-11-02T06:38:45.876" v="23651" actId="47"/>
        <pc:sldMkLst>
          <pc:docMk/>
          <pc:sldMk cId="3171144837" sldId="2573"/>
        </pc:sldMkLst>
      </pc:sldChg>
      <pc:sldChg chg="modSp add del mod">
        <pc:chgData name="Aurelien Domont" userId="6da7715ce44349b3" providerId="LiveId" clId="{8C97B853-E239-49C0-A36B-A3F2C855C3BA}" dt="2023-11-02T23:31:24.588" v="24295" actId="47"/>
        <pc:sldMkLst>
          <pc:docMk/>
          <pc:sldMk cId="3562272994" sldId="2573"/>
        </pc:sldMkLst>
        <pc:spChg chg="mod">
          <ac:chgData name="Aurelien Domont" userId="6da7715ce44349b3" providerId="LiveId" clId="{8C97B853-E239-49C0-A36B-A3F2C855C3BA}" dt="2023-11-02T06:42:57.230" v="23661" actId="207"/>
          <ac:spMkLst>
            <pc:docMk/>
            <pc:sldMk cId="3562272994" sldId="2573"/>
            <ac:spMk id="3" creationId="{7BC2ED5B-4F72-AE2F-0909-83D57A7256AA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585608467" sldId="2574"/>
        </pc:sldMkLst>
      </pc:sldChg>
      <pc:sldChg chg="modSp add mod modClrScheme chgLayout">
        <pc:chgData name="Aurelien Domont" userId="6da7715ce44349b3" providerId="LiveId" clId="{8C97B853-E239-49C0-A36B-A3F2C855C3BA}" dt="2023-11-02T06:44:42.753" v="23664"/>
        <pc:sldMkLst>
          <pc:docMk/>
          <pc:sldMk cId="3290492658" sldId="2574"/>
        </pc:sldMkLst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290492658" sldId="2574"/>
            <ac:spMk id="16" creationId="{6C2BB713-9637-4B9B-938F-E9768876782A}"/>
          </ac:spMkLst>
        </pc:spChg>
        <pc:spChg chg="mod ord">
          <ac:chgData name="Aurelien Domont" userId="6da7715ce44349b3" providerId="LiveId" clId="{8C97B853-E239-49C0-A36B-A3F2C855C3BA}" dt="2023-11-02T06:44:42.753" v="23664"/>
          <ac:spMkLst>
            <pc:docMk/>
            <pc:sldMk cId="3290492658" sldId="2574"/>
            <ac:spMk id="58" creationId="{627A0841-19A0-401D-BB78-0D55F0795362}"/>
          </ac:spMkLst>
        </pc:spChg>
      </pc:sldChg>
      <pc:sldChg chg="addSp delSp modSp add mod">
        <pc:chgData name="Aurelien Domont" userId="6da7715ce44349b3" providerId="LiveId" clId="{8C97B853-E239-49C0-A36B-A3F2C855C3BA}" dt="2023-11-02T23:55:19.780" v="33999"/>
        <pc:sldMkLst>
          <pc:docMk/>
          <pc:sldMk cId="492701164" sldId="2575"/>
        </pc:sldMkLst>
        <pc:spChg chg="mod">
          <ac:chgData name="Aurelien Domont" userId="6da7715ce44349b3" providerId="LiveId" clId="{8C97B853-E239-49C0-A36B-A3F2C855C3BA}" dt="2023-11-02T23:53:24.245" v="33921" actId="207"/>
          <ac:spMkLst>
            <pc:docMk/>
            <pc:sldMk cId="492701164" sldId="2575"/>
            <ac:spMk id="3" creationId="{7BC2ED5B-4F72-AE2F-0909-83D57A7256AA}"/>
          </ac:spMkLst>
        </pc:spChg>
        <pc:spChg chg="add del mod modVis">
          <ac:chgData name="Aurelien Domont" userId="6da7715ce44349b3" providerId="LiveId" clId="{8C97B853-E239-49C0-A36B-A3F2C855C3BA}" dt="2023-11-02T23:55:19.780" v="33999"/>
          <ac:spMkLst>
            <pc:docMk/>
            <pc:sldMk cId="492701164" sldId="2575"/>
            <ac:spMk id="24" creationId="{BB748C70-9BFD-60A7-79AF-E93F04454A6C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245856470" sldId="2575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11538208" sldId="2576"/>
        </pc:sldMkLst>
      </pc:sldChg>
      <pc:sldChg chg="addSp delSp modSp new add del mod">
        <pc:chgData name="Aurelien Domont" userId="6da7715ce44349b3" providerId="LiveId" clId="{8C97B853-E239-49C0-A36B-A3F2C855C3BA}" dt="2023-11-02T23:31:41.306" v="24298" actId="2696"/>
        <pc:sldMkLst>
          <pc:docMk/>
          <pc:sldMk cId="1958855722" sldId="2576"/>
        </pc:sldMkLst>
        <pc:spChg chg="mod">
          <ac:chgData name="Aurelien Domont" userId="6da7715ce44349b3" providerId="LiveId" clId="{8C97B853-E239-49C0-A36B-A3F2C855C3BA}" dt="2023-11-02T06:51:12.917" v="23843" actId="948"/>
          <ac:spMkLst>
            <pc:docMk/>
            <pc:sldMk cId="1958855722" sldId="2576"/>
            <ac:spMk id="2" creationId="{CBE418EF-11DB-1047-ED86-93F471E3083F}"/>
          </ac:spMkLst>
        </pc:spChg>
        <pc:spChg chg="add del mod modVis">
          <ac:chgData name="Aurelien Domont" userId="6da7715ce44349b3" providerId="LiveId" clId="{8C97B853-E239-49C0-A36B-A3F2C855C3BA}" dt="2023-11-02T06:51:12.948" v="23868"/>
          <ac:spMkLst>
            <pc:docMk/>
            <pc:sldMk cId="1958855722" sldId="2576"/>
            <ac:spMk id="5" creationId="{F1ADC3E7-AA92-D428-0EE6-4E49A57F42B1}"/>
          </ac:spMkLst>
        </pc:spChg>
        <pc:spChg chg="add mod">
          <ac:chgData name="Aurelien Domont" userId="6da7715ce44349b3" providerId="LiveId" clId="{8C97B853-E239-49C0-A36B-A3F2C855C3BA}" dt="2023-11-02T06:51:26.344" v="23894" actId="20577"/>
          <ac:spMkLst>
            <pc:docMk/>
            <pc:sldMk cId="1958855722" sldId="2576"/>
            <ac:spMk id="7" creationId="{74835C1F-E7CF-C9CB-0324-FEC2795999C5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8" creationId="{7DCE9C2C-854D-757B-E654-66BE1986C195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9" creationId="{F1770E3A-1D6F-F45C-0CFF-4254C3349D38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10" creationId="{BF0582E1-F63C-73C5-CFE2-8F7EA4A45872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11" creationId="{AC37531C-9039-32E9-9A55-D7791C78EAE5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12" creationId="{F66DAD19-54AB-400D-F439-190A7031EDD6}"/>
          </ac:spMkLst>
        </pc:spChg>
        <pc:spChg chg="add mod">
          <ac:chgData name="Aurelien Domont" userId="6da7715ce44349b3" providerId="LiveId" clId="{8C97B853-E239-49C0-A36B-A3F2C855C3BA}" dt="2023-11-02T06:51:57.428" v="23902" actId="207"/>
          <ac:spMkLst>
            <pc:docMk/>
            <pc:sldMk cId="1958855722" sldId="2576"/>
            <ac:spMk id="13" creationId="{9DE0D23D-DAED-6F3F-CF52-FE01F8242DC1}"/>
          </ac:spMkLst>
        </pc:spChg>
        <pc:spChg chg="add mod">
          <ac:chgData name="Aurelien Domont" userId="6da7715ce44349b3" providerId="LiveId" clId="{8C97B853-E239-49C0-A36B-A3F2C855C3BA}" dt="2023-11-02T06:51:57.428" v="23902" actId="207"/>
          <ac:spMkLst>
            <pc:docMk/>
            <pc:sldMk cId="1958855722" sldId="2576"/>
            <ac:spMk id="14" creationId="{183ADCD0-D0EF-C538-334B-1454EC4F40B4}"/>
          </ac:spMkLst>
        </pc:spChg>
        <pc:spChg chg="add mod">
          <ac:chgData name="Aurelien Domont" userId="6da7715ce44349b3" providerId="LiveId" clId="{8C97B853-E239-49C0-A36B-A3F2C855C3BA}" dt="2023-11-02T06:51:57.428" v="23902" actId="207"/>
          <ac:spMkLst>
            <pc:docMk/>
            <pc:sldMk cId="1958855722" sldId="2576"/>
            <ac:spMk id="15" creationId="{D9F1C426-C10D-84BD-DC1D-AFBF2C955DB9}"/>
          </ac:spMkLst>
        </pc:spChg>
        <pc:spChg chg="add mod">
          <ac:chgData name="Aurelien Domont" userId="6da7715ce44349b3" providerId="LiveId" clId="{8C97B853-E239-49C0-A36B-A3F2C855C3BA}" dt="2023-11-02T06:51:57.428" v="23902" actId="207"/>
          <ac:spMkLst>
            <pc:docMk/>
            <pc:sldMk cId="1958855722" sldId="2576"/>
            <ac:spMk id="16" creationId="{19C8CBE6-E66D-F9FB-F4D9-CEBD18928E64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17" creationId="{40799A2D-BB90-8401-9DDD-0CCA70C46777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18" creationId="{9CEBFAA3-109E-B905-AACF-357FD72E21BD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19" creationId="{3B16DFDE-B954-B67D-BB67-8EB6E68D2DFE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20" creationId="{4E1934F9-346B-611D-4C58-E1977616D391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21" creationId="{74D55911-3B65-1CCC-BDB8-1055CEC1FEED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22" creationId="{FCFF677C-9D76-DC61-3549-F34C6DEC4671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23" creationId="{262839BA-00DD-1907-2452-D2AE83A3073E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24" creationId="{B25D957C-C6A7-410E-7EA0-A9BB2CD4014A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25" creationId="{9A257A8C-C120-D359-8700-09B316B16C7C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26" creationId="{C27FAF0B-7786-21AE-F221-7139537CF458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27" creationId="{D0CE896B-4ECE-100D-A51C-4B7AF2235827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28" creationId="{079CE0B8-585A-0CAC-4FD9-34897812A7BD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29" creationId="{9690B689-F9A3-ABEF-422C-0A4FA2C9F1DE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30" creationId="{824381AD-2938-92D3-0BFC-134C694BD3D7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31" creationId="{C5EC9B0A-5296-F30C-AE14-6173EAA16398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32" creationId="{A3E241A8-C1A4-9051-C625-C670DC2B407E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33" creationId="{8BD60616-B423-0568-47E0-56B988D990ED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34" creationId="{8F20CB52-5BF0-E774-B851-0B82E9AF4BCF}"/>
          </ac:spMkLst>
        </pc:spChg>
        <pc:spChg chg="add del mod">
          <ac:chgData name="Aurelien Domont" userId="6da7715ce44349b3" providerId="LiveId" clId="{8C97B853-E239-49C0-A36B-A3F2C855C3BA}" dt="2023-11-02T07:00:11.387" v="24135" actId="478"/>
          <ac:spMkLst>
            <pc:docMk/>
            <pc:sldMk cId="1958855722" sldId="2576"/>
            <ac:spMk id="35" creationId="{C0AE94F3-3C6D-971B-1109-BF821BD48103}"/>
          </ac:spMkLst>
        </pc:spChg>
        <pc:spChg chg="add del mod">
          <ac:chgData name="Aurelien Domont" userId="6da7715ce44349b3" providerId="LiveId" clId="{8C97B853-E239-49C0-A36B-A3F2C855C3BA}" dt="2023-11-02T07:00:11.387" v="24135" actId="478"/>
          <ac:spMkLst>
            <pc:docMk/>
            <pc:sldMk cId="1958855722" sldId="2576"/>
            <ac:spMk id="36" creationId="{8632E2A5-6D1B-847D-3FA0-CAEC8BD79B16}"/>
          </ac:spMkLst>
        </pc:spChg>
        <pc:spChg chg="add del mod">
          <ac:chgData name="Aurelien Domont" userId="6da7715ce44349b3" providerId="LiveId" clId="{8C97B853-E239-49C0-A36B-A3F2C855C3BA}" dt="2023-11-02T07:00:11.387" v="24135" actId="478"/>
          <ac:spMkLst>
            <pc:docMk/>
            <pc:sldMk cId="1958855722" sldId="2576"/>
            <ac:spMk id="37" creationId="{E9C27E7C-9D32-CE7E-7986-CE88A2956420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38" creationId="{2ACC57B8-B2E2-5368-318C-6A30A6C566FE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39" creationId="{5E49D7B9-7DD1-B255-85EB-2968A47E54BB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40" creationId="{8831EE3A-909A-D4A2-F349-439C77D00307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41" creationId="{FD52D9F2-FC9D-7273-BA9C-23D046B767DD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42" creationId="{900C4268-9C25-F071-4F9A-09940EB18EED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43" creationId="{7BA6C39C-7F6F-8006-F6FA-D81B6E2EA09A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44" creationId="{3AF29C96-DCF6-2A48-BF25-6EA256B1595E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45" creationId="{08A856EE-3C2A-5627-A1FF-399CB6E27FF7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46" creationId="{31317F1E-8515-28C8-1564-E20947E47DF1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47" creationId="{3A774EB3-1F1A-9314-8606-FA6FC967602C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48" creationId="{DB2C689F-1EA7-3CFD-E972-D1F85C6C80F2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49" creationId="{BA12F7F4-6E01-56A4-09AD-6DD68ADC9446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50" creationId="{532E4DCC-CCFA-FA10-4892-8430CF6D5FF2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51" creationId="{C7009B16-9065-7209-F938-79055BBBA333}"/>
          </ac:spMkLst>
        </pc:spChg>
        <pc:spChg chg="add mod">
          <ac:chgData name="Aurelien Domont" userId="6da7715ce44349b3" providerId="LiveId" clId="{8C97B853-E239-49C0-A36B-A3F2C855C3BA}" dt="2023-11-02T06:51:49.864" v="23901"/>
          <ac:spMkLst>
            <pc:docMk/>
            <pc:sldMk cId="1958855722" sldId="2576"/>
            <ac:spMk id="52" creationId="{8E20F414-04FF-F74B-BC9A-D2F917C2A23E}"/>
          </ac:spMkLst>
        </pc:spChg>
        <pc:spChg chg="add mod">
          <ac:chgData name="Aurelien Domont" userId="6da7715ce44349b3" providerId="LiveId" clId="{8C97B853-E239-49C0-A36B-A3F2C855C3BA}" dt="2023-11-02T07:00:11.685" v="24136"/>
          <ac:spMkLst>
            <pc:docMk/>
            <pc:sldMk cId="1958855722" sldId="2576"/>
            <ac:spMk id="53" creationId="{49309E6A-833E-6DB7-CE9E-D5B659533B19}"/>
          </ac:spMkLst>
        </pc:spChg>
        <pc:spChg chg="add mod">
          <ac:chgData name="Aurelien Domont" userId="6da7715ce44349b3" providerId="LiveId" clId="{8C97B853-E239-49C0-A36B-A3F2C855C3BA}" dt="2023-11-02T07:00:11.685" v="24136"/>
          <ac:spMkLst>
            <pc:docMk/>
            <pc:sldMk cId="1958855722" sldId="2576"/>
            <ac:spMk id="54" creationId="{5FF558B3-10B1-2333-D29A-056853E2D990}"/>
          </ac:spMkLst>
        </pc:spChg>
        <pc:spChg chg="add mod">
          <ac:chgData name="Aurelien Domont" userId="6da7715ce44349b3" providerId="LiveId" clId="{8C97B853-E239-49C0-A36B-A3F2C855C3BA}" dt="2023-11-02T07:00:11.685" v="24136"/>
          <ac:spMkLst>
            <pc:docMk/>
            <pc:sldMk cId="1958855722" sldId="2576"/>
            <ac:spMk id="55" creationId="{42CA3076-39F5-3F89-50AA-39596EB406A6}"/>
          </ac:spMkLst>
        </pc:spChg>
        <pc:graphicFrameChg chg="add mod ord modVis replST">
          <ac:chgData name="Aurelien Domont" userId="6da7715ce44349b3" providerId="LiveId" clId="{8C97B853-E239-49C0-A36B-A3F2C855C3BA}" dt="2023-11-02T06:51:12.980" v="23883"/>
          <ac:graphicFrameMkLst>
            <pc:docMk/>
            <pc:sldMk cId="1958855722" sldId="2576"/>
            <ac:graphicFrameMk id="6" creationId="{D5F8606D-2ABE-6BE3-C950-51E100B74379}"/>
          </ac:graphicFrameMkLst>
        </pc:graphicFrameChg>
      </pc:sldChg>
      <pc:sldChg chg="add">
        <pc:chgData name="Aurelien Domont" userId="6da7715ce44349b3" providerId="LiveId" clId="{8C97B853-E239-49C0-A36B-A3F2C855C3BA}" dt="2023-11-02T23:31:48.570" v="24299"/>
        <pc:sldMkLst>
          <pc:docMk/>
          <pc:sldMk cId="4238369639" sldId="2576"/>
        </pc:sldMkLst>
      </pc:sldChg>
      <pc:sldChg chg="add">
        <pc:chgData name="Aurelien Domont" userId="6da7715ce44349b3" providerId="LiveId" clId="{8C97B853-E239-49C0-A36B-A3F2C855C3BA}" dt="2023-11-02T23:31:48.570" v="24299"/>
        <pc:sldMkLst>
          <pc:docMk/>
          <pc:sldMk cId="2327507526" sldId="2577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661748107" sldId="2577"/>
        </pc:sldMkLst>
      </pc:sldChg>
      <pc:sldChg chg="addSp delSp modSp add del mod">
        <pc:chgData name="Aurelien Domont" userId="6da7715ce44349b3" providerId="LiveId" clId="{8C97B853-E239-49C0-A36B-A3F2C855C3BA}" dt="2023-11-02T23:31:41.306" v="24298" actId="2696"/>
        <pc:sldMkLst>
          <pc:docMk/>
          <pc:sldMk cId="4276112069" sldId="2577"/>
        </pc:sldMkLst>
        <pc:spChg chg="add mod">
          <ac:chgData name="Aurelien Domont" userId="6da7715ce44349b3" providerId="LiveId" clId="{8C97B853-E239-49C0-A36B-A3F2C855C3BA}" dt="2023-11-02T06:51:33.478" v="23897" actId="20577"/>
          <ac:spMkLst>
            <pc:docMk/>
            <pc:sldMk cId="4276112069" sldId="2577"/>
            <ac:spMk id="5" creationId="{72ECE9B4-9D93-EA76-818A-A67ED610D947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7" creationId="{9418E77A-04A1-2276-D7A5-DEAC5C3C41D5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8" creationId="{4AB80107-2BAF-C085-58A4-6094553C9246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9" creationId="{E3525478-FCF7-078C-5703-D592B326BD67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10" creationId="{1BD366D2-C3DE-A623-B353-51AE181F5AF1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11" creationId="{1D039F9C-EE01-75FA-9ABE-E409EB6574E4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12" creationId="{8AE530D2-390A-475F-C7FA-6F3484E9BA56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13" creationId="{E6B9FC6A-6D3E-A100-9E6D-9124CA7E5879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14" creationId="{7639F76D-ADAF-AA7F-CEB8-CB6CCA2F924F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15" creationId="{36823C13-3051-6F1A-79F1-97349008214B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16" creationId="{300EAECC-A622-77C8-1C3F-C32187080246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17" creationId="{2AB55CCC-0955-486E-C8E8-27E7DE12530D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18" creationId="{1388CD1D-36F3-AFC1-C639-E01651602886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19" creationId="{DF006C83-945F-8A32-8598-DD961E240750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20" creationId="{17B7ABE9-4914-8062-1072-C1D8FC92AC86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21" creationId="{6DDAA8C4-9FAE-CFA5-8297-F5EE48E0622B}"/>
          </ac:spMkLst>
        </pc:spChg>
        <pc:spChg chg="mod">
          <ac:chgData name="Aurelien Domont" userId="6da7715ce44349b3" providerId="LiveId" clId="{8C97B853-E239-49C0-A36B-A3F2C855C3BA}" dt="2023-11-02T06:52:17.447" v="23903"/>
          <ac:spMkLst>
            <pc:docMk/>
            <pc:sldMk cId="4276112069" sldId="2577"/>
            <ac:spMk id="23" creationId="{DED73662-E17C-CEAE-2216-36CA1363B713}"/>
          </ac:spMkLst>
        </pc:spChg>
        <pc:spChg chg="mod">
          <ac:chgData name="Aurelien Domont" userId="6da7715ce44349b3" providerId="LiveId" clId="{8C97B853-E239-49C0-A36B-A3F2C855C3BA}" dt="2023-11-02T06:52:17.447" v="23903"/>
          <ac:spMkLst>
            <pc:docMk/>
            <pc:sldMk cId="4276112069" sldId="2577"/>
            <ac:spMk id="24" creationId="{400FDE98-0C7D-F240-A4ED-0F13F1A8DDB6}"/>
          </ac:spMkLst>
        </pc:spChg>
        <pc:spChg chg="mod">
          <ac:chgData name="Aurelien Domont" userId="6da7715ce44349b3" providerId="LiveId" clId="{8C97B853-E239-49C0-A36B-A3F2C855C3BA}" dt="2023-11-02T06:52:17.447" v="23903"/>
          <ac:spMkLst>
            <pc:docMk/>
            <pc:sldMk cId="4276112069" sldId="2577"/>
            <ac:spMk id="25" creationId="{06413BBD-DE92-F090-F157-5D9B908BF7DA}"/>
          </ac:spMkLst>
        </pc:spChg>
        <pc:spChg chg="mod">
          <ac:chgData name="Aurelien Domont" userId="6da7715ce44349b3" providerId="LiveId" clId="{8C97B853-E239-49C0-A36B-A3F2C855C3BA}" dt="2023-11-02T06:52:17.447" v="23903"/>
          <ac:spMkLst>
            <pc:docMk/>
            <pc:sldMk cId="4276112069" sldId="2577"/>
            <ac:spMk id="27" creationId="{9B7121A5-8BB4-41F0-E9E5-CD5B48805C6F}"/>
          </ac:spMkLst>
        </pc:spChg>
        <pc:spChg chg="mod">
          <ac:chgData name="Aurelien Domont" userId="6da7715ce44349b3" providerId="LiveId" clId="{8C97B853-E239-49C0-A36B-A3F2C855C3BA}" dt="2023-11-02T06:52:17.447" v="23903"/>
          <ac:spMkLst>
            <pc:docMk/>
            <pc:sldMk cId="4276112069" sldId="2577"/>
            <ac:spMk id="28" creationId="{9E00858A-6BB6-8F65-B476-2758B5893A73}"/>
          </ac:spMkLst>
        </pc:spChg>
        <pc:spChg chg="mod">
          <ac:chgData name="Aurelien Domont" userId="6da7715ce44349b3" providerId="LiveId" clId="{8C97B853-E239-49C0-A36B-A3F2C855C3BA}" dt="2023-11-02T06:52:17.447" v="23903"/>
          <ac:spMkLst>
            <pc:docMk/>
            <pc:sldMk cId="4276112069" sldId="2577"/>
            <ac:spMk id="29" creationId="{DB1FB786-768E-08B8-838F-C947EF79990F}"/>
          </ac:spMkLst>
        </pc:spChg>
        <pc:spChg chg="mod">
          <ac:chgData name="Aurelien Domont" userId="6da7715ce44349b3" providerId="LiveId" clId="{8C97B853-E239-49C0-A36B-A3F2C855C3BA}" dt="2023-11-02T06:52:17.447" v="23903"/>
          <ac:spMkLst>
            <pc:docMk/>
            <pc:sldMk cId="4276112069" sldId="2577"/>
            <ac:spMk id="31" creationId="{D30540CE-EB8B-A6DD-F113-D8A4773DDF27}"/>
          </ac:spMkLst>
        </pc:spChg>
        <pc:spChg chg="mod">
          <ac:chgData name="Aurelien Domont" userId="6da7715ce44349b3" providerId="LiveId" clId="{8C97B853-E239-49C0-A36B-A3F2C855C3BA}" dt="2023-11-02T06:52:17.447" v="23903"/>
          <ac:spMkLst>
            <pc:docMk/>
            <pc:sldMk cId="4276112069" sldId="2577"/>
            <ac:spMk id="32" creationId="{FCCA3439-EB72-BB84-ECFD-18F2AE0E00AC}"/>
          </ac:spMkLst>
        </pc:spChg>
        <pc:spChg chg="mod">
          <ac:chgData name="Aurelien Domont" userId="6da7715ce44349b3" providerId="LiveId" clId="{8C97B853-E239-49C0-A36B-A3F2C855C3BA}" dt="2023-11-02T06:52:17.447" v="23903"/>
          <ac:spMkLst>
            <pc:docMk/>
            <pc:sldMk cId="4276112069" sldId="2577"/>
            <ac:spMk id="33" creationId="{B134E85B-965C-7FD2-DF70-804E80A1155D}"/>
          </ac:spMkLst>
        </pc:spChg>
        <pc:spChg chg="mod">
          <ac:chgData name="Aurelien Domont" userId="6da7715ce44349b3" providerId="LiveId" clId="{8C97B853-E239-49C0-A36B-A3F2C855C3BA}" dt="2023-11-02T06:52:17.447" v="23903"/>
          <ac:spMkLst>
            <pc:docMk/>
            <pc:sldMk cId="4276112069" sldId="2577"/>
            <ac:spMk id="35" creationId="{BBC3CEE8-C471-E80A-DED2-44C04DE72BBD}"/>
          </ac:spMkLst>
        </pc:spChg>
        <pc:spChg chg="mod">
          <ac:chgData name="Aurelien Domont" userId="6da7715ce44349b3" providerId="LiveId" clId="{8C97B853-E239-49C0-A36B-A3F2C855C3BA}" dt="2023-11-02T06:52:17.447" v="23903"/>
          <ac:spMkLst>
            <pc:docMk/>
            <pc:sldMk cId="4276112069" sldId="2577"/>
            <ac:spMk id="36" creationId="{E205645E-DDA8-5700-67F1-DF8B8656DCDA}"/>
          </ac:spMkLst>
        </pc:spChg>
        <pc:spChg chg="mod">
          <ac:chgData name="Aurelien Domont" userId="6da7715ce44349b3" providerId="LiveId" clId="{8C97B853-E239-49C0-A36B-A3F2C855C3BA}" dt="2023-11-02T06:52:17.447" v="23903"/>
          <ac:spMkLst>
            <pc:docMk/>
            <pc:sldMk cId="4276112069" sldId="2577"/>
            <ac:spMk id="37" creationId="{88A9A944-AA3C-B74D-39DA-34798A618C8B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38" creationId="{0A831F34-C041-2C48-99B9-FBE5E9D5B86D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39" creationId="{C2E3CE5D-C3B1-8063-D46C-C29FB1579ADC}"/>
          </ac:spMkLst>
        </pc:spChg>
        <pc:spChg chg="add del mod">
          <ac:chgData name="Aurelien Domont" userId="6da7715ce44349b3" providerId="LiveId" clId="{8C97B853-E239-49C0-A36B-A3F2C855C3BA}" dt="2023-11-02T06:52:25.890" v="23904"/>
          <ac:spMkLst>
            <pc:docMk/>
            <pc:sldMk cId="4276112069" sldId="2577"/>
            <ac:spMk id="40" creationId="{8DCE6FD6-5C2E-FFA9-2A61-C107FB568BA6}"/>
          </ac:spMkLst>
        </pc:spChg>
        <pc:spChg chg="add 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41" creationId="{E5E036D5-8E6E-B476-C3B4-7E25D8731293}"/>
          </ac:spMkLst>
        </pc:spChg>
        <pc:spChg chg="add 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42" creationId="{B4A421EF-A574-5029-5AC3-AC3EB7F00E39}"/>
          </ac:spMkLst>
        </pc:spChg>
        <pc:spChg chg="add 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43" creationId="{C549893A-6294-1F4D-B071-FEA14C52E793}"/>
          </ac:spMkLst>
        </pc:spChg>
        <pc:spChg chg="add 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44" creationId="{8B366C80-FC4D-4FE6-307D-08F493529B06}"/>
          </ac:spMkLst>
        </pc:spChg>
        <pc:spChg chg="add 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45" creationId="{55AB5A93-3E84-30DF-B285-C505628E36EA}"/>
          </ac:spMkLst>
        </pc:spChg>
        <pc:spChg chg="add 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46" creationId="{A73458FC-1FB0-7DB0-A0BF-52F1511612A4}"/>
          </ac:spMkLst>
        </pc:spChg>
        <pc:spChg chg="add 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47" creationId="{7C5B7071-B002-67BC-FABF-19D37DB95ABD}"/>
          </ac:spMkLst>
        </pc:spChg>
        <pc:spChg chg="add 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48" creationId="{62B52638-45EE-D368-9186-5771E57FA880}"/>
          </ac:spMkLst>
        </pc:spChg>
        <pc:spChg chg="add 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49" creationId="{574ABB32-6026-8CD5-B898-ACEEAFCDF23A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50" creationId="{1BA59D48-2833-113C-2F4E-68CEBF2154E9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51" creationId="{0D9C4535-C30D-1751-2CF1-F3B90EAEC016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52" creationId="{04DDFFF7-3A99-7A13-B0F1-3153A2ECEA09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53" creationId="{01432ADE-7650-F6A4-120C-B131B8651C36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54" creationId="{2D4E94AF-B74C-2694-76E7-E6F48263549F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55" creationId="{3E346410-1603-AF48-7DB9-E724C96B2182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56" creationId="{84FAAF9F-07DD-140D-8A36-233C6D9E2977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57" creationId="{6D3ECAFD-C82C-C4C9-5EA9-F9E6D69AD558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58" creationId="{ADFB0499-3185-BA92-ECBF-EAB98E23DBD6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59" creationId="{BEBAA2FB-6EA0-7B44-39F1-2D87D2B7B049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60" creationId="{E14C3C8C-DD2F-2EEF-F5F6-FA50499B40F6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61" creationId="{11C34FFA-4CDA-7649-48D2-669146427A40}"/>
          </ac:spMkLst>
        </pc:spChg>
        <pc:spChg chg="add 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62" creationId="{BD5C7AE2-BEBB-0029-4244-F85EE84FB4CE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63" creationId="{7E93FD29-13CF-590D-001E-D755D02F6FB0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64" creationId="{CE1B56BA-8219-E3C0-E6F4-4719A3A26E06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65" creationId="{CE588F7A-6C7B-2533-F366-9AF3E40189C8}"/>
          </ac:spMkLst>
        </pc:spChg>
        <pc:spChg chg="add mod">
          <ac:chgData name="Aurelien Domont" userId="6da7715ce44349b3" providerId="LiveId" clId="{8C97B853-E239-49C0-A36B-A3F2C855C3BA}" dt="2023-11-02T06:52:57.490" v="23906" actId="207"/>
          <ac:spMkLst>
            <pc:docMk/>
            <pc:sldMk cId="4276112069" sldId="2577"/>
            <ac:spMk id="66" creationId="{83A669FD-B92A-AA19-2826-B60B5485840C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68" creationId="{43D5D011-FE57-804E-9BC3-DB68B2053AC8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69" creationId="{2493A926-9971-FF12-32D1-BACB77780372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70" creationId="{09100648-1082-5022-2322-326C51D14544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71" creationId="{1377C1BC-45B1-AE38-333E-84BAAF788F2F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73" creationId="{2B53B936-9512-C1DC-15B1-2587063056A0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74" creationId="{2E8DB47E-525C-DA63-A26A-020A874A2D67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75" creationId="{F20732D3-52C1-1A25-075A-5BF455A23A44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76" creationId="{D844B4A0-AEFC-1AFC-0748-A12446023833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78" creationId="{DED39A38-14C3-2D40-34FC-2DE01C3E026E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79" creationId="{B1A45D89-24BD-AE9A-290D-3CCF4E8E0F66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80" creationId="{B5D97314-9213-02AD-E264-B1F641AD6124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81" creationId="{87193816-5368-266C-ADAE-2A5F9F568F1E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83" creationId="{5A15F9FA-0AA0-525B-40C6-27445C31B218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84" creationId="{D2FB5BE9-D696-9AA0-8A54-0B79DD79DE7E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85" creationId="{BD30FE31-AE85-9358-4C71-55A8C3DA3675}"/>
          </ac:spMkLst>
        </pc:spChg>
        <pc:spChg chg="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86" creationId="{F67ED485-2BEA-198A-050D-AE061D070401}"/>
          </ac:spMkLst>
        </pc:spChg>
        <pc:spChg chg="add 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87" creationId="{8FC601F4-2B96-F30A-EA11-1BEE8B550314}"/>
          </ac:spMkLst>
        </pc:spChg>
        <pc:spChg chg="add mod">
          <ac:chgData name="Aurelien Domont" userId="6da7715ce44349b3" providerId="LiveId" clId="{8C97B853-E239-49C0-A36B-A3F2C855C3BA}" dt="2023-11-02T06:52:38.298" v="23905"/>
          <ac:spMkLst>
            <pc:docMk/>
            <pc:sldMk cId="4276112069" sldId="2577"/>
            <ac:spMk id="88" creationId="{00846E43-8FB8-CA5E-D34C-35F9950A0330}"/>
          </ac:spMkLst>
        </pc:spChg>
        <pc:grpChg chg="add del mod">
          <ac:chgData name="Aurelien Domont" userId="6da7715ce44349b3" providerId="LiveId" clId="{8C97B853-E239-49C0-A36B-A3F2C855C3BA}" dt="2023-11-02T06:52:25.890" v="23904"/>
          <ac:grpSpMkLst>
            <pc:docMk/>
            <pc:sldMk cId="4276112069" sldId="2577"/>
            <ac:grpSpMk id="22" creationId="{3A9BE662-F103-12C3-9B9A-50A13C1212B3}"/>
          </ac:grpSpMkLst>
        </pc:grpChg>
        <pc:grpChg chg="add del mod">
          <ac:chgData name="Aurelien Domont" userId="6da7715ce44349b3" providerId="LiveId" clId="{8C97B853-E239-49C0-A36B-A3F2C855C3BA}" dt="2023-11-02T06:52:25.890" v="23904"/>
          <ac:grpSpMkLst>
            <pc:docMk/>
            <pc:sldMk cId="4276112069" sldId="2577"/>
            <ac:grpSpMk id="26" creationId="{817E80A6-D262-6E6D-5270-378780F345B3}"/>
          </ac:grpSpMkLst>
        </pc:grpChg>
        <pc:grpChg chg="add del mod">
          <ac:chgData name="Aurelien Domont" userId="6da7715ce44349b3" providerId="LiveId" clId="{8C97B853-E239-49C0-A36B-A3F2C855C3BA}" dt="2023-11-02T06:52:25.890" v="23904"/>
          <ac:grpSpMkLst>
            <pc:docMk/>
            <pc:sldMk cId="4276112069" sldId="2577"/>
            <ac:grpSpMk id="30" creationId="{185DAB15-0339-77E2-CED6-3CE40FA4551F}"/>
          </ac:grpSpMkLst>
        </pc:grpChg>
        <pc:grpChg chg="add del mod">
          <ac:chgData name="Aurelien Domont" userId="6da7715ce44349b3" providerId="LiveId" clId="{8C97B853-E239-49C0-A36B-A3F2C855C3BA}" dt="2023-11-02T06:52:25.890" v="23904"/>
          <ac:grpSpMkLst>
            <pc:docMk/>
            <pc:sldMk cId="4276112069" sldId="2577"/>
            <ac:grpSpMk id="34" creationId="{5A6BB8F1-714A-0E68-6CA6-719A839F868F}"/>
          </ac:grpSpMkLst>
        </pc:grpChg>
        <pc:grpChg chg="add mod">
          <ac:chgData name="Aurelien Domont" userId="6da7715ce44349b3" providerId="LiveId" clId="{8C97B853-E239-49C0-A36B-A3F2C855C3BA}" dt="2023-11-02T06:52:38.298" v="23905"/>
          <ac:grpSpMkLst>
            <pc:docMk/>
            <pc:sldMk cId="4276112069" sldId="2577"/>
            <ac:grpSpMk id="67" creationId="{28510E1C-E238-52E4-79ED-527F19FEB903}"/>
          </ac:grpSpMkLst>
        </pc:grpChg>
        <pc:grpChg chg="add mod">
          <ac:chgData name="Aurelien Domont" userId="6da7715ce44349b3" providerId="LiveId" clId="{8C97B853-E239-49C0-A36B-A3F2C855C3BA}" dt="2023-11-02T06:52:38.298" v="23905"/>
          <ac:grpSpMkLst>
            <pc:docMk/>
            <pc:sldMk cId="4276112069" sldId="2577"/>
            <ac:grpSpMk id="72" creationId="{D9011B47-1A11-5990-7313-F0DCDD25DB40}"/>
          </ac:grpSpMkLst>
        </pc:grpChg>
        <pc:grpChg chg="add mod">
          <ac:chgData name="Aurelien Domont" userId="6da7715ce44349b3" providerId="LiveId" clId="{8C97B853-E239-49C0-A36B-A3F2C855C3BA}" dt="2023-11-02T06:52:38.298" v="23905"/>
          <ac:grpSpMkLst>
            <pc:docMk/>
            <pc:sldMk cId="4276112069" sldId="2577"/>
            <ac:grpSpMk id="77" creationId="{FD6A49C0-0535-AA7C-07F4-0FED9D109047}"/>
          </ac:grpSpMkLst>
        </pc:grpChg>
        <pc:grpChg chg="add mod">
          <ac:chgData name="Aurelien Domont" userId="6da7715ce44349b3" providerId="LiveId" clId="{8C97B853-E239-49C0-A36B-A3F2C855C3BA}" dt="2023-11-02T06:52:38.298" v="23905"/>
          <ac:grpSpMkLst>
            <pc:docMk/>
            <pc:sldMk cId="4276112069" sldId="2577"/>
            <ac:grpSpMk id="82" creationId="{623D39FA-6799-5E42-AB2A-958B39868E19}"/>
          </ac:grpSpMkLst>
        </pc:grpChg>
      </pc:sldChg>
      <pc:sldChg chg="addSp delSp modSp add del mod">
        <pc:chgData name="Aurelien Domont" userId="6da7715ce44349b3" providerId="LiveId" clId="{8C97B853-E239-49C0-A36B-A3F2C855C3BA}" dt="2023-11-02T23:31:41.306" v="24298" actId="2696"/>
        <pc:sldMkLst>
          <pc:docMk/>
          <pc:sldMk cId="440462274" sldId="2578"/>
        </pc:sldMkLst>
        <pc:spChg chg="mod">
          <ac:chgData name="Aurelien Domont" userId="6da7715ce44349b3" providerId="LiveId" clId="{8C97B853-E239-49C0-A36B-A3F2C855C3BA}" dt="2023-11-02T06:53:45.099" v="23915" actId="20577"/>
          <ac:spMkLst>
            <pc:docMk/>
            <pc:sldMk cId="440462274" sldId="2578"/>
            <ac:spMk id="5" creationId="{72ECE9B4-9D93-EA76-818A-A67ED610D947}"/>
          </ac:spMkLst>
        </pc:spChg>
        <pc:spChg chg="add del mod">
          <ac:chgData name="Aurelien Domont" userId="6da7715ce44349b3" providerId="LiveId" clId="{8C97B853-E239-49C0-A36B-A3F2C855C3BA}" dt="2023-11-02T07:00:18.643" v="24138"/>
          <ac:spMkLst>
            <pc:docMk/>
            <pc:sldMk cId="440462274" sldId="2578"/>
            <ac:spMk id="9" creationId="{565AF7F1-D9FB-CC46-B331-C22423CC5C9E}"/>
          </ac:spMkLst>
        </pc:spChg>
        <pc:spChg chg="add del mod">
          <ac:chgData name="Aurelien Domont" userId="6da7715ce44349b3" providerId="LiveId" clId="{8C97B853-E239-49C0-A36B-A3F2C855C3BA}" dt="2023-11-02T07:00:18.643" v="24138"/>
          <ac:spMkLst>
            <pc:docMk/>
            <pc:sldMk cId="440462274" sldId="2578"/>
            <ac:spMk id="10" creationId="{FFF54FA0-AD28-5CE5-7847-B55A6D783C19}"/>
          </ac:spMkLst>
        </pc:spChg>
        <pc:spChg chg="add del mod">
          <ac:chgData name="Aurelien Domont" userId="6da7715ce44349b3" providerId="LiveId" clId="{8C97B853-E239-49C0-A36B-A3F2C855C3BA}" dt="2023-11-02T07:00:18.643" v="24138"/>
          <ac:spMkLst>
            <pc:docMk/>
            <pc:sldMk cId="440462274" sldId="2578"/>
            <ac:spMk id="11" creationId="{BDEDB244-B14F-22FD-1B7D-B69C3BA65EFF}"/>
          </ac:spMkLst>
        </pc:spChg>
        <pc:picChg chg="add mod">
          <ac:chgData name="Aurelien Domont" userId="6da7715ce44349b3" providerId="LiveId" clId="{8C97B853-E239-49C0-A36B-A3F2C855C3BA}" dt="2023-11-02T06:53:50.594" v="23916"/>
          <ac:picMkLst>
            <pc:docMk/>
            <pc:sldMk cId="440462274" sldId="2578"/>
            <ac:picMk id="7" creationId="{BA810C17-25B1-1D0A-34FF-6E4BC7512176}"/>
          </ac:picMkLst>
        </pc:picChg>
        <pc:picChg chg="add mod">
          <ac:chgData name="Aurelien Domont" userId="6da7715ce44349b3" providerId="LiveId" clId="{8C97B853-E239-49C0-A36B-A3F2C855C3BA}" dt="2023-11-02T06:53:50.594" v="23916"/>
          <ac:picMkLst>
            <pc:docMk/>
            <pc:sldMk cId="440462274" sldId="2578"/>
            <ac:picMk id="8" creationId="{E99822BA-A011-DDAF-60D6-C068252F35F8}"/>
          </ac:picMkLst>
        </pc:picChg>
      </pc:sldChg>
      <pc:sldChg chg="add">
        <pc:chgData name="Aurelien Domont" userId="6da7715ce44349b3" providerId="LiveId" clId="{8C97B853-E239-49C0-A36B-A3F2C855C3BA}" dt="2023-11-02T23:31:48.570" v="24299"/>
        <pc:sldMkLst>
          <pc:docMk/>
          <pc:sldMk cId="515313173" sldId="2578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289592772" sldId="2578"/>
        </pc:sldMkLst>
      </pc:sldChg>
      <pc:sldChg chg="add">
        <pc:chgData name="Aurelien Domont" userId="6da7715ce44349b3" providerId="LiveId" clId="{8C97B853-E239-49C0-A36B-A3F2C855C3BA}" dt="2023-11-02T23:31:48.570" v="24299"/>
        <pc:sldMkLst>
          <pc:docMk/>
          <pc:sldMk cId="883372972" sldId="2579"/>
        </pc:sldMkLst>
      </pc:sldChg>
      <pc:sldChg chg="addSp delSp modSp add del mod">
        <pc:chgData name="Aurelien Domont" userId="6da7715ce44349b3" providerId="LiveId" clId="{8C97B853-E239-49C0-A36B-A3F2C855C3BA}" dt="2023-11-02T23:31:41.306" v="24298" actId="2696"/>
        <pc:sldMkLst>
          <pc:docMk/>
          <pc:sldMk cId="900956587" sldId="2579"/>
        </pc:sldMkLst>
        <pc:spChg chg="mod">
          <ac:chgData name="Aurelien Domont" userId="6da7715ce44349b3" providerId="LiveId" clId="{8C97B853-E239-49C0-A36B-A3F2C855C3BA}" dt="2023-11-02T06:55:22.252" v="23925" actId="948"/>
          <ac:spMkLst>
            <pc:docMk/>
            <pc:sldMk cId="900956587" sldId="2579"/>
            <ac:spMk id="2" creationId="{CBE418EF-11DB-1047-ED86-93F471E3083F}"/>
          </ac:spMkLst>
        </pc:spChg>
        <pc:spChg chg="add del mod modVis">
          <ac:chgData name="Aurelien Domont" userId="6da7715ce44349b3" providerId="LiveId" clId="{8C97B853-E239-49C0-A36B-A3F2C855C3BA}" dt="2023-11-02T06:55:22.284" v="23950"/>
          <ac:spMkLst>
            <pc:docMk/>
            <pc:sldMk cId="900956587" sldId="2579"/>
            <ac:spMk id="5" creationId="{BCB820A2-11BF-B17C-1BE1-866DE5049C9A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8" creationId="{7DCE9C2C-854D-757B-E654-66BE1986C195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9" creationId="{F1770E3A-1D6F-F45C-0CFF-4254C3349D38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10" creationId="{BF0582E1-F63C-73C5-CFE2-8F7EA4A45872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11" creationId="{AC37531C-9039-32E9-9A55-D7791C78EAE5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12" creationId="{F66DAD19-54AB-400D-F439-190A7031EDD6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13" creationId="{9DE0D23D-DAED-6F3F-CF52-FE01F8242DC1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14" creationId="{183ADCD0-D0EF-C538-334B-1454EC4F40B4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15" creationId="{D9F1C426-C10D-84BD-DC1D-AFBF2C955DB9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16" creationId="{19C8CBE6-E66D-F9FB-F4D9-CEBD18928E64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17" creationId="{40799A2D-BB90-8401-9DDD-0CCA70C46777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18" creationId="{9CEBFAA3-109E-B905-AACF-357FD72E21BD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19" creationId="{3B16DFDE-B954-B67D-BB67-8EB6E68D2DFE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20" creationId="{4E1934F9-346B-611D-4C58-E1977616D391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21" creationId="{74D55911-3B65-1CCC-BDB8-1055CEC1FEED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22" creationId="{FCFF677C-9D76-DC61-3549-F34C6DEC4671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23" creationId="{262839BA-00DD-1907-2452-D2AE83A3073E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24" creationId="{B25D957C-C6A7-410E-7EA0-A9BB2CD4014A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25" creationId="{9A257A8C-C120-D359-8700-09B316B16C7C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26" creationId="{C27FAF0B-7786-21AE-F221-7139537CF458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27" creationId="{D0CE896B-4ECE-100D-A51C-4B7AF2235827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28" creationId="{079CE0B8-585A-0CAC-4FD9-34897812A7BD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29" creationId="{9690B689-F9A3-ABEF-422C-0A4FA2C9F1DE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30" creationId="{824381AD-2938-92D3-0BFC-134C694BD3D7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31" creationId="{C5EC9B0A-5296-F30C-AE14-6173EAA16398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32" creationId="{A3E241A8-C1A4-9051-C625-C670DC2B407E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33" creationId="{8BD60616-B423-0568-47E0-56B988D990ED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34" creationId="{8F20CB52-5BF0-E774-B851-0B82E9AF4BCF}"/>
          </ac:spMkLst>
        </pc:spChg>
        <pc:spChg chg="del">
          <ac:chgData name="Aurelien Domont" userId="6da7715ce44349b3" providerId="LiveId" clId="{8C97B853-E239-49C0-A36B-A3F2C855C3BA}" dt="2023-11-02T07:00:21.870" v="24139" actId="478"/>
          <ac:spMkLst>
            <pc:docMk/>
            <pc:sldMk cId="900956587" sldId="2579"/>
            <ac:spMk id="35" creationId="{C0AE94F3-3C6D-971B-1109-BF821BD48103}"/>
          </ac:spMkLst>
        </pc:spChg>
        <pc:spChg chg="del">
          <ac:chgData name="Aurelien Domont" userId="6da7715ce44349b3" providerId="LiveId" clId="{8C97B853-E239-49C0-A36B-A3F2C855C3BA}" dt="2023-11-02T07:00:21.870" v="24139" actId="478"/>
          <ac:spMkLst>
            <pc:docMk/>
            <pc:sldMk cId="900956587" sldId="2579"/>
            <ac:spMk id="36" creationId="{8632E2A5-6D1B-847D-3FA0-CAEC8BD79B16}"/>
          </ac:spMkLst>
        </pc:spChg>
        <pc:spChg chg="del">
          <ac:chgData name="Aurelien Domont" userId="6da7715ce44349b3" providerId="LiveId" clId="{8C97B853-E239-49C0-A36B-A3F2C855C3BA}" dt="2023-11-02T07:00:21.870" v="24139" actId="478"/>
          <ac:spMkLst>
            <pc:docMk/>
            <pc:sldMk cId="900956587" sldId="2579"/>
            <ac:spMk id="37" creationId="{E9C27E7C-9D32-CE7E-7986-CE88A2956420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38" creationId="{2ACC57B8-B2E2-5368-318C-6A30A6C566FE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39" creationId="{5E49D7B9-7DD1-B255-85EB-2968A47E54BB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40" creationId="{8831EE3A-909A-D4A2-F349-439C77D00307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41" creationId="{FD52D9F2-FC9D-7273-BA9C-23D046B767DD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42" creationId="{900C4268-9C25-F071-4F9A-09940EB18EED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43" creationId="{7BA6C39C-7F6F-8006-F6FA-D81B6E2EA09A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44" creationId="{3AF29C96-DCF6-2A48-BF25-6EA256B1595E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45" creationId="{08A856EE-3C2A-5627-A1FF-399CB6E27FF7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46" creationId="{31317F1E-8515-28C8-1564-E20947E47DF1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47" creationId="{3A774EB3-1F1A-9314-8606-FA6FC967602C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48" creationId="{DB2C689F-1EA7-3CFD-E972-D1F85C6C80F2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49" creationId="{BA12F7F4-6E01-56A4-09AD-6DD68ADC9446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50" creationId="{532E4DCC-CCFA-FA10-4892-8430CF6D5FF2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51" creationId="{C7009B16-9065-7209-F938-79055BBBA333}"/>
          </ac:spMkLst>
        </pc:spChg>
        <pc:spChg chg="del">
          <ac:chgData name="Aurelien Domont" userId="6da7715ce44349b3" providerId="LiveId" clId="{8C97B853-E239-49C0-A36B-A3F2C855C3BA}" dt="2023-11-02T06:55:25.049" v="23953" actId="478"/>
          <ac:spMkLst>
            <pc:docMk/>
            <pc:sldMk cId="900956587" sldId="2579"/>
            <ac:spMk id="52" creationId="{8E20F414-04FF-F74B-BC9A-D2F917C2A23E}"/>
          </ac:spMkLst>
        </pc:spChg>
        <pc:spChg chg="add mod">
          <ac:chgData name="Aurelien Domont" userId="6da7715ce44349b3" providerId="LiveId" clId="{8C97B853-E239-49C0-A36B-A3F2C855C3BA}" dt="2023-11-02T06:58:58.178" v="24134" actId="1035"/>
          <ac:spMkLst>
            <pc:docMk/>
            <pc:sldMk cId="900956587" sldId="2579"/>
            <ac:spMk id="53" creationId="{58E6B953-7B5B-AF6A-C57F-816EC32A56FC}"/>
          </ac:spMkLst>
        </pc:spChg>
        <pc:spChg chg="add mod">
          <ac:chgData name="Aurelien Domont" userId="6da7715ce44349b3" providerId="LiveId" clId="{8C97B853-E239-49C0-A36B-A3F2C855C3BA}" dt="2023-11-02T06:58:44.161" v="24130" actId="113"/>
          <ac:spMkLst>
            <pc:docMk/>
            <pc:sldMk cId="900956587" sldId="2579"/>
            <ac:spMk id="54" creationId="{27D90748-0CFA-86AB-216F-8D0C64A3C8EE}"/>
          </ac:spMkLst>
        </pc:spChg>
        <pc:spChg chg="add mod">
          <ac:chgData name="Aurelien Domont" userId="6da7715ce44349b3" providerId="LiveId" clId="{8C97B853-E239-49C0-A36B-A3F2C855C3BA}" dt="2023-11-02T06:58:44.161" v="24130" actId="113"/>
          <ac:spMkLst>
            <pc:docMk/>
            <pc:sldMk cId="900956587" sldId="2579"/>
            <ac:spMk id="55" creationId="{ECEFFF42-0C4F-6D4D-082E-D1CF2F25234E}"/>
          </ac:spMkLst>
        </pc:spChg>
        <pc:spChg chg="add mod">
          <ac:chgData name="Aurelien Domont" userId="6da7715ce44349b3" providerId="LiveId" clId="{8C97B853-E239-49C0-A36B-A3F2C855C3BA}" dt="2023-11-02T06:58:44.161" v="24130" actId="113"/>
          <ac:spMkLst>
            <pc:docMk/>
            <pc:sldMk cId="900956587" sldId="2579"/>
            <ac:spMk id="56" creationId="{51563BF2-737E-1EBF-406E-325E6FC99B47}"/>
          </ac:spMkLst>
        </pc:spChg>
        <pc:spChg chg="add mod">
          <ac:chgData name="Aurelien Domont" userId="6da7715ce44349b3" providerId="LiveId" clId="{8C97B853-E239-49C0-A36B-A3F2C855C3BA}" dt="2023-11-02T06:58:44.161" v="24130" actId="113"/>
          <ac:spMkLst>
            <pc:docMk/>
            <pc:sldMk cId="900956587" sldId="2579"/>
            <ac:spMk id="57" creationId="{192F0DD2-8568-BDEC-5A8E-C47D13AB9C8C}"/>
          </ac:spMkLst>
        </pc:spChg>
        <pc:spChg chg="add mod">
          <ac:chgData name="Aurelien Domont" userId="6da7715ce44349b3" providerId="LiveId" clId="{8C97B853-E239-49C0-A36B-A3F2C855C3BA}" dt="2023-11-02T06:58:58.178" v="24134" actId="1035"/>
          <ac:spMkLst>
            <pc:docMk/>
            <pc:sldMk cId="900956587" sldId="2579"/>
            <ac:spMk id="58" creationId="{EB8B334D-E6D4-5F22-1DCC-CB6F9EF2820E}"/>
          </ac:spMkLst>
        </pc:spChg>
        <pc:spChg chg="add mod">
          <ac:chgData name="Aurelien Domont" userId="6da7715ce44349b3" providerId="LiveId" clId="{8C97B853-E239-49C0-A36B-A3F2C855C3BA}" dt="2023-11-02T06:58:08.428" v="24117" actId="20577"/>
          <ac:spMkLst>
            <pc:docMk/>
            <pc:sldMk cId="900956587" sldId="2579"/>
            <ac:spMk id="59" creationId="{6A152309-DEC6-A8FD-9B6B-14FBA8E1E3C9}"/>
          </ac:spMkLst>
        </pc:spChg>
        <pc:spChg chg="add mod">
          <ac:chgData name="Aurelien Domont" userId="6da7715ce44349b3" providerId="LiveId" clId="{8C97B853-E239-49C0-A36B-A3F2C855C3BA}" dt="2023-11-02T06:58:13.327" v="24120" actId="20577"/>
          <ac:spMkLst>
            <pc:docMk/>
            <pc:sldMk cId="900956587" sldId="2579"/>
            <ac:spMk id="60" creationId="{54D9859E-FC8A-7236-70AF-0029D4ADB85C}"/>
          </ac:spMkLst>
        </pc:spChg>
        <pc:spChg chg="add mod">
          <ac:chgData name="Aurelien Domont" userId="6da7715ce44349b3" providerId="LiveId" clId="{8C97B853-E239-49C0-A36B-A3F2C855C3BA}" dt="2023-11-02T06:58:18.499" v="24123" actId="20577"/>
          <ac:spMkLst>
            <pc:docMk/>
            <pc:sldMk cId="900956587" sldId="2579"/>
            <ac:spMk id="61" creationId="{BF848191-D095-6964-21DF-5BE8DF86D483}"/>
          </ac:spMkLst>
        </pc:spChg>
        <pc:spChg chg="add mod">
          <ac:chgData name="Aurelien Domont" userId="6da7715ce44349b3" providerId="LiveId" clId="{8C97B853-E239-49C0-A36B-A3F2C855C3BA}" dt="2023-11-02T06:58:23.633" v="24126" actId="20577"/>
          <ac:spMkLst>
            <pc:docMk/>
            <pc:sldMk cId="900956587" sldId="2579"/>
            <ac:spMk id="62" creationId="{7CF347B0-C8D2-32A3-BA58-3DF7B846F1B4}"/>
          </ac:spMkLst>
        </pc:spChg>
        <pc:spChg chg="add 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63" creationId="{4C4AC211-229A-0249-DDEA-7F83AD0F798D}"/>
          </ac:spMkLst>
        </pc:spChg>
        <pc:spChg chg="add mod">
          <ac:chgData name="Aurelien Domont" userId="6da7715ce44349b3" providerId="LiveId" clId="{8C97B853-E239-49C0-A36B-A3F2C855C3BA}" dt="2023-11-02T06:57:17.640" v="24065" actId="207"/>
          <ac:spMkLst>
            <pc:docMk/>
            <pc:sldMk cId="900956587" sldId="2579"/>
            <ac:spMk id="64" creationId="{C139EB97-A750-FE8D-FCBB-93D702AA4035}"/>
          </ac:spMkLst>
        </pc:spChg>
        <pc:spChg chg="add mod">
          <ac:chgData name="Aurelien Domont" userId="6da7715ce44349b3" providerId="LiveId" clId="{8C97B853-E239-49C0-A36B-A3F2C855C3BA}" dt="2023-11-02T06:57:17.640" v="24065" actId="207"/>
          <ac:spMkLst>
            <pc:docMk/>
            <pc:sldMk cId="900956587" sldId="2579"/>
            <ac:spMk id="65" creationId="{92CD25C3-498A-4A34-8361-3C6B9A57E2E8}"/>
          </ac:spMkLst>
        </pc:spChg>
        <pc:spChg chg="add mod">
          <ac:chgData name="Aurelien Domont" userId="6da7715ce44349b3" providerId="LiveId" clId="{8C97B853-E239-49C0-A36B-A3F2C855C3BA}" dt="2023-11-02T06:57:17.640" v="24065" actId="207"/>
          <ac:spMkLst>
            <pc:docMk/>
            <pc:sldMk cId="900956587" sldId="2579"/>
            <ac:spMk id="66" creationId="{21CE777A-6602-7DC1-B1B6-A2CE9794BA89}"/>
          </ac:spMkLst>
        </pc:spChg>
        <pc:spChg chg="add mod">
          <ac:chgData name="Aurelien Domont" userId="6da7715ce44349b3" providerId="LiveId" clId="{8C97B853-E239-49C0-A36B-A3F2C855C3BA}" dt="2023-11-02T06:57:17.640" v="24065" actId="207"/>
          <ac:spMkLst>
            <pc:docMk/>
            <pc:sldMk cId="900956587" sldId="2579"/>
            <ac:spMk id="67" creationId="{1A1F0516-CDEC-C17E-9454-497E8547D756}"/>
          </ac:spMkLst>
        </pc:spChg>
        <pc:spChg chg="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69" creationId="{409A8A5A-6102-C4FE-4247-AE6FC9548702}"/>
          </ac:spMkLst>
        </pc:spChg>
        <pc:spChg chg="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70" creationId="{F1D32061-0D02-636A-5F3E-A82007CF791D}"/>
          </ac:spMkLst>
        </pc:spChg>
        <pc:spChg chg="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71" creationId="{AA62B00B-95FD-3030-4989-EA57419D2782}"/>
          </ac:spMkLst>
        </pc:spChg>
        <pc:spChg chg="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73" creationId="{3024D5DB-4B0D-12DB-EBE2-4B126E7F2A34}"/>
          </ac:spMkLst>
        </pc:spChg>
        <pc:spChg chg="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74" creationId="{D44F50DB-4EEB-CED3-1A1B-B4B2D9897E6F}"/>
          </ac:spMkLst>
        </pc:spChg>
        <pc:spChg chg="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75" creationId="{898D56C8-8618-1EA7-1AF1-E55CFC84DBC9}"/>
          </ac:spMkLst>
        </pc:spChg>
        <pc:spChg chg="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77" creationId="{DB682097-30AD-8E12-0028-884F77327267}"/>
          </ac:spMkLst>
        </pc:spChg>
        <pc:spChg chg="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78" creationId="{9F8C0845-DA88-2221-7228-D3E409ABE635}"/>
          </ac:spMkLst>
        </pc:spChg>
        <pc:spChg chg="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79" creationId="{BAA0DA48-FE14-50A8-CE50-01E72494E56A}"/>
          </ac:spMkLst>
        </pc:spChg>
        <pc:spChg chg="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81" creationId="{0854E38E-AEB5-E240-E77D-DBC2CD88D813}"/>
          </ac:spMkLst>
        </pc:spChg>
        <pc:spChg chg="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82" creationId="{E725F4A8-4EE4-3A1A-DAB1-D1BCD3F4209B}"/>
          </ac:spMkLst>
        </pc:spChg>
        <pc:spChg chg="mod">
          <ac:chgData name="Aurelien Domont" userId="6da7715ce44349b3" providerId="LiveId" clId="{8C97B853-E239-49C0-A36B-A3F2C855C3BA}" dt="2023-11-02T06:56:58.820" v="24056"/>
          <ac:spMkLst>
            <pc:docMk/>
            <pc:sldMk cId="900956587" sldId="2579"/>
            <ac:spMk id="83" creationId="{DCEC1B30-4F46-E2B4-A05F-25CADA8B5138}"/>
          </ac:spMkLst>
        </pc:spChg>
        <pc:spChg chg="add mod">
          <ac:chgData name="Aurelien Domont" userId="6da7715ce44349b3" providerId="LiveId" clId="{8C97B853-E239-49C0-A36B-A3F2C855C3BA}" dt="2023-11-02T07:00:22.239" v="24140"/>
          <ac:spMkLst>
            <pc:docMk/>
            <pc:sldMk cId="900956587" sldId="2579"/>
            <ac:spMk id="84" creationId="{7F293523-9E60-FA88-88A4-0549A7A91AF8}"/>
          </ac:spMkLst>
        </pc:spChg>
        <pc:spChg chg="add mod">
          <ac:chgData name="Aurelien Domont" userId="6da7715ce44349b3" providerId="LiveId" clId="{8C97B853-E239-49C0-A36B-A3F2C855C3BA}" dt="2023-11-02T07:00:22.239" v="24140"/>
          <ac:spMkLst>
            <pc:docMk/>
            <pc:sldMk cId="900956587" sldId="2579"/>
            <ac:spMk id="85" creationId="{142355BE-5D6E-CBDC-7B35-7901FA8F24B1}"/>
          </ac:spMkLst>
        </pc:spChg>
        <pc:spChg chg="add mod">
          <ac:chgData name="Aurelien Domont" userId="6da7715ce44349b3" providerId="LiveId" clId="{8C97B853-E239-49C0-A36B-A3F2C855C3BA}" dt="2023-11-02T07:00:22.239" v="24140"/>
          <ac:spMkLst>
            <pc:docMk/>
            <pc:sldMk cId="900956587" sldId="2579"/>
            <ac:spMk id="86" creationId="{901B43EF-9E71-DEF4-6745-D739AFC20F29}"/>
          </ac:spMkLst>
        </pc:spChg>
        <pc:grpChg chg="add mod">
          <ac:chgData name="Aurelien Domont" userId="6da7715ce44349b3" providerId="LiveId" clId="{8C97B853-E239-49C0-A36B-A3F2C855C3BA}" dt="2023-11-02T06:56:58.820" v="24056"/>
          <ac:grpSpMkLst>
            <pc:docMk/>
            <pc:sldMk cId="900956587" sldId="2579"/>
            <ac:grpSpMk id="68" creationId="{84C577E4-160E-EC42-D16C-C33991E845FA}"/>
          </ac:grpSpMkLst>
        </pc:grpChg>
        <pc:grpChg chg="add mod">
          <ac:chgData name="Aurelien Domont" userId="6da7715ce44349b3" providerId="LiveId" clId="{8C97B853-E239-49C0-A36B-A3F2C855C3BA}" dt="2023-11-02T06:56:58.820" v="24056"/>
          <ac:grpSpMkLst>
            <pc:docMk/>
            <pc:sldMk cId="900956587" sldId="2579"/>
            <ac:grpSpMk id="72" creationId="{E1E9E8C9-282B-4A97-3D1F-7A136BC82AB3}"/>
          </ac:grpSpMkLst>
        </pc:grpChg>
        <pc:grpChg chg="add mod">
          <ac:chgData name="Aurelien Domont" userId="6da7715ce44349b3" providerId="LiveId" clId="{8C97B853-E239-49C0-A36B-A3F2C855C3BA}" dt="2023-11-02T06:56:58.820" v="24056"/>
          <ac:grpSpMkLst>
            <pc:docMk/>
            <pc:sldMk cId="900956587" sldId="2579"/>
            <ac:grpSpMk id="76" creationId="{20B73120-4AE8-D2FF-7F34-44C198C8ACD9}"/>
          </ac:grpSpMkLst>
        </pc:grpChg>
        <pc:grpChg chg="add mod">
          <ac:chgData name="Aurelien Domont" userId="6da7715ce44349b3" providerId="LiveId" clId="{8C97B853-E239-49C0-A36B-A3F2C855C3BA}" dt="2023-11-02T06:56:58.820" v="24056"/>
          <ac:grpSpMkLst>
            <pc:docMk/>
            <pc:sldMk cId="900956587" sldId="2579"/>
            <ac:grpSpMk id="80" creationId="{CFCDC543-4E9B-A63C-F2FC-6C44CB66D62C}"/>
          </ac:grpSpMkLst>
        </pc:grpChg>
        <pc:graphicFrameChg chg="mod">
          <ac:chgData name="Aurelien Domont" userId="6da7715ce44349b3" providerId="LiveId" clId="{8C97B853-E239-49C0-A36B-A3F2C855C3BA}" dt="2023-11-02T06:55:22.284" v="23952"/>
          <ac:graphicFrameMkLst>
            <pc:docMk/>
            <pc:sldMk cId="900956587" sldId="2579"/>
            <ac:graphicFrameMk id="6" creationId="{D5F8606D-2ABE-6BE3-C950-51E100B74379}"/>
          </ac:graphicFrameMkLst>
        </pc:graphicFrame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798016024" sldId="2579"/>
        </pc:sldMkLst>
      </pc:sldChg>
      <pc:sldChg chg="addSp delSp modSp add del mod">
        <pc:chgData name="Aurelien Domont" userId="6da7715ce44349b3" providerId="LiveId" clId="{8C97B853-E239-49C0-A36B-A3F2C855C3BA}" dt="2023-11-02T23:31:41.306" v="24298" actId="2696"/>
        <pc:sldMkLst>
          <pc:docMk/>
          <pc:sldMk cId="1898782871" sldId="2580"/>
        </pc:sldMkLst>
        <pc:spChg chg="add del mod">
          <ac:chgData name="Aurelien Domont" userId="6da7715ce44349b3" providerId="LiveId" clId="{8C97B853-E239-49C0-A36B-A3F2C855C3BA}" dt="2023-11-02T07:01:42.917" v="24153" actId="478"/>
          <ac:spMkLst>
            <pc:docMk/>
            <pc:sldMk cId="1898782871" sldId="2580"/>
            <ac:spMk id="5" creationId="{4E3DD76B-3843-89FB-A339-6CA15B10E8EB}"/>
          </ac:spMkLst>
        </pc:spChg>
        <pc:spChg chg="mod">
          <ac:chgData name="Aurelien Domont" userId="6da7715ce44349b3" providerId="LiveId" clId="{8C97B853-E239-49C0-A36B-A3F2C855C3BA}" dt="2023-11-02T07:01:39.981" v="24152" actId="20577"/>
          <ac:spMkLst>
            <pc:docMk/>
            <pc:sldMk cId="1898782871" sldId="2580"/>
            <ac:spMk id="7" creationId="{74835C1F-E7CF-C9CB-0324-FEC2795999C5}"/>
          </ac:spMkLst>
        </pc:spChg>
        <pc:spChg chg="add del mod">
          <ac:chgData name="Aurelien Domont" userId="6da7715ce44349b3" providerId="LiveId" clId="{8C97B853-E239-49C0-A36B-A3F2C855C3BA}" dt="2023-11-02T07:01:42.917" v="24153" actId="478"/>
          <ac:spMkLst>
            <pc:docMk/>
            <pc:sldMk cId="1898782871" sldId="2580"/>
            <ac:spMk id="8" creationId="{D29EAE9E-C00C-2052-772E-08F6C8FCABEB}"/>
          </ac:spMkLst>
        </pc:spChg>
        <pc:spChg chg="add del mod">
          <ac:chgData name="Aurelien Domont" userId="6da7715ce44349b3" providerId="LiveId" clId="{8C97B853-E239-49C0-A36B-A3F2C855C3BA}" dt="2023-11-02T07:01:42.917" v="24153" actId="478"/>
          <ac:spMkLst>
            <pc:docMk/>
            <pc:sldMk cId="1898782871" sldId="2580"/>
            <ac:spMk id="9" creationId="{CF7ACDF2-6F4D-4AC4-2A95-401F064A5712}"/>
          </ac:spMkLst>
        </pc:spChg>
        <pc:spChg chg="del">
          <ac:chgData name="Aurelien Domont" userId="6da7715ce44349b3" providerId="LiveId" clId="{8C97B853-E239-49C0-A36B-A3F2C855C3BA}" dt="2023-11-02T07:00:25.980" v="24141" actId="478"/>
          <ac:spMkLst>
            <pc:docMk/>
            <pc:sldMk cId="1898782871" sldId="2580"/>
            <ac:spMk id="35" creationId="{C0AE94F3-3C6D-971B-1109-BF821BD48103}"/>
          </ac:spMkLst>
        </pc:spChg>
        <pc:spChg chg="del">
          <ac:chgData name="Aurelien Domont" userId="6da7715ce44349b3" providerId="LiveId" clId="{8C97B853-E239-49C0-A36B-A3F2C855C3BA}" dt="2023-11-02T07:00:25.980" v="24141" actId="478"/>
          <ac:spMkLst>
            <pc:docMk/>
            <pc:sldMk cId="1898782871" sldId="2580"/>
            <ac:spMk id="36" creationId="{8632E2A5-6D1B-847D-3FA0-CAEC8BD79B16}"/>
          </ac:spMkLst>
        </pc:spChg>
        <pc:spChg chg="del">
          <ac:chgData name="Aurelien Domont" userId="6da7715ce44349b3" providerId="LiveId" clId="{8C97B853-E239-49C0-A36B-A3F2C855C3BA}" dt="2023-11-02T07:00:25.980" v="24141" actId="478"/>
          <ac:spMkLst>
            <pc:docMk/>
            <pc:sldMk cId="1898782871" sldId="2580"/>
            <ac:spMk id="37" creationId="{E9C27E7C-9D32-CE7E-7986-CE88A2956420}"/>
          </ac:spMkLst>
        </pc:spChg>
        <pc:picChg chg="add mod">
          <ac:chgData name="Aurelien Domont" userId="6da7715ce44349b3" providerId="LiveId" clId="{8C97B853-E239-49C0-A36B-A3F2C855C3BA}" dt="2023-11-02T07:01:34.850" v="24143"/>
          <ac:picMkLst>
            <pc:docMk/>
            <pc:sldMk cId="1898782871" sldId="2580"/>
            <ac:picMk id="10" creationId="{66CA2E60-9961-DB0F-7BF9-540E29A60CF2}"/>
          </ac:picMkLst>
        </pc:picChg>
      </pc:sldChg>
      <pc:sldChg chg="addSp delSp modSp add mod">
        <pc:chgData name="Aurelien Domont" userId="6da7715ce44349b3" providerId="LiveId" clId="{8C97B853-E239-49C0-A36B-A3F2C855C3BA}" dt="2023-11-02T23:37:14.179" v="24420" actId="20577"/>
        <pc:sldMkLst>
          <pc:docMk/>
          <pc:sldMk cId="3658858448" sldId="2580"/>
        </pc:sldMkLst>
        <pc:spChg chg="mod">
          <ac:chgData name="Aurelien Domont" userId="6da7715ce44349b3" providerId="LiveId" clId="{8C97B853-E239-49C0-A36B-A3F2C855C3BA}" dt="2023-11-02T23:37:14.179" v="24420" actId="20577"/>
          <ac:spMkLst>
            <pc:docMk/>
            <pc:sldMk cId="3658858448" sldId="2580"/>
            <ac:spMk id="7" creationId="{74835C1F-E7CF-C9CB-0324-FEC2795999C5}"/>
          </ac:spMkLst>
        </pc:spChg>
        <pc:picChg chg="add mod">
          <ac:chgData name="Aurelien Domont" userId="6da7715ce44349b3" providerId="LiveId" clId="{8C97B853-E239-49C0-A36B-A3F2C855C3BA}" dt="2023-11-02T23:34:17.776" v="24304" actId="14861"/>
          <ac:picMkLst>
            <pc:docMk/>
            <pc:sldMk cId="3658858448" sldId="2580"/>
            <ac:picMk id="8" creationId="{747C5869-A30D-DA31-B67E-9AD957847ECA}"/>
          </ac:picMkLst>
        </pc:picChg>
        <pc:picChg chg="add mod">
          <ac:chgData name="Aurelien Domont" userId="6da7715ce44349b3" providerId="LiveId" clId="{8C97B853-E239-49C0-A36B-A3F2C855C3BA}" dt="2023-11-02T23:34:22.959" v="24305"/>
          <ac:picMkLst>
            <pc:docMk/>
            <pc:sldMk cId="3658858448" sldId="2580"/>
            <ac:picMk id="9" creationId="{7CCDDEEC-2922-0446-9DD9-0359830ADBF5}"/>
          </ac:picMkLst>
        </pc:picChg>
        <pc:picChg chg="del">
          <ac:chgData name="Aurelien Domont" userId="6da7715ce44349b3" providerId="LiveId" clId="{8C97B853-E239-49C0-A36B-A3F2C855C3BA}" dt="2023-11-02T23:34:07.148" v="24300" actId="478"/>
          <ac:picMkLst>
            <pc:docMk/>
            <pc:sldMk cId="3658858448" sldId="2580"/>
            <ac:picMk id="10" creationId="{66CA2E60-9961-DB0F-7BF9-540E29A60CF2}"/>
          </ac:picMkLst>
        </pc:pic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888118859" sldId="2580"/>
        </pc:sldMkLst>
      </pc:sldChg>
      <pc:sldChg chg="addSp delSp modSp add del mod">
        <pc:chgData name="Aurelien Domont" userId="6da7715ce44349b3" providerId="LiveId" clId="{8C97B853-E239-49C0-A36B-A3F2C855C3BA}" dt="2023-11-02T06:56:30.010" v="24055" actId="47"/>
        <pc:sldMkLst>
          <pc:docMk/>
          <pc:sldMk cId="3113746555" sldId="2581"/>
        </pc:sldMkLst>
        <pc:spChg chg="mod">
          <ac:chgData name="Aurelien Domont" userId="6da7715ce44349b3" providerId="LiveId" clId="{8C97B853-E239-49C0-A36B-A3F2C855C3BA}" dt="2023-11-02T06:56:16.384" v="24026" actId="948"/>
          <ac:spMkLst>
            <pc:docMk/>
            <pc:sldMk cId="3113746555" sldId="2581"/>
            <ac:spMk id="2" creationId="{CBE418EF-11DB-1047-ED86-93F471E3083F}"/>
          </ac:spMkLst>
        </pc:spChg>
        <pc:spChg chg="add del mod modVis">
          <ac:chgData name="Aurelien Domont" userId="6da7715ce44349b3" providerId="LiveId" clId="{8C97B853-E239-49C0-A36B-A3F2C855C3BA}" dt="2023-11-02T06:56:13.686" v="23988"/>
          <ac:spMkLst>
            <pc:docMk/>
            <pc:sldMk cId="3113746555" sldId="2581"/>
            <ac:spMk id="5" creationId="{B00BF252-BF03-A761-4FCE-071EB568E95C}"/>
          </ac:spMkLst>
        </pc:spChg>
        <pc:spChg chg="add del mod modVis">
          <ac:chgData name="Aurelien Domont" userId="6da7715ce44349b3" providerId="LiveId" clId="{8C97B853-E239-49C0-A36B-A3F2C855C3BA}" dt="2023-11-02T06:56:15.051" v="24019"/>
          <ac:spMkLst>
            <pc:docMk/>
            <pc:sldMk cId="3113746555" sldId="2581"/>
            <ac:spMk id="8" creationId="{6C669255-8864-F774-C1F5-3760D10C7C52}"/>
          </ac:spMkLst>
        </pc:spChg>
        <pc:spChg chg="add del mod modVis">
          <ac:chgData name="Aurelien Domont" userId="6da7715ce44349b3" providerId="LiveId" clId="{8C97B853-E239-49C0-A36B-A3F2C855C3BA}" dt="2023-11-02T06:56:16.402" v="24051"/>
          <ac:spMkLst>
            <pc:docMk/>
            <pc:sldMk cId="3113746555" sldId="2581"/>
            <ac:spMk id="9" creationId="{45E4FF1A-05E1-7FC9-0870-6BD3C98491C1}"/>
          </ac:spMkLst>
        </pc:spChg>
        <pc:graphicFrameChg chg="mod">
          <ac:chgData name="Aurelien Domont" userId="6da7715ce44349b3" providerId="LiveId" clId="{8C97B853-E239-49C0-A36B-A3F2C855C3BA}" dt="2023-11-02T06:56:16.402" v="24053"/>
          <ac:graphicFrameMkLst>
            <pc:docMk/>
            <pc:sldMk cId="3113746555" sldId="2581"/>
            <ac:graphicFrameMk id="6" creationId="{D5F8606D-2ABE-6BE3-C950-51E100B74379}"/>
          </ac:graphicFrameMkLst>
        </pc:graphicFrameChg>
      </pc:sldChg>
      <pc:sldChg chg="delSp modSp add mod">
        <pc:chgData name="Aurelien Domont" userId="6da7715ce44349b3" providerId="LiveId" clId="{8C97B853-E239-49C0-A36B-A3F2C855C3BA}" dt="2023-11-02T23:31:03.919" v="24288" actId="478"/>
        <pc:sldMkLst>
          <pc:docMk/>
          <pc:sldMk cId="3371668482" sldId="2581"/>
        </pc:sldMkLst>
        <pc:spChg chg="mod">
          <ac:chgData name="Aurelien Domont" userId="6da7715ce44349b3" providerId="LiveId" clId="{8C97B853-E239-49C0-A36B-A3F2C855C3BA}" dt="2023-11-02T23:30:46.690" v="24287" actId="207"/>
          <ac:spMkLst>
            <pc:docMk/>
            <pc:sldMk cId="3371668482" sldId="2581"/>
            <ac:spMk id="3" creationId="{7BC2ED5B-4F72-AE2F-0909-83D57A7256AA}"/>
          </ac:spMkLst>
        </pc:spChg>
        <pc:spChg chg="del">
          <ac:chgData name="Aurelien Domont" userId="6da7715ce44349b3" providerId="LiveId" clId="{8C97B853-E239-49C0-A36B-A3F2C855C3BA}" dt="2023-11-02T23:31:03.919" v="24288" actId="478"/>
          <ac:spMkLst>
            <pc:docMk/>
            <pc:sldMk cId="3371668482" sldId="2581"/>
            <ac:spMk id="25" creationId="{735AC304-9E4B-EFAE-956D-257C94F68E93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3709114663" sldId="2581"/>
        </pc:sldMkLst>
      </pc:sldChg>
      <pc:sldChg chg="modSp add mod">
        <pc:chgData name="Aurelien Domont" userId="6da7715ce44349b3" providerId="LiveId" clId="{8C97B853-E239-49C0-A36B-A3F2C855C3BA}" dt="2023-11-02T23:40:01.559" v="24429" actId="207"/>
        <pc:sldMkLst>
          <pc:docMk/>
          <pc:sldMk cId="1980039990" sldId="2582"/>
        </pc:sldMkLst>
        <pc:spChg chg="mod">
          <ac:chgData name="Aurelien Domont" userId="6da7715ce44349b3" providerId="LiveId" clId="{8C97B853-E239-49C0-A36B-A3F2C855C3BA}" dt="2023-11-02T23:40:01.559" v="24429" actId="207"/>
          <ac:spMkLst>
            <pc:docMk/>
            <pc:sldMk cId="1980039990" sldId="2582"/>
            <ac:spMk id="3" creationId="{7BC2ED5B-4F72-AE2F-0909-83D57A7256AA}"/>
          </ac:spMkLst>
        </pc:spChg>
      </pc:sldChg>
      <pc:sldChg chg="add del">
        <pc:chgData name="Aurelien Domont" userId="6da7715ce44349b3" providerId="LiveId" clId="{8C97B853-E239-49C0-A36B-A3F2C855C3BA}" dt="2023-11-02T06:56:29.210" v="24054" actId="47"/>
        <pc:sldMkLst>
          <pc:docMk/>
          <pc:sldMk cId="3726466002" sldId="2582"/>
        </pc:sldMkLst>
      </pc:sldChg>
      <pc:sldChg chg="modSp add mod">
        <pc:chgData name="Aurelien Domont" userId="6da7715ce44349b3" providerId="LiveId" clId="{8C97B853-E239-49C0-A36B-A3F2C855C3BA}" dt="2023-11-02T23:31:14.808" v="24292" actId="207"/>
        <pc:sldMkLst>
          <pc:docMk/>
          <pc:sldMk cId="1154581266" sldId="2583"/>
        </pc:sldMkLst>
        <pc:spChg chg="mod">
          <ac:chgData name="Aurelien Domont" userId="6da7715ce44349b3" providerId="LiveId" clId="{8C97B853-E239-49C0-A36B-A3F2C855C3BA}" dt="2023-11-02T23:31:14.808" v="24292" actId="207"/>
          <ac:spMkLst>
            <pc:docMk/>
            <pc:sldMk cId="1154581266" sldId="2583"/>
            <ac:spMk id="3" creationId="{7BC2ED5B-4F72-AE2F-0909-83D57A7256AA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2243542728" sldId="2583"/>
        </pc:sldMkLst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1659185181" sldId="2584"/>
        </pc:sldMkLst>
      </pc:sldChg>
      <pc:sldChg chg="modSp add mod">
        <pc:chgData name="Aurelien Domont" userId="6da7715ce44349b3" providerId="LiveId" clId="{8C97B853-E239-49C0-A36B-A3F2C855C3BA}" dt="2023-11-02T23:31:21.441" v="24294" actId="207"/>
        <pc:sldMkLst>
          <pc:docMk/>
          <pc:sldMk cId="2592324127" sldId="2584"/>
        </pc:sldMkLst>
        <pc:spChg chg="mod">
          <ac:chgData name="Aurelien Domont" userId="6da7715ce44349b3" providerId="LiveId" clId="{8C97B853-E239-49C0-A36B-A3F2C855C3BA}" dt="2023-11-02T23:31:21.441" v="24294" actId="207"/>
          <ac:spMkLst>
            <pc:docMk/>
            <pc:sldMk cId="2592324127" sldId="2584"/>
            <ac:spMk id="3" creationId="{7BC2ED5B-4F72-AE2F-0909-83D57A7256AA}"/>
          </ac:spMkLst>
        </pc:spChg>
      </pc:sldChg>
      <pc:sldChg chg="del">
        <pc:chgData name="Aurelien Domont" userId="6da7715ce44349b3" providerId="LiveId" clId="{8C97B853-E239-49C0-A36B-A3F2C855C3BA}" dt="2023-11-02T05:26:32.510" v="1" actId="47"/>
        <pc:sldMkLst>
          <pc:docMk/>
          <pc:sldMk cId="779593192" sldId="2585"/>
        </pc:sldMkLst>
      </pc:sldChg>
      <pc:sldChg chg="modSp add mod">
        <pc:chgData name="Aurelien Domont" userId="6da7715ce44349b3" providerId="LiveId" clId="{8C97B853-E239-49C0-A36B-A3F2C855C3BA}" dt="2023-11-02T23:31:35.329" v="24297" actId="207"/>
        <pc:sldMkLst>
          <pc:docMk/>
          <pc:sldMk cId="1550236728" sldId="2585"/>
        </pc:sldMkLst>
        <pc:spChg chg="mod">
          <ac:chgData name="Aurelien Domont" userId="6da7715ce44349b3" providerId="LiveId" clId="{8C97B853-E239-49C0-A36B-A3F2C855C3BA}" dt="2023-11-02T23:31:35.329" v="24297" actId="207"/>
          <ac:spMkLst>
            <pc:docMk/>
            <pc:sldMk cId="1550236728" sldId="2585"/>
            <ac:spMk id="3" creationId="{7BC2ED5B-4F72-AE2F-0909-83D57A7256AA}"/>
          </ac:spMkLst>
        </pc:spChg>
      </pc:sldChg>
      <pc:sldChg chg="addSp delSp modSp add del mod">
        <pc:chgData name="Aurelien Domont" userId="6da7715ce44349b3" providerId="LiveId" clId="{8C97B853-E239-49C0-A36B-A3F2C855C3BA}" dt="2023-11-02T23:36:55.413" v="24348" actId="2696"/>
        <pc:sldMkLst>
          <pc:docMk/>
          <pc:sldMk cId="3371267838" sldId="2586"/>
        </pc:sldMkLst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5" creationId="{7CD63772-5E89-DCCE-4D99-9597B0D658AA}"/>
          </ac:spMkLst>
        </pc:spChg>
        <pc:spChg chg="mod">
          <ac:chgData name="Aurelien Domont" userId="6da7715ce44349b3" providerId="LiveId" clId="{8C97B853-E239-49C0-A36B-A3F2C855C3BA}" dt="2023-11-02T23:36:08.820" v="24310" actId="20577"/>
          <ac:spMkLst>
            <pc:docMk/>
            <pc:sldMk cId="3371267838" sldId="2586"/>
            <ac:spMk id="7" creationId="{74835C1F-E7CF-C9CB-0324-FEC2795999C5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8" creationId="{8E90CA46-2F65-83EA-D40C-D1FF25327993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9" creationId="{A8E3F4C3-0264-EB0A-25FA-5A0E1F4C3ACD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10" creationId="{3D4A470F-99DB-F750-6074-454B99078BDC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11" creationId="{DB39231D-8070-495B-E314-8F85612A2521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12" creationId="{8A830B46-3AC5-E925-8C21-6B370CB5A87C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13" creationId="{A3213008-F4F9-0BFD-A9FD-CCB2DC653956}"/>
          </ac:spMkLst>
        </pc:spChg>
        <pc:spChg chg="add mod">
          <ac:chgData name="Aurelien Domont" userId="6da7715ce44349b3" providerId="LiveId" clId="{8C97B853-E239-49C0-A36B-A3F2C855C3BA}" dt="2023-11-02T23:36:48.433" v="24347" actId="20577"/>
          <ac:spMkLst>
            <pc:docMk/>
            <pc:sldMk cId="3371267838" sldId="2586"/>
            <ac:spMk id="14" creationId="{C7CE66D3-BC87-3CC8-B7D8-6F38B5349266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15" creationId="{2B16D733-FFB7-DBB8-E831-5A5F4FACD98C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16" creationId="{0AED1ED8-667D-19CF-07C6-244341DA7886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17" creationId="{69FDAB35-91BF-7ACA-BC77-DC9F7045CEAC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18" creationId="{E5A2821C-28DE-A992-4160-4BF8F5C0F6BA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19" creationId="{36274914-D7F8-E77A-29DD-F36B3293350C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20" creationId="{56FF93A0-EAD6-87BB-CCD3-1977E393ABC4}"/>
          </ac:spMkLst>
        </pc:spChg>
        <pc:spChg chg="add mod">
          <ac:chgData name="Aurelien Domont" userId="6da7715ce44349b3" providerId="LiveId" clId="{8C97B853-E239-49C0-A36B-A3F2C855C3BA}" dt="2023-11-02T23:36:25.831" v="24313"/>
          <ac:spMkLst>
            <pc:docMk/>
            <pc:sldMk cId="3371267838" sldId="2586"/>
            <ac:spMk id="21" creationId="{A50590B3-19BC-40B0-D6E0-0F115A3FBF6D}"/>
          </ac:spMkLst>
        </pc:spChg>
        <pc:spChg chg="add mod">
          <ac:chgData name="Aurelien Domont" userId="6da7715ce44349b3" providerId="LiveId" clId="{8C97B853-E239-49C0-A36B-A3F2C855C3BA}" dt="2023-11-02T23:36:32.016" v="24340" actId="1036"/>
          <ac:spMkLst>
            <pc:docMk/>
            <pc:sldMk cId="3371267838" sldId="2586"/>
            <ac:spMk id="23" creationId="{6FCD453F-45E7-C708-BB29-BF062699DF25}"/>
          </ac:spMkLst>
        </pc:spChg>
        <pc:spChg chg="add mod">
          <ac:chgData name="Aurelien Domont" userId="6da7715ce44349b3" providerId="LiveId" clId="{8C97B853-E239-49C0-A36B-A3F2C855C3BA}" dt="2023-11-02T23:36:32.016" v="24340" actId="1036"/>
          <ac:spMkLst>
            <pc:docMk/>
            <pc:sldMk cId="3371267838" sldId="2586"/>
            <ac:spMk id="24" creationId="{D153A30E-90B1-081A-FE52-05B8B92DF789}"/>
          </ac:spMkLst>
        </pc:spChg>
        <pc:spChg chg="add mod">
          <ac:chgData name="Aurelien Domont" userId="6da7715ce44349b3" providerId="LiveId" clId="{8C97B853-E239-49C0-A36B-A3F2C855C3BA}" dt="2023-11-02T23:36:32.016" v="24340" actId="1036"/>
          <ac:spMkLst>
            <pc:docMk/>
            <pc:sldMk cId="3371267838" sldId="2586"/>
            <ac:spMk id="25" creationId="{35166CC7-3A41-5983-CA3C-124EABD6080F}"/>
          </ac:spMkLst>
        </pc:spChg>
        <pc:spChg chg="add mod">
          <ac:chgData name="Aurelien Domont" userId="6da7715ce44349b3" providerId="LiveId" clId="{8C97B853-E239-49C0-A36B-A3F2C855C3BA}" dt="2023-11-02T23:36:32.016" v="24340" actId="1036"/>
          <ac:spMkLst>
            <pc:docMk/>
            <pc:sldMk cId="3371267838" sldId="2586"/>
            <ac:spMk id="26" creationId="{98AB6E09-1783-8656-EA96-4902DA8F852B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53" creationId="{58E6B953-7B5B-AF6A-C57F-816EC32A56FC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54" creationId="{27D90748-0CFA-86AB-216F-8D0C64A3C8EE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55" creationId="{ECEFFF42-0C4F-6D4D-082E-D1CF2F25234E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56" creationId="{51563BF2-737E-1EBF-406E-325E6FC99B47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57" creationId="{192F0DD2-8568-BDEC-5A8E-C47D13AB9C8C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58" creationId="{EB8B334D-E6D4-5F22-1DCC-CB6F9EF2820E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59" creationId="{6A152309-DEC6-A8FD-9B6B-14FBA8E1E3C9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60" creationId="{54D9859E-FC8A-7236-70AF-0029D4ADB85C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61" creationId="{BF848191-D095-6964-21DF-5BE8DF86D483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62" creationId="{7CF347B0-C8D2-32A3-BA58-3DF7B846F1B4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63" creationId="{4C4AC211-229A-0249-DDEA-7F83AD0F798D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64" creationId="{C139EB97-A750-FE8D-FCBB-93D702AA4035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65" creationId="{92CD25C3-498A-4A34-8361-3C6B9A57E2E8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66" creationId="{21CE777A-6602-7DC1-B1B6-A2CE9794BA89}"/>
          </ac:spMkLst>
        </pc:spChg>
        <pc:spChg chg="del">
          <ac:chgData name="Aurelien Domont" userId="6da7715ce44349b3" providerId="LiveId" clId="{8C97B853-E239-49C0-A36B-A3F2C855C3BA}" dt="2023-11-02T23:36:11.714" v="24311" actId="478"/>
          <ac:spMkLst>
            <pc:docMk/>
            <pc:sldMk cId="3371267838" sldId="2586"/>
            <ac:spMk id="67" creationId="{1A1F0516-CDEC-C17E-9454-497E8547D756}"/>
          </ac:spMkLst>
        </pc:spChg>
        <pc:spChg chg="del">
          <ac:chgData name="Aurelien Domont" userId="6da7715ce44349b3" providerId="LiveId" clId="{8C97B853-E239-49C0-A36B-A3F2C855C3BA}" dt="2023-11-02T23:36:25.477" v="24312" actId="478"/>
          <ac:spMkLst>
            <pc:docMk/>
            <pc:sldMk cId="3371267838" sldId="2586"/>
            <ac:spMk id="84" creationId="{7F293523-9E60-FA88-88A4-0549A7A91AF8}"/>
          </ac:spMkLst>
        </pc:spChg>
        <pc:spChg chg="del">
          <ac:chgData name="Aurelien Domont" userId="6da7715ce44349b3" providerId="LiveId" clId="{8C97B853-E239-49C0-A36B-A3F2C855C3BA}" dt="2023-11-02T23:36:25.477" v="24312" actId="478"/>
          <ac:spMkLst>
            <pc:docMk/>
            <pc:sldMk cId="3371267838" sldId="2586"/>
            <ac:spMk id="85" creationId="{142355BE-5D6E-CBDC-7B35-7901FA8F24B1}"/>
          </ac:spMkLst>
        </pc:spChg>
        <pc:spChg chg="del">
          <ac:chgData name="Aurelien Domont" userId="6da7715ce44349b3" providerId="LiveId" clId="{8C97B853-E239-49C0-A36B-A3F2C855C3BA}" dt="2023-11-02T23:36:25.477" v="24312" actId="478"/>
          <ac:spMkLst>
            <pc:docMk/>
            <pc:sldMk cId="3371267838" sldId="2586"/>
            <ac:spMk id="86" creationId="{901B43EF-9E71-DEF4-6745-D739AFC20F29}"/>
          </ac:spMkLst>
        </pc:spChg>
        <pc:grpChg chg="del">
          <ac:chgData name="Aurelien Domont" userId="6da7715ce44349b3" providerId="LiveId" clId="{8C97B853-E239-49C0-A36B-A3F2C855C3BA}" dt="2023-11-02T23:36:11.714" v="24311" actId="478"/>
          <ac:grpSpMkLst>
            <pc:docMk/>
            <pc:sldMk cId="3371267838" sldId="2586"/>
            <ac:grpSpMk id="68" creationId="{84C577E4-160E-EC42-D16C-C33991E845FA}"/>
          </ac:grpSpMkLst>
        </pc:grpChg>
        <pc:grpChg chg="del">
          <ac:chgData name="Aurelien Domont" userId="6da7715ce44349b3" providerId="LiveId" clId="{8C97B853-E239-49C0-A36B-A3F2C855C3BA}" dt="2023-11-02T23:36:11.714" v="24311" actId="478"/>
          <ac:grpSpMkLst>
            <pc:docMk/>
            <pc:sldMk cId="3371267838" sldId="2586"/>
            <ac:grpSpMk id="72" creationId="{E1E9E8C9-282B-4A97-3D1F-7A136BC82AB3}"/>
          </ac:grpSpMkLst>
        </pc:grpChg>
        <pc:grpChg chg="del">
          <ac:chgData name="Aurelien Domont" userId="6da7715ce44349b3" providerId="LiveId" clId="{8C97B853-E239-49C0-A36B-A3F2C855C3BA}" dt="2023-11-02T23:36:11.714" v="24311" actId="478"/>
          <ac:grpSpMkLst>
            <pc:docMk/>
            <pc:sldMk cId="3371267838" sldId="2586"/>
            <ac:grpSpMk id="76" creationId="{20B73120-4AE8-D2FF-7F34-44C198C8ACD9}"/>
          </ac:grpSpMkLst>
        </pc:grpChg>
        <pc:grpChg chg="del">
          <ac:chgData name="Aurelien Domont" userId="6da7715ce44349b3" providerId="LiveId" clId="{8C97B853-E239-49C0-A36B-A3F2C855C3BA}" dt="2023-11-02T23:36:11.714" v="24311" actId="478"/>
          <ac:grpSpMkLst>
            <pc:docMk/>
            <pc:sldMk cId="3371267838" sldId="2586"/>
            <ac:grpSpMk id="80" creationId="{CFCDC543-4E9B-A63C-F2FC-6C44CB66D62C}"/>
          </ac:grpSpMkLst>
        </pc:grpChg>
        <pc:cxnChg chg="add mod">
          <ac:chgData name="Aurelien Domont" userId="6da7715ce44349b3" providerId="LiveId" clId="{8C97B853-E239-49C0-A36B-A3F2C855C3BA}" dt="2023-11-02T23:36:25.831" v="24313"/>
          <ac:cxnSpMkLst>
            <pc:docMk/>
            <pc:sldMk cId="3371267838" sldId="2586"/>
            <ac:cxnSpMk id="22" creationId="{FBD80D96-5E61-2BE7-07A5-B5198E7A3CE6}"/>
          </ac:cxnSpMkLst>
        </pc:cxnChg>
      </pc:sldChg>
      <pc:sldChg chg="addSp delSp modSp add mod">
        <pc:chgData name="Aurelien Domont" userId="6da7715ce44349b3" providerId="LiveId" clId="{8C97B853-E239-49C0-A36B-A3F2C855C3BA}" dt="2023-11-02T23:40:21.192" v="24526"/>
        <pc:sldMkLst>
          <pc:docMk/>
          <pc:sldMk cId="3493403752" sldId="2586"/>
        </pc:sldMkLst>
        <pc:spChg chg="mod">
          <ac:chgData name="Aurelien Domont" userId="6da7715ce44349b3" providerId="LiveId" clId="{8C97B853-E239-49C0-A36B-A3F2C855C3BA}" dt="2023-11-02T23:40:21.154" v="24499" actId="948"/>
          <ac:spMkLst>
            <pc:docMk/>
            <pc:sldMk cId="3493403752" sldId="2586"/>
            <ac:spMk id="2" creationId="{CBE418EF-11DB-1047-ED86-93F471E3083F}"/>
          </ac:spMkLst>
        </pc:spChg>
        <pc:spChg chg="mod">
          <ac:chgData name="Aurelien Domont" userId="6da7715ce44349b3" providerId="LiveId" clId="{8C97B853-E239-49C0-A36B-A3F2C855C3BA}" dt="2023-11-02T23:37:06.300" v="24418" actId="20577"/>
          <ac:spMkLst>
            <pc:docMk/>
            <pc:sldMk cId="3493403752" sldId="2586"/>
            <ac:spMk id="7" creationId="{74835C1F-E7CF-C9CB-0324-FEC2795999C5}"/>
          </ac:spMkLst>
        </pc:spChg>
        <pc:spChg chg="add del mod modVis">
          <ac:chgData name="Aurelien Domont" userId="6da7715ce44349b3" providerId="LiveId" clId="{8C97B853-E239-49C0-A36B-A3F2C855C3BA}" dt="2023-11-02T23:37:01.231" v="24380"/>
          <ac:spMkLst>
            <pc:docMk/>
            <pc:sldMk cId="3493403752" sldId="2586"/>
            <ac:spMk id="27" creationId="{1598EAB2-B913-B751-6AB0-C3F47D431A07}"/>
          </ac:spMkLst>
        </pc:spChg>
        <pc:spChg chg="add del mod modVis">
          <ac:chgData name="Aurelien Domont" userId="6da7715ce44349b3" providerId="LiveId" clId="{8C97B853-E239-49C0-A36B-A3F2C855C3BA}" dt="2023-11-02T23:37:02.887" v="24414"/>
          <ac:spMkLst>
            <pc:docMk/>
            <pc:sldMk cId="3493403752" sldId="2586"/>
            <ac:spMk id="28" creationId="{47ED7244-EBB0-5DDD-A81B-E21AA88AF89A}"/>
          </ac:spMkLst>
        </pc:spChg>
        <pc:spChg chg="add del mod modVis">
          <ac:chgData name="Aurelien Domont" userId="6da7715ce44349b3" providerId="LiveId" clId="{8C97B853-E239-49C0-A36B-A3F2C855C3BA}" dt="2023-11-02T23:40:18.586" v="24460"/>
          <ac:spMkLst>
            <pc:docMk/>
            <pc:sldMk cId="3493403752" sldId="2586"/>
            <ac:spMk id="31" creationId="{91E9C8FF-BC34-6B94-AC7E-0C96A23F0309}"/>
          </ac:spMkLst>
        </pc:spChg>
        <pc:spChg chg="add del mod modVis">
          <ac:chgData name="Aurelien Domont" userId="6da7715ce44349b3" providerId="LiveId" clId="{8C97B853-E239-49C0-A36B-A3F2C855C3BA}" dt="2023-11-02T23:40:19.266" v="24489"/>
          <ac:spMkLst>
            <pc:docMk/>
            <pc:sldMk cId="3493403752" sldId="2586"/>
            <ac:spMk id="32" creationId="{7CACA1E0-06B4-4AD3-6A56-A3D01D2D56EF}"/>
          </ac:spMkLst>
        </pc:spChg>
        <pc:spChg chg="add del mod modVis">
          <ac:chgData name="Aurelien Domont" userId="6da7715ce44349b3" providerId="LiveId" clId="{8C97B853-E239-49C0-A36B-A3F2C855C3BA}" dt="2023-11-02T23:40:21.185" v="24524"/>
          <ac:spMkLst>
            <pc:docMk/>
            <pc:sldMk cId="3493403752" sldId="2586"/>
            <ac:spMk id="33" creationId="{6ADFC6AC-F02E-49A1-E342-14B817795F5B}"/>
          </ac:spMkLst>
        </pc:spChg>
        <pc:graphicFrameChg chg="mod">
          <ac:chgData name="Aurelien Domont" userId="6da7715ce44349b3" providerId="LiveId" clId="{8C97B853-E239-49C0-A36B-A3F2C855C3BA}" dt="2023-11-02T23:40:21.192" v="24526"/>
          <ac:graphicFrameMkLst>
            <pc:docMk/>
            <pc:sldMk cId="3493403752" sldId="2586"/>
            <ac:graphicFrameMk id="6" creationId="{D5F8606D-2ABE-6BE3-C950-51E100B74379}"/>
          </ac:graphicFrameMkLst>
        </pc:graphicFrameChg>
      </pc:sldChg>
      <pc:sldChg chg="addSp delSp modSp add mod">
        <pc:chgData name="Aurelien Domont" userId="6da7715ce44349b3" providerId="LiveId" clId="{8C97B853-E239-49C0-A36B-A3F2C855C3BA}" dt="2023-11-02T23:52:15.070" v="33917"/>
        <pc:sldMkLst>
          <pc:docMk/>
          <pc:sldMk cId="2158731188" sldId="2587"/>
        </pc:sldMkLst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9" creationId="{C3421805-B9A9-083E-D519-1F923A89AA3D}"/>
          </ac:spMkLst>
        </pc:spChg>
        <pc:spChg chg="mod">
          <ac:chgData name="Aurelien Domont" userId="6da7715ce44349b3" providerId="LiveId" clId="{8C97B853-E239-49C0-A36B-A3F2C855C3BA}" dt="2023-11-02T23:42:27.864" v="24558" actId="20577"/>
          <ac:spMkLst>
            <pc:docMk/>
            <pc:sldMk cId="2158731188" sldId="2587"/>
            <ac:spMk id="11" creationId="{8CDB47F6-F264-992A-EF0E-0D24818573CF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12" creationId="{8D73851B-8966-4AF0-AF20-D174C57660CC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14" creationId="{71FA808A-5F3F-4B55-AA71-8920411EE028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15" creationId="{B4BC8757-7389-421F-97CC-B24B61014A29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20" creationId="{8CE587B6-8144-4628-93BF-A402D72D4191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21" creationId="{B043C1C1-7F13-BEE3-DBEA-40A8E7788D28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23" creationId="{DE551130-DBA0-4632-8911-154288F2401C}"/>
          </ac:spMkLst>
        </pc:spChg>
        <pc:spChg chg="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24" creationId="{2889AC5C-F8BB-A6BD-C4F1-F4D1F885C052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25" creationId="{587FC959-9D76-4417-A0F1-91619E9EB742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29" creationId="{AE95E0A7-C93B-434C-87DB-C458A6B950DF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30" creationId="{CD0A0A59-B83E-4417-8744-329A737F6FB2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31" creationId="{A244DEAF-940A-42DE-B8E1-DFEBC741CA87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35" creationId="{27C26B59-8CB6-4891-9E5B-E084A632EDED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36" creationId="{2B57DD46-4BB4-4CB4-BD37-0BBE713E57E0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37" creationId="{01450FF3-CF51-4073-8E12-A155135D4E92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41" creationId="{D6F051A2-8AC7-401B-A57A-E4AFF182B124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42" creationId="{1DA88328-B6C2-45C8-8C0A-72F0165EC51B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43" creationId="{CB11810C-CC63-475E-AD04-A2CBB50A9496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44" creationId="{F0FD547D-B657-4C4C-B79F-83F1E5779909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46" creationId="{44A1FB23-C17C-41DA-9304-A51A4D6292CF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47" creationId="{4C02C8C0-D3F0-4148-9005-AF45D0FB17E8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49" creationId="{8A7B4999-CD10-41E9-88E5-4FCCE0CAFB41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50" creationId="{57E94310-8A28-459C-A547-73EE86DB6C09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52" creationId="{CAB5B685-A381-47DD-B6D8-535A4CFC899D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53" creationId="{176ECE44-B035-472F-9CE4-C039972188FA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55" creationId="{8079E383-851C-4CEB-B0D1-CC2940537287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56" creationId="{8E1405C2-9C13-4E6E-838B-C37C12E37FE6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58" creationId="{BF79F4AE-FF78-46B0-B007-60292228042A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59" creationId="{7C980687-706C-4E59-88CB-CEF4820B420F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61" creationId="{646317DA-D084-43C6-9EB2-9930CBD7833E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62" creationId="{E2A40110-386E-4271-9394-F8FC1316E031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64" creationId="{FA12E37A-4E2F-443F-ACB3-872E5B0E4C3E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65" creationId="{9CCF4825-112F-4397-A274-050B03E0F507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67" creationId="{544C8832-828E-4C12-B1D2-1C69996F1B58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68" creationId="{614C912F-9510-4465-B11F-F7BDE2973E25}"/>
          </ac:spMkLst>
        </pc:spChg>
        <pc:spChg chg="del">
          <ac:chgData name="Aurelien Domont" userId="6da7715ce44349b3" providerId="LiveId" clId="{8C97B853-E239-49C0-A36B-A3F2C855C3BA}" dt="2023-11-02T23:42:25.791" v="24556" actId="478"/>
          <ac:spMkLst>
            <pc:docMk/>
            <pc:sldMk cId="2158731188" sldId="2587"/>
            <ac:spMk id="70" creationId="{B22A4CF3-149B-4F70-BF8D-99C187B43589}"/>
          </ac:spMkLst>
        </pc:spChg>
        <pc:spChg chg="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71" creationId="{825592A3-A182-802A-4467-12B875BEF6BE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72" creationId="{979D5673-01B2-C764-F698-1D1E003C780D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73" creationId="{9E7A772C-3E9B-07A1-928D-F6B5B03C0041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74" creationId="{2DB88DC6-E49B-6E79-83F7-1FEDFA9E85C9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75" creationId="{04F8E62B-0B58-B34D-7C12-58AC87CC055C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76" creationId="{C0ECF437-F358-B83C-7EE3-AB98C25FA7A7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77" creationId="{E0C1164C-D04E-A295-D0C5-10E0077A44C7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78" creationId="{C36DB09C-C0ED-9A88-87F2-025FF6E915EA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79" creationId="{97743DFC-7664-E0CC-C933-FC74C28F848E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80" creationId="{C466709B-743D-935B-E41A-12BF0822B32E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81" creationId="{9092CDF0-9776-2C87-03BB-BB10920E3C82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82" creationId="{F543C529-8054-DD2C-9333-BF20BCE12D08}"/>
          </ac:spMkLst>
        </pc:spChg>
        <pc:spChg chg="add mod">
          <ac:chgData name="Aurelien Domont" userId="6da7715ce44349b3" providerId="LiveId" clId="{8C97B853-E239-49C0-A36B-A3F2C855C3BA}" dt="2023-11-02T23:42:33.010" v="24559"/>
          <ac:spMkLst>
            <pc:docMk/>
            <pc:sldMk cId="2158731188" sldId="2587"/>
            <ac:spMk id="83" creationId="{2CCDC379-6978-4259-F9AB-BA3A6E84F290}"/>
          </ac:spMkLst>
        </pc:spChg>
        <pc:grpChg chg="del">
          <ac:chgData name="Aurelien Domont" userId="6da7715ce44349b3" providerId="LiveId" clId="{8C97B853-E239-49C0-A36B-A3F2C855C3BA}" dt="2023-11-02T23:42:25.791" v="24556" actId="478"/>
          <ac:grpSpMkLst>
            <pc:docMk/>
            <pc:sldMk cId="2158731188" sldId="2587"/>
            <ac:grpSpMk id="3" creationId="{FA5EE1B6-E099-4FEC-8FD7-6BD0E13C1DCF}"/>
          </ac:grpSpMkLst>
        </pc:grpChg>
        <pc:grpChg chg="del">
          <ac:chgData name="Aurelien Domont" userId="6da7715ce44349b3" providerId="LiveId" clId="{8C97B853-E239-49C0-A36B-A3F2C855C3BA}" dt="2023-11-02T23:42:25.791" v="24556" actId="478"/>
          <ac:grpSpMkLst>
            <pc:docMk/>
            <pc:sldMk cId="2158731188" sldId="2587"/>
            <ac:grpSpMk id="4" creationId="{7C2FC680-7E9C-4B6B-9B27-85A1D18029D1}"/>
          </ac:grpSpMkLst>
        </pc:grpChg>
        <pc:grpChg chg="del">
          <ac:chgData name="Aurelien Domont" userId="6da7715ce44349b3" providerId="LiveId" clId="{8C97B853-E239-49C0-A36B-A3F2C855C3BA}" dt="2023-11-02T23:42:25.791" v="24556" actId="478"/>
          <ac:grpSpMkLst>
            <pc:docMk/>
            <pc:sldMk cId="2158731188" sldId="2587"/>
            <ac:grpSpMk id="5" creationId="{EB30D682-97DE-42E9-AE3B-951B815F62AE}"/>
          </ac:grpSpMkLst>
        </pc:grpChg>
        <pc:grpChg chg="del">
          <ac:chgData name="Aurelien Domont" userId="6da7715ce44349b3" providerId="LiveId" clId="{8C97B853-E239-49C0-A36B-A3F2C855C3BA}" dt="2023-11-02T23:42:25.791" v="24556" actId="478"/>
          <ac:grpSpMkLst>
            <pc:docMk/>
            <pc:sldMk cId="2158731188" sldId="2587"/>
            <ac:grpSpMk id="6" creationId="{21529C3A-FB56-4DA1-9250-3F6D1B74E004}"/>
          </ac:grpSpMkLst>
        </pc:grpChg>
        <pc:grpChg chg="add mod">
          <ac:chgData name="Aurelien Domont" userId="6da7715ce44349b3" providerId="LiveId" clId="{8C97B853-E239-49C0-A36B-A3F2C855C3BA}" dt="2023-11-02T23:42:33.010" v="24559"/>
          <ac:grpSpMkLst>
            <pc:docMk/>
            <pc:sldMk cId="2158731188" sldId="2587"/>
            <ac:grpSpMk id="22" creationId="{F2941C11-C339-BC1F-311C-20A5E2DC45A5}"/>
          </ac:grpSpMkLst>
        </pc:grpChg>
        <pc:graphicFrameChg chg="add mod modGraphic">
          <ac:chgData name="Aurelien Domont" userId="6da7715ce44349b3" providerId="LiveId" clId="{8C97B853-E239-49C0-A36B-A3F2C855C3BA}" dt="2023-11-02T23:52:15.070" v="33917"/>
          <ac:graphicFrameMkLst>
            <pc:docMk/>
            <pc:sldMk cId="2158731188" sldId="2587"/>
            <ac:graphicFrameMk id="7" creationId="{F43F6FAA-57DF-1CF8-7A51-A14802EE3FD2}"/>
          </ac:graphicFrameMkLst>
        </pc:graphicFrameChg>
        <pc:cxnChg chg="del">
          <ac:chgData name="Aurelien Domont" userId="6da7715ce44349b3" providerId="LiveId" clId="{8C97B853-E239-49C0-A36B-A3F2C855C3BA}" dt="2023-11-02T23:42:25.791" v="24556" actId="478"/>
          <ac:cxnSpMkLst>
            <pc:docMk/>
            <pc:sldMk cId="2158731188" sldId="2587"/>
            <ac:cxnSpMk id="45" creationId="{8630EDB3-98DB-4D88-B40B-F372FD651CBA}"/>
          </ac:cxnSpMkLst>
        </pc:cxnChg>
        <pc:cxnChg chg="del">
          <ac:chgData name="Aurelien Domont" userId="6da7715ce44349b3" providerId="LiveId" clId="{8C97B853-E239-49C0-A36B-A3F2C855C3BA}" dt="2023-11-02T23:42:25.791" v="24556" actId="478"/>
          <ac:cxnSpMkLst>
            <pc:docMk/>
            <pc:sldMk cId="2158731188" sldId="2587"/>
            <ac:cxnSpMk id="48" creationId="{94AAD95D-BA1A-445D-966D-7392CB9860F9}"/>
          </ac:cxnSpMkLst>
        </pc:cxnChg>
        <pc:cxnChg chg="del">
          <ac:chgData name="Aurelien Domont" userId="6da7715ce44349b3" providerId="LiveId" clId="{8C97B853-E239-49C0-A36B-A3F2C855C3BA}" dt="2023-11-02T23:42:25.791" v="24556" actId="478"/>
          <ac:cxnSpMkLst>
            <pc:docMk/>
            <pc:sldMk cId="2158731188" sldId="2587"/>
            <ac:cxnSpMk id="51" creationId="{E41938CD-6C67-4E5D-B214-D7DA97F8CCF2}"/>
          </ac:cxnSpMkLst>
        </pc:cxnChg>
        <pc:cxnChg chg="del">
          <ac:chgData name="Aurelien Domont" userId="6da7715ce44349b3" providerId="LiveId" clId="{8C97B853-E239-49C0-A36B-A3F2C855C3BA}" dt="2023-11-02T23:42:25.791" v="24556" actId="478"/>
          <ac:cxnSpMkLst>
            <pc:docMk/>
            <pc:sldMk cId="2158731188" sldId="2587"/>
            <ac:cxnSpMk id="54" creationId="{236DE3A6-56D7-477A-91CB-40D1306B6D25}"/>
          </ac:cxnSpMkLst>
        </pc:cxnChg>
        <pc:cxnChg chg="del">
          <ac:chgData name="Aurelien Domont" userId="6da7715ce44349b3" providerId="LiveId" clId="{8C97B853-E239-49C0-A36B-A3F2C855C3BA}" dt="2023-11-02T23:42:25.791" v="24556" actId="478"/>
          <ac:cxnSpMkLst>
            <pc:docMk/>
            <pc:sldMk cId="2158731188" sldId="2587"/>
            <ac:cxnSpMk id="57" creationId="{C7808F68-236F-4F3C-9320-1C0513329B04}"/>
          </ac:cxnSpMkLst>
        </pc:cxnChg>
        <pc:cxnChg chg="del">
          <ac:chgData name="Aurelien Domont" userId="6da7715ce44349b3" providerId="LiveId" clId="{8C97B853-E239-49C0-A36B-A3F2C855C3BA}" dt="2023-11-02T23:42:25.791" v="24556" actId="478"/>
          <ac:cxnSpMkLst>
            <pc:docMk/>
            <pc:sldMk cId="2158731188" sldId="2587"/>
            <ac:cxnSpMk id="60" creationId="{8FFF0A30-5F64-4A32-9266-A297145BBD63}"/>
          </ac:cxnSpMkLst>
        </pc:cxnChg>
        <pc:cxnChg chg="del">
          <ac:chgData name="Aurelien Domont" userId="6da7715ce44349b3" providerId="LiveId" clId="{8C97B853-E239-49C0-A36B-A3F2C855C3BA}" dt="2023-11-02T23:42:25.791" v="24556" actId="478"/>
          <ac:cxnSpMkLst>
            <pc:docMk/>
            <pc:sldMk cId="2158731188" sldId="2587"/>
            <ac:cxnSpMk id="63" creationId="{EC68C0E8-439E-412E-A52E-52B3C6AD852B}"/>
          </ac:cxnSpMkLst>
        </pc:cxnChg>
        <pc:cxnChg chg="del">
          <ac:chgData name="Aurelien Domont" userId="6da7715ce44349b3" providerId="LiveId" clId="{8C97B853-E239-49C0-A36B-A3F2C855C3BA}" dt="2023-11-02T23:42:25.791" v="24556" actId="478"/>
          <ac:cxnSpMkLst>
            <pc:docMk/>
            <pc:sldMk cId="2158731188" sldId="2587"/>
            <ac:cxnSpMk id="66" creationId="{9E9E5C51-6911-44F2-9F6C-0DB1D26B0C6C}"/>
          </ac:cxnSpMkLst>
        </pc:cxnChg>
        <pc:cxnChg chg="del">
          <ac:chgData name="Aurelien Domont" userId="6da7715ce44349b3" providerId="LiveId" clId="{8C97B853-E239-49C0-A36B-A3F2C855C3BA}" dt="2023-11-02T23:42:25.791" v="24556" actId="478"/>
          <ac:cxnSpMkLst>
            <pc:docMk/>
            <pc:sldMk cId="2158731188" sldId="2587"/>
            <ac:cxnSpMk id="69" creationId="{D85CEE4A-6721-4F87-8ECF-DBDF936001D0}"/>
          </ac:cxnSpMkLst>
        </pc:cxnChg>
      </pc:sldChg>
      <pc:sldChg chg="addSp delSp modSp add mod">
        <pc:chgData name="Aurelien Domont" userId="6da7715ce44349b3" providerId="LiveId" clId="{8C97B853-E239-49C0-A36B-A3F2C855C3BA}" dt="2023-11-02T23:49:45.553" v="33881"/>
        <pc:sldMkLst>
          <pc:docMk/>
          <pc:sldMk cId="3959411121" sldId="2588"/>
        </pc:sldMkLst>
        <pc:spChg chg="mod ord">
          <ac:chgData name="Aurelien Domont" userId="6da7715ce44349b3" providerId="LiveId" clId="{8C97B853-E239-49C0-A36B-A3F2C855C3BA}" dt="2023-11-02T23:49:14.486" v="33657"/>
          <ac:spMkLst>
            <pc:docMk/>
            <pc:sldMk cId="3959411121" sldId="2588"/>
            <ac:spMk id="2" creationId="{038E7380-786B-D0F2-BE14-18E6B4592267}"/>
          </ac:spMkLst>
        </pc:spChg>
        <pc:spChg chg="add mod replST">
          <ac:chgData name="Aurelien Domont" userId="6da7715ce44349b3" providerId="LiveId" clId="{8C97B853-E239-49C0-A36B-A3F2C855C3BA}" dt="2023-11-02T23:49:45.521" v="33866"/>
          <ac:spMkLst>
            <pc:docMk/>
            <pc:sldMk cId="3959411121" sldId="2588"/>
            <ac:spMk id="3" creationId="{22E7DEA4-6B5D-B95E-3C0C-10E25009069D}"/>
          </ac:spMkLst>
        </pc:spChg>
        <pc:spChg chg="add mod replST">
          <ac:chgData name="Aurelien Domont" userId="6da7715ce44349b3" providerId="LiveId" clId="{8C97B853-E239-49C0-A36B-A3F2C855C3BA}" dt="2023-11-02T23:49:45.521" v="33867"/>
          <ac:spMkLst>
            <pc:docMk/>
            <pc:sldMk cId="3959411121" sldId="2588"/>
            <ac:spMk id="4" creationId="{4FE0A7CC-20AD-781F-EB04-73A3CD45E0B0}"/>
          </ac:spMkLst>
        </pc:spChg>
        <pc:spChg chg="add mod replST">
          <ac:chgData name="Aurelien Domont" userId="6da7715ce44349b3" providerId="LiveId" clId="{8C97B853-E239-49C0-A36B-A3F2C855C3BA}" dt="2023-11-02T23:49:45.521" v="33868"/>
          <ac:spMkLst>
            <pc:docMk/>
            <pc:sldMk cId="3959411121" sldId="2588"/>
            <ac:spMk id="5" creationId="{4E9A401C-A156-50D0-6696-D6C9BE9065EC}"/>
          </ac:spMkLst>
        </pc:spChg>
        <pc:spChg chg="add mod replST">
          <ac:chgData name="Aurelien Domont" userId="6da7715ce44349b3" providerId="LiveId" clId="{8C97B853-E239-49C0-A36B-A3F2C855C3BA}" dt="2023-11-02T23:49:45.521" v="33869"/>
          <ac:spMkLst>
            <pc:docMk/>
            <pc:sldMk cId="3959411121" sldId="2588"/>
            <ac:spMk id="6" creationId="{0A68C6E7-258C-0178-29C3-B8BDECDA86B9}"/>
          </ac:spMkLst>
        </pc:spChg>
        <pc:spChg chg="mod ord">
          <ac:chgData name="Aurelien Domont" userId="6da7715ce44349b3" providerId="LiveId" clId="{8C97B853-E239-49C0-A36B-A3F2C855C3BA}" dt="2023-11-02T23:49:14.486" v="33659"/>
          <ac:spMkLst>
            <pc:docMk/>
            <pc:sldMk cId="3959411121" sldId="2588"/>
            <ac:spMk id="8" creationId="{E47C94C3-E49A-3491-C33B-3CC38462973E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9" creationId="{C3421805-B9A9-083E-D519-1F923A89AA3D}"/>
          </ac:spMkLst>
        </pc:spChg>
        <pc:spChg chg="mod ord">
          <ac:chgData name="Aurelien Domont" userId="6da7715ce44349b3" providerId="LiveId" clId="{8C97B853-E239-49C0-A36B-A3F2C855C3BA}" dt="2023-11-02T23:49:14.486" v="33655"/>
          <ac:spMkLst>
            <pc:docMk/>
            <pc:sldMk cId="3959411121" sldId="2588"/>
            <ac:spMk id="10" creationId="{F1590AFA-4AF3-4CA5-B7AD-9C7F360BC647}"/>
          </ac:spMkLst>
        </pc:spChg>
        <pc:spChg chg="mod ord">
          <ac:chgData name="Aurelien Domont" userId="6da7715ce44349b3" providerId="LiveId" clId="{8C97B853-E239-49C0-A36B-A3F2C855C3BA}" dt="2023-11-02T23:49:14.486" v="33661"/>
          <ac:spMkLst>
            <pc:docMk/>
            <pc:sldMk cId="3959411121" sldId="2588"/>
            <ac:spMk id="11" creationId="{8CDB47F6-F264-992A-EF0E-0D24818573CF}"/>
          </ac:spMkLst>
        </pc:spChg>
        <pc:spChg chg="add mod replST">
          <ac:chgData name="Aurelien Domont" userId="6da7715ce44349b3" providerId="LiveId" clId="{8C97B853-E239-49C0-A36B-A3F2C855C3BA}" dt="2023-11-02T23:49:45.521" v="33870"/>
          <ac:spMkLst>
            <pc:docMk/>
            <pc:sldMk cId="3959411121" sldId="2588"/>
            <ac:spMk id="12" creationId="{4A15A7B7-F4EE-F2B5-EB67-C2E729BBFF0D}"/>
          </ac:spMkLst>
        </pc:spChg>
        <pc:spChg chg="add mod replST">
          <ac:chgData name="Aurelien Domont" userId="6da7715ce44349b3" providerId="LiveId" clId="{8C97B853-E239-49C0-A36B-A3F2C855C3BA}" dt="2023-11-02T23:49:45.521" v="33871"/>
          <ac:spMkLst>
            <pc:docMk/>
            <pc:sldMk cId="3959411121" sldId="2588"/>
            <ac:spMk id="14" creationId="{C770D235-0D89-E4FE-8F86-36EDDE2B1D7A}"/>
          </ac:spMkLst>
        </pc:spChg>
        <pc:spChg chg="add mod replST">
          <ac:chgData name="Aurelien Domont" userId="6da7715ce44349b3" providerId="LiveId" clId="{8C97B853-E239-49C0-A36B-A3F2C855C3BA}" dt="2023-11-02T23:49:45.521" v="33872"/>
          <ac:spMkLst>
            <pc:docMk/>
            <pc:sldMk cId="3959411121" sldId="2588"/>
            <ac:spMk id="15" creationId="{4EFDCD6E-F038-4394-40E9-A44AD4C3AA59}"/>
          </ac:spMkLst>
        </pc:spChg>
        <pc:spChg chg="mod ord">
          <ac:chgData name="Aurelien Domont" userId="6da7715ce44349b3" providerId="LiveId" clId="{8C97B853-E239-49C0-A36B-A3F2C855C3BA}" dt="2023-11-02T23:49:14.485" v="33653"/>
          <ac:spMkLst>
            <pc:docMk/>
            <pc:sldMk cId="3959411121" sldId="2588"/>
            <ac:spMk id="16" creationId="{6C2BB713-9637-4B9B-938F-E9768876782A}"/>
          </ac:spMkLst>
        </pc:spChg>
        <pc:spChg chg="add mod replST">
          <ac:chgData name="Aurelien Domont" userId="6da7715ce44349b3" providerId="LiveId" clId="{8C97B853-E239-49C0-A36B-A3F2C855C3BA}" dt="2023-11-02T23:49:45.521" v="33873"/>
          <ac:spMkLst>
            <pc:docMk/>
            <pc:sldMk cId="3959411121" sldId="2588"/>
            <ac:spMk id="17" creationId="{87E95E3E-4049-33AE-BFC6-9A612D6ED1D2}"/>
          </ac:spMkLst>
        </pc:spChg>
        <pc:spChg chg="add mod replST">
          <ac:chgData name="Aurelien Domont" userId="6da7715ce44349b3" providerId="LiveId" clId="{8C97B853-E239-49C0-A36B-A3F2C855C3BA}" dt="2023-11-02T23:49:45.521" v="33874"/>
          <ac:spMkLst>
            <pc:docMk/>
            <pc:sldMk cId="3959411121" sldId="2588"/>
            <ac:spMk id="18" creationId="{8BF93BF6-DA62-13B4-279A-FAB119DA01CD}"/>
          </ac:spMkLst>
        </pc:spChg>
        <pc:spChg chg="add mod replST">
          <ac:chgData name="Aurelien Domont" userId="6da7715ce44349b3" providerId="LiveId" clId="{8C97B853-E239-49C0-A36B-A3F2C855C3BA}" dt="2023-11-02T23:49:45.521" v="33875"/>
          <ac:spMkLst>
            <pc:docMk/>
            <pc:sldMk cId="3959411121" sldId="2588"/>
            <ac:spMk id="19" creationId="{7F477D85-9E22-4C82-5B25-E4E22412DFFD}"/>
          </ac:spMkLst>
        </pc:spChg>
        <pc:spChg chg="add mod replST">
          <ac:chgData name="Aurelien Domont" userId="6da7715ce44349b3" providerId="LiveId" clId="{8C97B853-E239-49C0-A36B-A3F2C855C3BA}" dt="2023-11-02T23:49:45.521" v="33876"/>
          <ac:spMkLst>
            <pc:docMk/>
            <pc:sldMk cId="3959411121" sldId="2588"/>
            <ac:spMk id="20" creationId="{BFF14940-9FA5-5325-2E11-D8086814B042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21" creationId="{B043C1C1-7F13-BEE3-DBEA-40A8E7788D28}"/>
          </ac:spMkLst>
        </pc:spChg>
        <pc:spChg chg="add mod replST">
          <ac:chgData name="Aurelien Domont" userId="6da7715ce44349b3" providerId="LiveId" clId="{8C97B853-E239-49C0-A36B-A3F2C855C3BA}" dt="2023-11-02T23:49:45.521" v="33877"/>
          <ac:spMkLst>
            <pc:docMk/>
            <pc:sldMk cId="3959411121" sldId="2588"/>
            <ac:spMk id="23" creationId="{E9B2832D-A41F-9A0F-7D0F-449041543CBA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72" creationId="{979D5673-01B2-C764-F698-1D1E003C780D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73" creationId="{9E7A772C-3E9B-07A1-928D-F6B5B03C0041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74" creationId="{2DB88DC6-E49B-6E79-83F7-1FEDFA9E85C9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75" creationId="{04F8E62B-0B58-B34D-7C12-58AC87CC055C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76" creationId="{C0ECF437-F358-B83C-7EE3-AB98C25FA7A7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77" creationId="{E0C1164C-D04E-A295-D0C5-10E0077A44C7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78" creationId="{C36DB09C-C0ED-9A88-87F2-025FF6E915EA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79" creationId="{97743DFC-7664-E0CC-C933-FC74C28F848E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80" creationId="{C466709B-743D-935B-E41A-12BF0822B32E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81" creationId="{9092CDF0-9776-2C87-03BB-BB10920E3C82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82" creationId="{F543C529-8054-DD2C-9333-BF20BCE12D08}"/>
          </ac:spMkLst>
        </pc:spChg>
        <pc:spChg chg="del">
          <ac:chgData name="Aurelien Domont" userId="6da7715ce44349b3" providerId="LiveId" clId="{8C97B853-E239-49C0-A36B-A3F2C855C3BA}" dt="2023-11-02T23:42:46.521" v="24563" actId="478"/>
          <ac:spMkLst>
            <pc:docMk/>
            <pc:sldMk cId="3959411121" sldId="2588"/>
            <ac:spMk id="83" creationId="{2CCDC379-6978-4259-F9AB-BA3A6E84F290}"/>
          </ac:spMkLst>
        </pc:spChg>
        <pc:spChg chg="add mod replST">
          <ac:chgData name="Aurelien Domont" userId="6da7715ce44349b3" providerId="LiveId" clId="{8C97B853-E239-49C0-A36B-A3F2C855C3BA}" dt="2023-11-02T23:49:14.533" v="33788"/>
          <ac:spMkLst>
            <pc:docMk/>
            <pc:sldMk cId="3959411121" sldId="2588"/>
            <ac:spMk id="96" creationId="{40C131B0-DA35-2E0B-C54C-32E2F5D154DF}"/>
          </ac:spMkLst>
        </pc:spChg>
        <pc:spChg chg="add mod replST">
          <ac:chgData name="Aurelien Domont" userId="6da7715ce44349b3" providerId="LiveId" clId="{8C97B853-E239-49C0-A36B-A3F2C855C3BA}" dt="2023-11-02T23:49:14.517" v="33786"/>
          <ac:spMkLst>
            <pc:docMk/>
            <pc:sldMk cId="3959411121" sldId="2588"/>
            <ac:spMk id="97" creationId="{80B68460-1662-2B80-4878-4F5E847E24BE}"/>
          </ac:spMkLst>
        </pc:spChg>
        <pc:spChg chg="add mod replST">
          <ac:chgData name="Aurelien Domont" userId="6da7715ce44349b3" providerId="LiveId" clId="{8C97B853-E239-49C0-A36B-A3F2C855C3BA}" dt="2023-11-02T23:49:14.533" v="33789"/>
          <ac:spMkLst>
            <pc:docMk/>
            <pc:sldMk cId="3959411121" sldId="2588"/>
            <ac:spMk id="98" creationId="{E75A0128-0D82-F508-BF3E-87155DED2F10}"/>
          </ac:spMkLst>
        </pc:spChg>
        <pc:spChg chg="add mod replST">
          <ac:chgData name="Aurelien Domont" userId="6da7715ce44349b3" providerId="LiveId" clId="{8C97B853-E239-49C0-A36B-A3F2C855C3BA}" dt="2023-11-02T23:49:14.517" v="33787"/>
          <ac:spMkLst>
            <pc:docMk/>
            <pc:sldMk cId="3959411121" sldId="2588"/>
            <ac:spMk id="99" creationId="{0C2B50E5-CA12-EFE0-93C7-0D1EA32A72E5}"/>
          </ac:spMkLst>
        </pc:spChg>
        <pc:spChg chg="add mod replST">
          <ac:chgData name="Aurelien Domont" userId="6da7715ce44349b3" providerId="LiveId" clId="{8C97B853-E239-49C0-A36B-A3F2C855C3BA}" dt="2023-11-02T23:49:14.533" v="33790"/>
          <ac:spMkLst>
            <pc:docMk/>
            <pc:sldMk cId="3959411121" sldId="2588"/>
            <ac:spMk id="100" creationId="{242BAF11-1487-58DD-C89A-CF533F5DC5C3}"/>
          </ac:spMkLst>
        </pc:spChg>
        <pc:spChg chg="add del mod replST">
          <ac:chgData name="Aurelien Domont" userId="6da7715ce44349b3" providerId="LiveId" clId="{8C97B853-E239-49C0-A36B-A3F2C855C3BA}" dt="2023-11-02T23:48:00.250" v="31479"/>
          <ac:spMkLst>
            <pc:docMk/>
            <pc:sldMk cId="3959411121" sldId="2588"/>
            <ac:spMk id="101" creationId="{D45AFCC8-9811-3122-61D0-6821FE2F41CD}"/>
          </ac:spMkLst>
        </pc:spChg>
        <pc:spChg chg="add del mod ord replST">
          <ac:chgData name="Aurelien Domont" userId="6da7715ce44349b3" providerId="LiveId" clId="{8C97B853-E239-49C0-A36B-A3F2C855C3BA}" dt="2023-11-02T23:48:06.307" v="31752"/>
          <ac:spMkLst>
            <pc:docMk/>
            <pc:sldMk cId="3959411121" sldId="2588"/>
            <ac:spMk id="102" creationId="{3A00C31C-736C-5591-2CC6-7D019252CA39}"/>
          </ac:spMkLst>
        </pc:spChg>
        <pc:spChg chg="add mod ord replST">
          <ac:chgData name="Aurelien Domont" userId="6da7715ce44349b3" providerId="LiveId" clId="{8C97B853-E239-49C0-A36B-A3F2C855C3BA}" dt="2023-11-02T23:49:14.533" v="33794"/>
          <ac:spMkLst>
            <pc:docMk/>
            <pc:sldMk cId="3959411121" sldId="2588"/>
            <ac:spMk id="103" creationId="{FE7EAC1A-F121-2C4A-82A4-42E83B4C4F36}"/>
          </ac:spMkLst>
        </pc:spChg>
        <pc:spChg chg="add del mod ord replST">
          <ac:chgData name="Aurelien Domont" userId="6da7715ce44349b3" providerId="LiveId" clId="{8C97B853-E239-49C0-A36B-A3F2C855C3BA}" dt="2023-11-02T23:48:08.709" v="31996"/>
          <ac:spMkLst>
            <pc:docMk/>
            <pc:sldMk cId="3959411121" sldId="2588"/>
            <ac:spMk id="104" creationId="{3C23EE84-F82B-2D70-30AD-B1AC27D909EB}"/>
          </ac:spMkLst>
        </pc:spChg>
        <pc:spChg chg="add mod ord replST">
          <ac:chgData name="Aurelien Domont" userId="6da7715ce44349b3" providerId="LiveId" clId="{8C97B853-E239-49C0-A36B-A3F2C855C3BA}" dt="2023-11-02T23:49:14.533" v="33792"/>
          <ac:spMkLst>
            <pc:docMk/>
            <pc:sldMk cId="3959411121" sldId="2588"/>
            <ac:spMk id="105" creationId="{E82630FF-5757-B627-8809-D7192166875C}"/>
          </ac:spMkLst>
        </pc:spChg>
        <pc:spChg chg="add del mod ord replST">
          <ac:chgData name="Aurelien Domont" userId="6da7715ce44349b3" providerId="LiveId" clId="{8C97B853-E239-49C0-A36B-A3F2C855C3BA}" dt="2023-11-02T23:49:14.439" v="33620"/>
          <ac:spMkLst>
            <pc:docMk/>
            <pc:sldMk cId="3959411121" sldId="2588"/>
            <ac:spMk id="106" creationId="{2379D5FE-54A5-9911-628D-03FEE9903BB4}"/>
          </ac:spMkLst>
        </pc:spChg>
        <pc:spChg chg="add mod ord replST">
          <ac:chgData name="Aurelien Domont" userId="6da7715ce44349b3" providerId="LiveId" clId="{8C97B853-E239-49C0-A36B-A3F2C855C3BA}" dt="2023-11-02T23:49:14.533" v="33798"/>
          <ac:spMkLst>
            <pc:docMk/>
            <pc:sldMk cId="3959411121" sldId="2588"/>
            <ac:spMk id="107" creationId="{C5FF636A-1DF4-53F6-F043-EA675A85A6A0}"/>
          </ac:spMkLst>
        </pc:spChg>
        <pc:spChg chg="add del mod ord replST">
          <ac:chgData name="Aurelien Domont" userId="6da7715ce44349b3" providerId="LiveId" clId="{8C97B853-E239-49C0-A36B-A3F2C855C3BA}" dt="2023-11-02T23:47:49.035" v="30461"/>
          <ac:spMkLst>
            <pc:docMk/>
            <pc:sldMk cId="3959411121" sldId="2588"/>
            <ac:spMk id="108" creationId="{69A509DC-1A6B-D03B-55DB-556861601CF2}"/>
          </ac:spMkLst>
        </pc:spChg>
        <pc:spChg chg="add mod ord replST">
          <ac:chgData name="Aurelien Domont" userId="6da7715ce44349b3" providerId="LiveId" clId="{8C97B853-E239-49C0-A36B-A3F2C855C3BA}" dt="2023-11-02T23:49:14.533" v="33796"/>
          <ac:spMkLst>
            <pc:docMk/>
            <pc:sldMk cId="3959411121" sldId="2588"/>
            <ac:spMk id="109" creationId="{1A2F8810-A7C7-97DC-65F2-57A847594782}"/>
          </ac:spMkLst>
        </pc:spChg>
        <pc:spChg chg="add mod ord replST">
          <ac:chgData name="Aurelien Domont" userId="6da7715ce44349b3" providerId="LiveId" clId="{8C97B853-E239-49C0-A36B-A3F2C855C3BA}" dt="2023-11-02T23:49:14.533" v="33806"/>
          <ac:spMkLst>
            <pc:docMk/>
            <pc:sldMk cId="3959411121" sldId="2588"/>
            <ac:spMk id="110" creationId="{E191108C-2919-A316-6A82-8AA93212C372}"/>
          </ac:spMkLst>
        </pc:spChg>
        <pc:spChg chg="add mod ord replST">
          <ac:chgData name="Aurelien Domont" userId="6da7715ce44349b3" providerId="LiveId" clId="{8C97B853-E239-49C0-A36B-A3F2C855C3BA}" dt="2023-11-02T23:49:14.533" v="33810"/>
          <ac:spMkLst>
            <pc:docMk/>
            <pc:sldMk cId="3959411121" sldId="2588"/>
            <ac:spMk id="111" creationId="{C7E478C8-7351-F325-9866-1AF9029B1559}"/>
          </ac:spMkLst>
        </pc:spChg>
        <pc:spChg chg="add mod ord replST">
          <ac:chgData name="Aurelien Domont" userId="6da7715ce44349b3" providerId="LiveId" clId="{8C97B853-E239-49C0-A36B-A3F2C855C3BA}" dt="2023-11-02T23:49:14.533" v="33800"/>
          <ac:spMkLst>
            <pc:docMk/>
            <pc:sldMk cId="3959411121" sldId="2588"/>
            <ac:spMk id="112" creationId="{20164930-B422-6272-AA7E-81857C69FE49}"/>
          </ac:spMkLst>
        </pc:spChg>
        <pc:spChg chg="add mod ord replST">
          <ac:chgData name="Aurelien Domont" userId="6da7715ce44349b3" providerId="LiveId" clId="{8C97B853-E239-49C0-A36B-A3F2C855C3BA}" dt="2023-11-02T23:49:14.533" v="33808"/>
          <ac:spMkLst>
            <pc:docMk/>
            <pc:sldMk cId="3959411121" sldId="2588"/>
            <ac:spMk id="113" creationId="{250030CC-E4C8-0DB5-84F7-8A3DCB5150FA}"/>
          </ac:spMkLst>
        </pc:spChg>
        <pc:spChg chg="add mod ord replST">
          <ac:chgData name="Aurelien Domont" userId="6da7715ce44349b3" providerId="LiveId" clId="{8C97B853-E239-49C0-A36B-A3F2C855C3BA}" dt="2023-11-02T23:49:14.533" v="33802"/>
          <ac:spMkLst>
            <pc:docMk/>
            <pc:sldMk cId="3959411121" sldId="2588"/>
            <ac:spMk id="114" creationId="{C9A80387-BC8F-3920-A4DE-ED9C53F8CB53}"/>
          </ac:spMkLst>
        </pc:spChg>
        <pc:spChg chg="add mod ord replST">
          <ac:chgData name="Aurelien Domont" userId="6da7715ce44349b3" providerId="LiveId" clId="{8C97B853-E239-49C0-A36B-A3F2C855C3BA}" dt="2023-11-02T23:49:14.533" v="33804"/>
          <ac:spMkLst>
            <pc:docMk/>
            <pc:sldMk cId="3959411121" sldId="2588"/>
            <ac:spMk id="115" creationId="{9B4AE393-70AD-2282-F0E6-5B9E4F73FDA9}"/>
          </ac:spMkLst>
        </pc:spChg>
        <pc:spChg chg="add mod replST">
          <ac:chgData name="Aurelien Domont" userId="6da7715ce44349b3" providerId="LiveId" clId="{8C97B853-E239-49C0-A36B-A3F2C855C3BA}" dt="2023-11-02T23:49:45.490" v="33845"/>
          <ac:spMkLst>
            <pc:docMk/>
            <pc:sldMk cId="3959411121" sldId="2588"/>
            <ac:spMk id="116" creationId="{8A17B113-42F4-E276-C89E-7DDF69EC0DA9}"/>
          </ac:spMkLst>
        </pc:spChg>
        <pc:spChg chg="add del mod replST">
          <ac:chgData name="Aurelien Domont" userId="6da7715ce44349b3" providerId="LiveId" clId="{8C97B853-E239-49C0-A36B-A3F2C855C3BA}" dt="2023-11-02T23:48:08.709" v="31997"/>
          <ac:spMkLst>
            <pc:docMk/>
            <pc:sldMk cId="3959411121" sldId="2588"/>
            <ac:spMk id="117" creationId="{DA813504-63DA-D0DE-E1F6-375547B8DC48}"/>
          </ac:spMkLst>
        </pc:spChg>
        <pc:spChg chg="add del mod replST">
          <ac:chgData name="Aurelien Domont" userId="6da7715ce44349b3" providerId="LiveId" clId="{8C97B853-E239-49C0-A36B-A3F2C855C3BA}" dt="2023-11-02T23:48:06.307" v="31753"/>
          <ac:spMkLst>
            <pc:docMk/>
            <pc:sldMk cId="3959411121" sldId="2588"/>
            <ac:spMk id="118" creationId="{99AAFC86-0EA8-C6F5-74FC-73EB0C642A8A}"/>
          </ac:spMkLst>
        </pc:spChg>
        <pc:spChg chg="add mod replST">
          <ac:chgData name="Aurelien Domont" userId="6da7715ce44349b3" providerId="LiveId" clId="{8C97B853-E239-49C0-A36B-A3F2C855C3BA}" dt="2023-11-02T23:49:45.506" v="33860"/>
          <ac:spMkLst>
            <pc:docMk/>
            <pc:sldMk cId="3959411121" sldId="2588"/>
            <ac:spMk id="119" creationId="{3E2F45E9-9FD6-FA7A-93AA-706C3AB7184D}"/>
          </ac:spMkLst>
        </pc:spChg>
        <pc:spChg chg="add mod replST">
          <ac:chgData name="Aurelien Domont" userId="6da7715ce44349b3" providerId="LiveId" clId="{8C97B853-E239-49C0-A36B-A3F2C855C3BA}" dt="2023-11-02T23:49:45.506" v="33857"/>
          <ac:spMkLst>
            <pc:docMk/>
            <pc:sldMk cId="3959411121" sldId="2588"/>
            <ac:spMk id="120" creationId="{5FE903B9-D071-19A9-2FC7-42AFD39492D0}"/>
          </ac:spMkLst>
        </pc:spChg>
        <pc:spChg chg="add mod replST">
          <ac:chgData name="Aurelien Domont" userId="6da7715ce44349b3" providerId="LiveId" clId="{8C97B853-E239-49C0-A36B-A3F2C855C3BA}" dt="2023-11-02T23:49:45.521" v="33865"/>
          <ac:spMkLst>
            <pc:docMk/>
            <pc:sldMk cId="3959411121" sldId="2588"/>
            <ac:spMk id="121" creationId="{B8B24261-E2E9-F9D0-A9D9-62ADF103F39C}"/>
          </ac:spMkLst>
        </pc:spChg>
        <pc:spChg chg="add mod replST">
          <ac:chgData name="Aurelien Domont" userId="6da7715ce44349b3" providerId="LiveId" clId="{8C97B853-E239-49C0-A36B-A3F2C855C3BA}" dt="2023-11-02T23:49:45.506" v="33853"/>
          <ac:spMkLst>
            <pc:docMk/>
            <pc:sldMk cId="3959411121" sldId="2588"/>
            <ac:spMk id="122" creationId="{F7324B5F-18E3-37BC-4294-C2D81EC5990A}"/>
          </ac:spMkLst>
        </pc:spChg>
        <pc:spChg chg="add mod replST">
          <ac:chgData name="Aurelien Domont" userId="6da7715ce44349b3" providerId="LiveId" clId="{8C97B853-E239-49C0-A36B-A3F2C855C3BA}" dt="2023-11-02T23:49:45.506" v="33848"/>
          <ac:spMkLst>
            <pc:docMk/>
            <pc:sldMk cId="3959411121" sldId="2588"/>
            <ac:spMk id="123" creationId="{424A8920-5507-EB6F-2559-696CD379E0A7}"/>
          </ac:spMkLst>
        </pc:spChg>
        <pc:spChg chg="add mod replST">
          <ac:chgData name="Aurelien Domont" userId="6da7715ce44349b3" providerId="LiveId" clId="{8C97B853-E239-49C0-A36B-A3F2C855C3BA}" dt="2023-11-02T23:49:45.506" v="33850"/>
          <ac:spMkLst>
            <pc:docMk/>
            <pc:sldMk cId="3959411121" sldId="2588"/>
            <ac:spMk id="124" creationId="{6148F1C1-FFCB-1E8F-A258-688BACDE1C95}"/>
          </ac:spMkLst>
        </pc:spChg>
        <pc:spChg chg="add mod replST">
          <ac:chgData name="Aurelien Domont" userId="6da7715ce44349b3" providerId="LiveId" clId="{8C97B853-E239-49C0-A36B-A3F2C855C3BA}" dt="2023-11-02T23:49:45.506" v="33852"/>
          <ac:spMkLst>
            <pc:docMk/>
            <pc:sldMk cId="3959411121" sldId="2588"/>
            <ac:spMk id="125" creationId="{2AFD9C04-8236-6A45-4E9B-881571C764E2}"/>
          </ac:spMkLst>
        </pc:spChg>
        <pc:spChg chg="add mod replST">
          <ac:chgData name="Aurelien Domont" userId="6da7715ce44349b3" providerId="LiveId" clId="{8C97B853-E239-49C0-A36B-A3F2C855C3BA}" dt="2023-11-02T23:49:45.506" v="33854"/>
          <ac:spMkLst>
            <pc:docMk/>
            <pc:sldMk cId="3959411121" sldId="2588"/>
            <ac:spMk id="126" creationId="{236C73DA-4799-E75F-AE1F-3AABE4254ABE}"/>
          </ac:spMkLst>
        </pc:spChg>
        <pc:spChg chg="add mod replST">
          <ac:chgData name="Aurelien Domont" userId="6da7715ce44349b3" providerId="LiveId" clId="{8C97B853-E239-49C0-A36B-A3F2C855C3BA}" dt="2023-11-02T23:49:45.506" v="33856"/>
          <ac:spMkLst>
            <pc:docMk/>
            <pc:sldMk cId="3959411121" sldId="2588"/>
            <ac:spMk id="127" creationId="{150BD2FE-F8D1-169A-B1C7-EEB9D5EC52F3}"/>
          </ac:spMkLst>
        </pc:spChg>
        <pc:spChg chg="add mod replST">
          <ac:chgData name="Aurelien Domont" userId="6da7715ce44349b3" providerId="LiveId" clId="{8C97B853-E239-49C0-A36B-A3F2C855C3BA}" dt="2023-11-02T23:49:45.506" v="33849"/>
          <ac:spMkLst>
            <pc:docMk/>
            <pc:sldMk cId="3959411121" sldId="2588"/>
            <ac:spMk id="128" creationId="{C9B9C970-2054-39A1-2796-0C175015AC84}"/>
          </ac:spMkLst>
        </pc:spChg>
        <pc:spChg chg="add mod replST">
          <ac:chgData name="Aurelien Domont" userId="6da7715ce44349b3" providerId="LiveId" clId="{8C97B853-E239-49C0-A36B-A3F2C855C3BA}" dt="2023-11-02T23:49:45.506" v="33858"/>
          <ac:spMkLst>
            <pc:docMk/>
            <pc:sldMk cId="3959411121" sldId="2588"/>
            <ac:spMk id="129" creationId="{22B44236-50D6-9539-7098-AC4AA7CEF4E4}"/>
          </ac:spMkLst>
        </pc:spChg>
        <pc:spChg chg="add mod ord replST">
          <ac:chgData name="Aurelien Domont" userId="6da7715ce44349b3" providerId="LiveId" clId="{8C97B853-E239-49C0-A36B-A3F2C855C3BA}" dt="2023-11-02T23:49:14.533" v="33816"/>
          <ac:spMkLst>
            <pc:docMk/>
            <pc:sldMk cId="3959411121" sldId="2588"/>
            <ac:spMk id="130" creationId="{7DCD9D4C-BEE8-798D-CC42-BB5E12D44090}"/>
          </ac:spMkLst>
        </pc:spChg>
        <pc:spChg chg="add mod replST">
          <ac:chgData name="Aurelien Domont" userId="6da7715ce44349b3" providerId="LiveId" clId="{8C97B853-E239-49C0-A36B-A3F2C855C3BA}" dt="2023-11-02T23:49:45.506" v="33851"/>
          <ac:spMkLst>
            <pc:docMk/>
            <pc:sldMk cId="3959411121" sldId="2588"/>
            <ac:spMk id="131" creationId="{C5CFD340-19A8-6262-3D18-48E0BC1BE017}"/>
          </ac:spMkLst>
        </pc:spChg>
        <pc:spChg chg="add mod ord replST">
          <ac:chgData name="Aurelien Domont" userId="6da7715ce44349b3" providerId="LiveId" clId="{8C97B853-E239-49C0-A36B-A3F2C855C3BA}" dt="2023-11-02T23:49:14.533" v="33821"/>
          <ac:spMkLst>
            <pc:docMk/>
            <pc:sldMk cId="3959411121" sldId="2588"/>
            <ac:spMk id="132" creationId="{2F147527-111F-6E70-3D3E-511B3AD99CE2}"/>
          </ac:spMkLst>
        </pc:spChg>
        <pc:spChg chg="add mod replST">
          <ac:chgData name="Aurelien Domont" userId="6da7715ce44349b3" providerId="LiveId" clId="{8C97B853-E239-49C0-A36B-A3F2C855C3BA}" dt="2023-11-02T23:49:45.490" v="33847"/>
          <ac:spMkLst>
            <pc:docMk/>
            <pc:sldMk cId="3959411121" sldId="2588"/>
            <ac:spMk id="133" creationId="{095A9C06-31D0-2650-5605-A0EFE33C1FA9}"/>
          </ac:spMkLst>
        </pc:spChg>
        <pc:spChg chg="add mod ord replST">
          <ac:chgData name="Aurelien Domont" userId="6da7715ce44349b3" providerId="LiveId" clId="{8C97B853-E239-49C0-A36B-A3F2C855C3BA}" dt="2023-11-02T23:49:14.533" v="33829"/>
          <ac:spMkLst>
            <pc:docMk/>
            <pc:sldMk cId="3959411121" sldId="2588"/>
            <ac:spMk id="134" creationId="{E245AE46-C92B-0D35-20AC-C8F4B1415077}"/>
          </ac:spMkLst>
        </pc:spChg>
        <pc:spChg chg="add mod replST">
          <ac:chgData name="Aurelien Domont" userId="6da7715ce44349b3" providerId="LiveId" clId="{8C97B853-E239-49C0-A36B-A3F2C855C3BA}" dt="2023-11-02T23:49:45.506" v="33859"/>
          <ac:spMkLst>
            <pc:docMk/>
            <pc:sldMk cId="3959411121" sldId="2588"/>
            <ac:spMk id="135" creationId="{8719FFE9-A4E2-D9B5-A56D-9EFE3F4AD3DF}"/>
          </ac:spMkLst>
        </pc:spChg>
        <pc:spChg chg="add mod ord replST">
          <ac:chgData name="Aurelien Domont" userId="6da7715ce44349b3" providerId="LiveId" clId="{8C97B853-E239-49C0-A36B-A3F2C855C3BA}" dt="2023-11-02T23:49:14.533" v="33827"/>
          <ac:spMkLst>
            <pc:docMk/>
            <pc:sldMk cId="3959411121" sldId="2588"/>
            <ac:spMk id="136" creationId="{9DDCCE69-11B8-1691-F7BB-305A4A6A33A5}"/>
          </ac:spMkLst>
        </pc:spChg>
        <pc:spChg chg="add mod replST">
          <ac:chgData name="Aurelien Domont" userId="6da7715ce44349b3" providerId="LiveId" clId="{8C97B853-E239-49C0-A36B-A3F2C855C3BA}" dt="2023-11-02T23:49:45.490" v="33846"/>
          <ac:spMkLst>
            <pc:docMk/>
            <pc:sldMk cId="3959411121" sldId="2588"/>
            <ac:spMk id="137" creationId="{EBCA66CD-72C6-82FF-CAC9-0F7F24487AF3}"/>
          </ac:spMkLst>
        </pc:spChg>
        <pc:spChg chg="add mod ord replST">
          <ac:chgData name="Aurelien Domont" userId="6da7715ce44349b3" providerId="LiveId" clId="{8C97B853-E239-49C0-A36B-A3F2C855C3BA}" dt="2023-11-02T23:49:14.533" v="33825"/>
          <ac:spMkLst>
            <pc:docMk/>
            <pc:sldMk cId="3959411121" sldId="2588"/>
            <ac:spMk id="138" creationId="{AB051A34-8DBD-219B-7275-9BCE3E430126}"/>
          </ac:spMkLst>
        </pc:spChg>
        <pc:spChg chg="add del mod modVis">
          <ac:chgData name="Aurelien Domont" userId="6da7715ce44349b3" providerId="LiveId" clId="{8C97B853-E239-49C0-A36B-A3F2C855C3BA}" dt="2023-11-02T23:44:53.985" v="24974"/>
          <ac:spMkLst>
            <pc:docMk/>
            <pc:sldMk cId="3959411121" sldId="2588"/>
            <ac:spMk id="139" creationId="{49302E31-1A5F-8EB9-6418-3BD516CC9A09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140" creationId="{9324300A-9989-7E38-C345-0D78F20960CF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141" creationId="{60EA4DE5-1D56-C158-5464-663DEC02F5B8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142" creationId="{A19CE147-A6CC-B065-DBA8-A406AE823EE9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143" creationId="{4254059D-A827-5639-B2C2-3DB25F600FF6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144" creationId="{9AC4B6D1-1E7E-9E72-E6CE-DE457D96A613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145" creationId="{065EACF3-B32A-D303-6B65-308291AA1D53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146" creationId="{7DDCACD7-7C49-D63B-6A78-2836258A8B17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147" creationId="{585658E9-9C34-8050-028E-BE72448B5C95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148" creationId="{0E06CDB4-1530-8E53-A08D-955CF07F3185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149" creationId="{D469A3A8-55AA-107B-DAF8-1BFA9F3DADEB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150" creationId="{BF4ED29D-2171-7F5A-CAF2-E079DF75709C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151" creationId="{E267FAE6-0E6A-6077-1591-B828C4E0D8DB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09" creationId="{6DE3BE63-06D7-5335-4A9D-70CB8CBFA5CF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10" creationId="{DC345AF9-6C0A-7554-DA2A-650090A16473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11" creationId="{79D1BAC2-5972-E568-32E3-962C66EA6A42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12" creationId="{7DDF0AA2-33AA-C5C0-9C48-4625227C0F34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13" creationId="{A51A0491-7534-D59C-B6BB-F54C606AAAA1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14" creationId="{4783AC6B-F788-E3B8-79ED-41029ADED812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15" creationId="{14011699-E978-321E-8449-79E87E6C59D6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16" creationId="{CB81468A-9113-A624-9AEF-009015201E89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17" creationId="{6DD3F7B5-A69E-E615-A80C-C4179B39EA60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18" creationId="{2BEDE100-8801-4F54-6FE7-B0374353960B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19" creationId="{55F17F78-E26A-CEC0-D4C8-576676D1B8DE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20" creationId="{D1A449A9-0DC6-2B22-047B-9EC97BAC8991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21" creationId="{9802B2D8-A33D-F7A8-7CDF-ADC94EEF22DC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22" creationId="{3283E0AE-1309-9D4B-8E5F-BD76A2F4746F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23" creationId="{F0EA3A11-5F23-4373-8443-7EBD98EA8869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24" creationId="{7A06EE54-3C4F-9635-C7B0-04A37B43B0A6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25" creationId="{908AC74F-8710-0853-1CEA-323E901049F3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26" creationId="{C7822E23-63FE-3305-3AAC-3446D481CE8E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27" creationId="{83EEC1C9-3777-6AF2-CC26-40C8A69073A9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28" creationId="{C329FFED-E770-6E75-A489-1573682744A5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29" creationId="{6FBE152A-53D8-040B-0F96-A26C15291006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30" creationId="{0A69D275-420B-71BB-02A1-CFD75E942538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31" creationId="{501C9977-9E69-1736-5827-92BD05524433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32" creationId="{BB920949-A958-8223-DB97-0A45A3EBD887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33" creationId="{06ED377C-BD1C-3156-730B-84D63DDC62B1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34" creationId="{C7821C16-4E57-8714-3BD5-A87FE8E089FB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35" creationId="{6EC351E2-4424-E7EB-6188-88788CF3B006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36" creationId="{73BF5B7D-662D-0A5C-31EF-C8F0E5425ACA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37" creationId="{4A1A429A-2FB3-8ED6-2208-00BEA293F8C4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38" creationId="{878F3A61-0838-2CBD-F44D-AE1E66F100E8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39" creationId="{C0573C92-C72D-46F7-7E1D-F3D17F7D1E3A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40" creationId="{063D105E-51AF-0647-D2F0-C3AB591D904A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41" creationId="{446CE798-1298-5C6C-DBBA-88C9DC0D2118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42" creationId="{32B489B6-4F6E-691A-23EA-52F523AACED2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43" creationId="{5F76A6AD-3C89-31D9-6173-8135DB0B868F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44" creationId="{A216EBD1-1CA5-C2BE-7E97-1CCFDE34748B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45" creationId="{411578B1-04D5-5885-F1E4-651C705EB422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46" creationId="{BA4A5196-661A-366C-7E2A-22331949832C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47" creationId="{B648354A-956D-1A27-2765-E62C3A0163B9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48" creationId="{57F40F19-208C-7100-5304-D5053B529AA4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49" creationId="{53F5663E-DF19-4994-7BA4-19DE144D2BE6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50" creationId="{C6CD57B9-0E71-A9AD-E95E-C4E7B21C3D72}"/>
          </ac:spMkLst>
        </pc:spChg>
        <pc:spChg chg="add mod replST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51" creationId="{993EFA23-8832-2828-094D-5CE89F786D7A}"/>
          </ac:spMkLst>
        </pc:spChg>
        <pc:spChg chg="add del mod modVis">
          <ac:chgData name="Aurelien Domont" userId="6da7715ce44349b3" providerId="LiveId" clId="{8C97B853-E239-49C0-A36B-A3F2C855C3BA}" dt="2023-11-02T23:45:58.125" v="28562"/>
          <ac:spMkLst>
            <pc:docMk/>
            <pc:sldMk cId="3959411121" sldId="2588"/>
            <ac:spMk id="252" creationId="{FBF04F7F-76AF-A96B-5DD8-491A38EBB5F6}"/>
          </ac:spMkLst>
        </pc:spChg>
        <pc:spChg chg="add del mod modVis">
          <ac:chgData name="Aurelien Domont" userId="6da7715ce44349b3" providerId="LiveId" clId="{8C97B853-E239-49C0-A36B-A3F2C855C3BA}" dt="2023-11-02T23:46:10.618" v="29211"/>
          <ac:spMkLst>
            <pc:docMk/>
            <pc:sldMk cId="3959411121" sldId="2588"/>
            <ac:spMk id="253" creationId="{8950E922-F192-5265-16D1-001BF95A51E0}"/>
          </ac:spMkLst>
        </pc:spChg>
        <pc:spChg chg="add del mod replST delST">
          <ac:chgData name="Aurelien Domont" userId="6da7715ce44349b3" providerId="LiveId" clId="{8C97B853-E239-49C0-A36B-A3F2C855C3BA}" dt="2023-11-02T23:46:10.618" v="29211"/>
          <ac:spMkLst>
            <pc:docMk/>
            <pc:sldMk cId="3959411121" sldId="2588"/>
            <ac:spMk id="254" creationId="{305791C9-06BA-47FA-FAD8-A73F3580591A}"/>
          </ac:spMkLst>
        </pc:spChg>
        <pc:spChg chg="add del mod modVis">
          <ac:chgData name="Aurelien Domont" userId="6da7715ce44349b3" providerId="LiveId" clId="{8C97B853-E239-49C0-A36B-A3F2C855C3BA}" dt="2023-11-02T23:46:14.874" v="29446"/>
          <ac:spMkLst>
            <pc:docMk/>
            <pc:sldMk cId="3959411121" sldId="2588"/>
            <ac:spMk id="255" creationId="{6201F10B-66D3-9B11-A47F-C18A8947FF7F}"/>
          </ac:spMkLst>
        </pc:spChg>
        <pc:spChg chg="add del mod modVis">
          <ac:chgData name="Aurelien Domont" userId="6da7715ce44349b3" providerId="LiveId" clId="{8C97B853-E239-49C0-A36B-A3F2C855C3BA}" dt="2023-11-02T23:47:55.836" v="31244"/>
          <ac:spMkLst>
            <pc:docMk/>
            <pc:sldMk cId="3959411121" sldId="2588"/>
            <ac:spMk id="258" creationId="{0643098B-9BD6-AB61-B8F6-1BD381AC2750}"/>
          </ac:spMkLst>
        </pc:spChg>
        <pc:spChg chg="add mod replST">
          <ac:chgData name="Aurelien Domont" userId="6da7715ce44349b3" providerId="LiveId" clId="{8C97B853-E239-49C0-A36B-A3F2C855C3BA}" dt="2023-11-02T23:49:45.506" v="33861"/>
          <ac:spMkLst>
            <pc:docMk/>
            <pc:sldMk cId="3959411121" sldId="2588"/>
            <ac:spMk id="262" creationId="{E6A46C47-D006-C635-0351-FC45BED3CC32}"/>
          </ac:spMkLst>
        </pc:spChg>
        <pc:spChg chg="add del mod modVis">
          <ac:chgData name="Aurelien Domont" userId="6da7715ce44349b3" providerId="LiveId" clId="{8C97B853-E239-49C0-A36B-A3F2C855C3BA}" dt="2023-11-02T23:48:51.966" v="33092"/>
          <ac:spMkLst>
            <pc:docMk/>
            <pc:sldMk cId="3959411121" sldId="2588"/>
            <ac:spMk id="263" creationId="{127E5D4C-6928-01D1-81B2-57A8F63A2343}"/>
          </ac:spMkLst>
        </pc:spChg>
        <pc:spChg chg="add mod replST">
          <ac:chgData name="Aurelien Domont" userId="6da7715ce44349b3" providerId="LiveId" clId="{8C97B853-E239-49C0-A36B-A3F2C855C3BA}" dt="2023-11-02T23:49:45.506" v="33862"/>
          <ac:spMkLst>
            <pc:docMk/>
            <pc:sldMk cId="3959411121" sldId="2588"/>
            <ac:spMk id="264" creationId="{090C1CAF-C20F-2B0A-A30A-C77665D244E0}"/>
          </ac:spMkLst>
        </pc:spChg>
        <pc:spChg chg="add del mod modVis">
          <ac:chgData name="Aurelien Domont" userId="6da7715ce44349b3" providerId="LiveId" clId="{8C97B853-E239-49C0-A36B-A3F2C855C3BA}" dt="2023-11-02T23:49:05.468" v="33353"/>
          <ac:spMkLst>
            <pc:docMk/>
            <pc:sldMk cId="3959411121" sldId="2588"/>
            <ac:spMk id="265" creationId="{11869839-E2EA-6F6E-03DB-A259E6512285}"/>
          </ac:spMkLst>
        </pc:spChg>
        <pc:spChg chg="add mod replST">
          <ac:chgData name="Aurelien Domont" userId="6da7715ce44349b3" providerId="LiveId" clId="{8C97B853-E239-49C0-A36B-A3F2C855C3BA}" dt="2023-11-02T23:49:45.506" v="33863"/>
          <ac:spMkLst>
            <pc:docMk/>
            <pc:sldMk cId="3959411121" sldId="2588"/>
            <ac:spMk id="266" creationId="{9E75595A-ABF0-A83B-B200-F5099780F47D}"/>
          </ac:spMkLst>
        </pc:spChg>
        <pc:spChg chg="add del mod modVis">
          <ac:chgData name="Aurelien Domont" userId="6da7715ce44349b3" providerId="LiveId" clId="{8C97B853-E239-49C0-A36B-A3F2C855C3BA}" dt="2023-11-02T23:49:09.240" v="33616"/>
          <ac:spMkLst>
            <pc:docMk/>
            <pc:sldMk cId="3959411121" sldId="2588"/>
            <ac:spMk id="267" creationId="{DF476D18-AD76-164D-6B28-705AE9C57724}"/>
          </ac:spMkLst>
        </pc:spChg>
        <pc:grpChg chg="del">
          <ac:chgData name="Aurelien Domont" userId="6da7715ce44349b3" providerId="LiveId" clId="{8C97B853-E239-49C0-A36B-A3F2C855C3BA}" dt="2023-11-02T23:42:46.521" v="24563" actId="478"/>
          <ac:grpSpMkLst>
            <pc:docMk/>
            <pc:sldMk cId="3959411121" sldId="2588"/>
            <ac:grpSpMk id="22" creationId="{F2941C11-C339-BC1F-311C-20A5E2DC45A5}"/>
          </ac:grpSpMkLst>
        </pc:grpChg>
        <pc:graphicFrameChg chg="del">
          <ac:chgData name="Aurelien Domont" userId="6da7715ce44349b3" providerId="LiveId" clId="{8C97B853-E239-49C0-A36B-A3F2C855C3BA}" dt="2023-11-02T23:42:46.521" v="24563" actId="478"/>
          <ac:graphicFrameMkLst>
            <pc:docMk/>
            <pc:sldMk cId="3959411121" sldId="2588"/>
            <ac:graphicFrameMk id="7" creationId="{F43F6FAA-57DF-1CF8-7A51-A14802EE3FD2}"/>
          </ac:graphicFrameMkLst>
        </pc:graphicFrameChg>
        <pc:graphicFrameChg chg="mod">
          <ac:chgData name="Aurelien Domont" userId="6da7715ce44349b3" providerId="LiveId" clId="{8C97B853-E239-49C0-A36B-A3F2C855C3BA}" dt="2023-11-02T23:49:45.553" v="33881"/>
          <ac:graphicFrameMkLst>
            <pc:docMk/>
            <pc:sldMk cId="3959411121" sldId="2588"/>
            <ac:graphicFrameMk id="13" creationId="{A073AF91-5325-42B9-A31A-3D179304022A}"/>
          </ac:graphicFrameMkLst>
        </pc:graphicFrameChg>
        <pc:cxnChg chg="add mod ord replST">
          <ac:chgData name="Aurelien Domont" userId="6da7715ce44349b3" providerId="LiveId" clId="{8C97B853-E239-49C0-A36B-A3F2C855C3BA}" dt="2023-11-02T23:49:14.502" v="33695"/>
          <ac:cxnSpMkLst>
            <pc:docMk/>
            <pc:sldMk cId="3959411121" sldId="2588"/>
            <ac:cxnSpMk id="25" creationId="{FE3E5EBC-0D03-82A0-22AA-9EEAC26231BE}"/>
          </ac:cxnSpMkLst>
        </pc:cxnChg>
        <pc:cxnChg chg="add mod ord replST">
          <ac:chgData name="Aurelien Domont" userId="6da7715ce44349b3" providerId="LiveId" clId="{8C97B853-E239-49C0-A36B-A3F2C855C3BA}" dt="2023-11-02T23:49:14.486" v="33679"/>
          <ac:cxnSpMkLst>
            <pc:docMk/>
            <pc:sldMk cId="3959411121" sldId="2588"/>
            <ac:cxnSpMk id="26" creationId="{937E3A75-F44B-E8EC-F514-FCBBFF90E8F5}"/>
          </ac:cxnSpMkLst>
        </pc:cxnChg>
        <pc:cxnChg chg="add mod ord replST">
          <ac:chgData name="Aurelien Domont" userId="6da7715ce44349b3" providerId="LiveId" clId="{8C97B853-E239-49C0-A36B-A3F2C855C3BA}" dt="2023-11-02T23:49:14.502" v="33693"/>
          <ac:cxnSpMkLst>
            <pc:docMk/>
            <pc:sldMk cId="3959411121" sldId="2588"/>
            <ac:cxnSpMk id="27" creationId="{8429C60C-3A7B-8D6E-5F6B-0D5F3DE03B86}"/>
          </ac:cxnSpMkLst>
        </pc:cxnChg>
        <pc:cxnChg chg="add mod ord replST">
          <ac:chgData name="Aurelien Domont" userId="6da7715ce44349b3" providerId="LiveId" clId="{8C97B853-E239-49C0-A36B-A3F2C855C3BA}" dt="2023-11-02T23:49:14.486" v="33691"/>
          <ac:cxnSpMkLst>
            <pc:docMk/>
            <pc:sldMk cId="3959411121" sldId="2588"/>
            <ac:cxnSpMk id="28" creationId="{F1EA1852-05DF-4BFA-F11A-85D9FB9B5C9B}"/>
          </ac:cxnSpMkLst>
        </pc:cxnChg>
        <pc:cxnChg chg="add mod ord replST">
          <ac:chgData name="Aurelien Domont" userId="6da7715ce44349b3" providerId="LiveId" clId="{8C97B853-E239-49C0-A36B-A3F2C855C3BA}" dt="2023-11-02T23:49:14.486" v="33689"/>
          <ac:cxnSpMkLst>
            <pc:docMk/>
            <pc:sldMk cId="3959411121" sldId="2588"/>
            <ac:cxnSpMk id="29" creationId="{7C4CCE30-49AB-4DDD-C2E8-DB673C51DA3A}"/>
          </ac:cxnSpMkLst>
        </pc:cxnChg>
        <pc:cxnChg chg="add mod ord replST">
          <ac:chgData name="Aurelien Domont" userId="6da7715ce44349b3" providerId="LiveId" clId="{8C97B853-E239-49C0-A36B-A3F2C855C3BA}" dt="2023-11-02T23:49:14.486" v="33687"/>
          <ac:cxnSpMkLst>
            <pc:docMk/>
            <pc:sldMk cId="3959411121" sldId="2588"/>
            <ac:cxnSpMk id="30" creationId="{E0937151-C3BC-FE91-6199-E382ACE6E21C}"/>
          </ac:cxnSpMkLst>
        </pc:cxnChg>
        <pc:cxnChg chg="add mod ord replST">
          <ac:chgData name="Aurelien Domont" userId="6da7715ce44349b3" providerId="LiveId" clId="{8C97B853-E239-49C0-A36B-A3F2C855C3BA}" dt="2023-11-02T23:49:14.486" v="33685"/>
          <ac:cxnSpMkLst>
            <pc:docMk/>
            <pc:sldMk cId="3959411121" sldId="2588"/>
            <ac:cxnSpMk id="31" creationId="{B4CF926E-772C-C189-D7EB-2CC2E55C6728}"/>
          </ac:cxnSpMkLst>
        </pc:cxnChg>
        <pc:cxnChg chg="add mod ord replST">
          <ac:chgData name="Aurelien Domont" userId="6da7715ce44349b3" providerId="LiveId" clId="{8C97B853-E239-49C0-A36B-A3F2C855C3BA}" dt="2023-11-02T23:49:14.486" v="33683"/>
          <ac:cxnSpMkLst>
            <pc:docMk/>
            <pc:sldMk cId="3959411121" sldId="2588"/>
            <ac:cxnSpMk id="32" creationId="{7609B98C-61F9-99AA-7AA8-1C45F29D5EB5}"/>
          </ac:cxnSpMkLst>
        </pc:cxnChg>
        <pc:cxnChg chg="add mod ord replST">
          <ac:chgData name="Aurelien Domont" userId="6da7715ce44349b3" providerId="LiveId" clId="{8C97B853-E239-49C0-A36B-A3F2C855C3BA}" dt="2023-11-02T23:49:14.486" v="33681"/>
          <ac:cxnSpMkLst>
            <pc:docMk/>
            <pc:sldMk cId="3959411121" sldId="2588"/>
            <ac:cxnSpMk id="33" creationId="{75294890-1B31-EBD5-07F9-D3A0317C349D}"/>
          </ac:cxnSpMkLst>
        </pc:cxnChg>
        <pc:cxnChg chg="add mod ord replST">
          <ac:chgData name="Aurelien Domont" userId="6da7715ce44349b3" providerId="LiveId" clId="{8C97B853-E239-49C0-A36B-A3F2C855C3BA}" dt="2023-11-02T23:49:14.502" v="33697"/>
          <ac:cxnSpMkLst>
            <pc:docMk/>
            <pc:sldMk cId="3959411121" sldId="2588"/>
            <ac:cxnSpMk id="34" creationId="{EB9857FA-4DEA-3378-E9C5-22EDC25E7B14}"/>
          </ac:cxnSpMkLst>
        </pc:cxnChg>
        <pc:cxnChg chg="add mod ord replST">
          <ac:chgData name="Aurelien Domont" userId="6da7715ce44349b3" providerId="LiveId" clId="{8C97B853-E239-49C0-A36B-A3F2C855C3BA}" dt="2023-11-02T23:49:14.502" v="33699"/>
          <ac:cxnSpMkLst>
            <pc:docMk/>
            <pc:sldMk cId="3959411121" sldId="2588"/>
            <ac:cxnSpMk id="35" creationId="{443E7695-D4E6-AEF5-2F15-7F5E25225D6F}"/>
          </ac:cxnSpMkLst>
        </pc:cxnChg>
        <pc:cxnChg chg="add mod ord replST">
          <ac:chgData name="Aurelien Domont" userId="6da7715ce44349b3" providerId="LiveId" clId="{8C97B853-E239-49C0-A36B-A3F2C855C3BA}" dt="2023-11-02T23:49:14.486" v="33675"/>
          <ac:cxnSpMkLst>
            <pc:docMk/>
            <pc:sldMk cId="3959411121" sldId="2588"/>
            <ac:cxnSpMk id="36" creationId="{E4CC06F2-55F6-026B-7435-FFCAEE1EA34D}"/>
          </ac:cxnSpMkLst>
        </pc:cxnChg>
        <pc:cxnChg chg="add mod ord replST">
          <ac:chgData name="Aurelien Domont" userId="6da7715ce44349b3" providerId="LiveId" clId="{8C97B853-E239-49C0-A36B-A3F2C855C3BA}" dt="2023-11-02T23:49:14.486" v="33677"/>
          <ac:cxnSpMkLst>
            <pc:docMk/>
            <pc:sldMk cId="3959411121" sldId="2588"/>
            <ac:cxnSpMk id="37" creationId="{63F2CEC2-7BD2-9F65-CB9C-B9F39B27E1EF}"/>
          </ac:cxnSpMkLst>
        </pc:cxnChg>
        <pc:cxnChg chg="add mod ord replST">
          <ac:chgData name="Aurelien Domont" userId="6da7715ce44349b3" providerId="LiveId" clId="{8C97B853-E239-49C0-A36B-A3F2C855C3BA}" dt="2023-11-02T23:49:14.502" v="33737"/>
          <ac:cxnSpMkLst>
            <pc:docMk/>
            <pc:sldMk cId="3959411121" sldId="2588"/>
            <ac:cxnSpMk id="38" creationId="{12CAA2C4-A5F8-73FC-FFE7-A7F1059D667D}"/>
          </ac:cxnSpMkLst>
        </pc:cxnChg>
        <pc:cxnChg chg="add mod ord replST">
          <ac:chgData name="Aurelien Domont" userId="6da7715ce44349b3" providerId="LiveId" clId="{8C97B853-E239-49C0-A36B-A3F2C855C3BA}" dt="2023-11-02T23:49:14.502" v="33735"/>
          <ac:cxnSpMkLst>
            <pc:docMk/>
            <pc:sldMk cId="3959411121" sldId="2588"/>
            <ac:cxnSpMk id="39" creationId="{A8A1CB3B-F388-4D69-D423-627F3EAB53E0}"/>
          </ac:cxnSpMkLst>
        </pc:cxnChg>
        <pc:cxnChg chg="add mod ord replST">
          <ac:chgData name="Aurelien Domont" userId="6da7715ce44349b3" providerId="LiveId" clId="{8C97B853-E239-49C0-A36B-A3F2C855C3BA}" dt="2023-11-02T23:49:14.517" v="33769"/>
          <ac:cxnSpMkLst>
            <pc:docMk/>
            <pc:sldMk cId="3959411121" sldId="2588"/>
            <ac:cxnSpMk id="40" creationId="{9697B1E4-B816-A218-7BE2-321A101BCB49}"/>
          </ac:cxnSpMkLst>
        </pc:cxnChg>
        <pc:cxnChg chg="add mod ord replST">
          <ac:chgData name="Aurelien Domont" userId="6da7715ce44349b3" providerId="LiveId" clId="{8C97B853-E239-49C0-A36B-A3F2C855C3BA}" dt="2023-11-02T23:49:14.502" v="33733"/>
          <ac:cxnSpMkLst>
            <pc:docMk/>
            <pc:sldMk cId="3959411121" sldId="2588"/>
            <ac:cxnSpMk id="41" creationId="{FCA3E1BD-D80C-D372-8208-4BF2D1D3285D}"/>
          </ac:cxnSpMkLst>
        </pc:cxnChg>
        <pc:cxnChg chg="add mod ord replST">
          <ac:chgData name="Aurelien Domont" userId="6da7715ce44349b3" providerId="LiveId" clId="{8C97B853-E239-49C0-A36B-A3F2C855C3BA}" dt="2023-11-02T23:49:14.502" v="33731"/>
          <ac:cxnSpMkLst>
            <pc:docMk/>
            <pc:sldMk cId="3959411121" sldId="2588"/>
            <ac:cxnSpMk id="42" creationId="{FD7D5482-FC3C-72F6-7D69-7ADC54B421E4}"/>
          </ac:cxnSpMkLst>
        </pc:cxnChg>
        <pc:cxnChg chg="add mod ord replST">
          <ac:chgData name="Aurelien Domont" userId="6da7715ce44349b3" providerId="LiveId" clId="{8C97B853-E239-49C0-A36B-A3F2C855C3BA}" dt="2023-11-02T23:49:14.502" v="33729"/>
          <ac:cxnSpMkLst>
            <pc:docMk/>
            <pc:sldMk cId="3959411121" sldId="2588"/>
            <ac:cxnSpMk id="43" creationId="{74834416-3D08-2732-F286-88FAE1FDDE67}"/>
          </ac:cxnSpMkLst>
        </pc:cxnChg>
        <pc:cxnChg chg="add mod ord replST">
          <ac:chgData name="Aurelien Domont" userId="6da7715ce44349b3" providerId="LiveId" clId="{8C97B853-E239-49C0-A36B-A3F2C855C3BA}" dt="2023-11-02T23:49:14.517" v="33765"/>
          <ac:cxnSpMkLst>
            <pc:docMk/>
            <pc:sldMk cId="3959411121" sldId="2588"/>
            <ac:cxnSpMk id="44" creationId="{D230D845-34FD-AEB9-A513-BE25FC18CE29}"/>
          </ac:cxnSpMkLst>
        </pc:cxnChg>
        <pc:cxnChg chg="add mod ord replST">
          <ac:chgData name="Aurelien Domont" userId="6da7715ce44349b3" providerId="LiveId" clId="{8C97B853-E239-49C0-A36B-A3F2C855C3BA}" dt="2023-11-02T23:49:14.502" v="33727"/>
          <ac:cxnSpMkLst>
            <pc:docMk/>
            <pc:sldMk cId="3959411121" sldId="2588"/>
            <ac:cxnSpMk id="45" creationId="{940A4D1D-4AAC-CDAB-C944-7EAAFE6505C2}"/>
          </ac:cxnSpMkLst>
        </pc:cxnChg>
        <pc:cxnChg chg="add mod ord replST">
          <ac:chgData name="Aurelien Domont" userId="6da7715ce44349b3" providerId="LiveId" clId="{8C97B853-E239-49C0-A36B-A3F2C855C3BA}" dt="2023-11-02T23:49:14.502" v="33725"/>
          <ac:cxnSpMkLst>
            <pc:docMk/>
            <pc:sldMk cId="3959411121" sldId="2588"/>
            <ac:cxnSpMk id="46" creationId="{F5E5159B-6F11-A764-E8EE-EBDB6A4C399D}"/>
          </ac:cxnSpMkLst>
        </pc:cxnChg>
        <pc:cxnChg chg="add mod ord replST">
          <ac:chgData name="Aurelien Domont" userId="6da7715ce44349b3" providerId="LiveId" clId="{8C97B853-E239-49C0-A36B-A3F2C855C3BA}" dt="2023-11-02T23:49:14.502" v="33723"/>
          <ac:cxnSpMkLst>
            <pc:docMk/>
            <pc:sldMk cId="3959411121" sldId="2588"/>
            <ac:cxnSpMk id="47" creationId="{21ACA4B6-BC2A-623B-B4A1-16EF64AC8F74}"/>
          </ac:cxnSpMkLst>
        </pc:cxnChg>
        <pc:cxnChg chg="add mod ord replST">
          <ac:chgData name="Aurelien Domont" userId="6da7715ce44349b3" providerId="LiveId" clId="{8C97B853-E239-49C0-A36B-A3F2C855C3BA}" dt="2023-11-02T23:49:14.517" v="33767"/>
          <ac:cxnSpMkLst>
            <pc:docMk/>
            <pc:sldMk cId="3959411121" sldId="2588"/>
            <ac:cxnSpMk id="48" creationId="{177714D8-5B66-68A1-5D06-E068FFF8E98E}"/>
          </ac:cxnSpMkLst>
        </pc:cxnChg>
        <pc:cxnChg chg="add mod ord replST">
          <ac:chgData name="Aurelien Domont" userId="6da7715ce44349b3" providerId="LiveId" clId="{8C97B853-E239-49C0-A36B-A3F2C855C3BA}" dt="2023-11-02T23:49:14.502" v="33721"/>
          <ac:cxnSpMkLst>
            <pc:docMk/>
            <pc:sldMk cId="3959411121" sldId="2588"/>
            <ac:cxnSpMk id="49" creationId="{6639B9F4-AA6A-B857-645F-B2F226C5776E}"/>
          </ac:cxnSpMkLst>
        </pc:cxnChg>
        <pc:cxnChg chg="add mod ord replST">
          <ac:chgData name="Aurelien Domont" userId="6da7715ce44349b3" providerId="LiveId" clId="{8C97B853-E239-49C0-A36B-A3F2C855C3BA}" dt="2023-11-02T23:49:14.502" v="33719"/>
          <ac:cxnSpMkLst>
            <pc:docMk/>
            <pc:sldMk cId="3959411121" sldId="2588"/>
            <ac:cxnSpMk id="50" creationId="{6CDAEC24-765D-2DAF-3242-64EB381D931C}"/>
          </ac:cxnSpMkLst>
        </pc:cxnChg>
        <pc:cxnChg chg="add mod ord replST">
          <ac:chgData name="Aurelien Domont" userId="6da7715ce44349b3" providerId="LiveId" clId="{8C97B853-E239-49C0-A36B-A3F2C855C3BA}" dt="2023-11-02T23:49:14.502" v="33715"/>
          <ac:cxnSpMkLst>
            <pc:docMk/>
            <pc:sldMk cId="3959411121" sldId="2588"/>
            <ac:cxnSpMk id="51" creationId="{DD77CD21-AA82-B0D2-4F7B-5CB546C0850B}"/>
          </ac:cxnSpMkLst>
        </pc:cxnChg>
        <pc:cxnChg chg="add mod ord replST">
          <ac:chgData name="Aurelien Domont" userId="6da7715ce44349b3" providerId="LiveId" clId="{8C97B853-E239-49C0-A36B-A3F2C855C3BA}" dt="2023-11-02T23:49:14.502" v="33713"/>
          <ac:cxnSpMkLst>
            <pc:docMk/>
            <pc:sldMk cId="3959411121" sldId="2588"/>
            <ac:cxnSpMk id="52" creationId="{9D11E2F4-7836-FC61-24A7-377422CC9E26}"/>
          </ac:cxnSpMkLst>
        </pc:cxnChg>
        <pc:cxnChg chg="add mod ord replST">
          <ac:chgData name="Aurelien Domont" userId="6da7715ce44349b3" providerId="LiveId" clId="{8C97B853-E239-49C0-A36B-A3F2C855C3BA}" dt="2023-11-02T23:49:14.502" v="33711"/>
          <ac:cxnSpMkLst>
            <pc:docMk/>
            <pc:sldMk cId="3959411121" sldId="2588"/>
            <ac:cxnSpMk id="53" creationId="{8AE09BE9-7EA6-B7D8-455B-E6F7A044A7F6}"/>
          </ac:cxnSpMkLst>
        </pc:cxnChg>
        <pc:cxnChg chg="add mod ord replST">
          <ac:chgData name="Aurelien Domont" userId="6da7715ce44349b3" providerId="LiveId" clId="{8C97B853-E239-49C0-A36B-A3F2C855C3BA}" dt="2023-11-02T23:49:14.502" v="33703"/>
          <ac:cxnSpMkLst>
            <pc:docMk/>
            <pc:sldMk cId="3959411121" sldId="2588"/>
            <ac:cxnSpMk id="54" creationId="{A6D9A905-D903-F64E-E049-D6473D36C894}"/>
          </ac:cxnSpMkLst>
        </pc:cxnChg>
        <pc:cxnChg chg="add mod ord replST">
          <ac:chgData name="Aurelien Domont" userId="6da7715ce44349b3" providerId="LiveId" clId="{8C97B853-E239-49C0-A36B-A3F2C855C3BA}" dt="2023-11-02T23:49:14.502" v="33709"/>
          <ac:cxnSpMkLst>
            <pc:docMk/>
            <pc:sldMk cId="3959411121" sldId="2588"/>
            <ac:cxnSpMk id="55" creationId="{5BE3FE19-6A97-47BD-EA8E-8B95CD2F361F}"/>
          </ac:cxnSpMkLst>
        </pc:cxnChg>
        <pc:cxnChg chg="add mod ord replST">
          <ac:chgData name="Aurelien Domont" userId="6da7715ce44349b3" providerId="LiveId" clId="{8C97B853-E239-49C0-A36B-A3F2C855C3BA}" dt="2023-11-02T23:49:14.502" v="33707"/>
          <ac:cxnSpMkLst>
            <pc:docMk/>
            <pc:sldMk cId="3959411121" sldId="2588"/>
            <ac:cxnSpMk id="56" creationId="{DCE99676-717F-74EB-0310-62B57B0846D6}"/>
          </ac:cxnSpMkLst>
        </pc:cxnChg>
        <pc:cxnChg chg="add mod ord replST">
          <ac:chgData name="Aurelien Domont" userId="6da7715ce44349b3" providerId="LiveId" clId="{8C97B853-E239-49C0-A36B-A3F2C855C3BA}" dt="2023-11-02T23:49:14.502" v="33705"/>
          <ac:cxnSpMkLst>
            <pc:docMk/>
            <pc:sldMk cId="3959411121" sldId="2588"/>
            <ac:cxnSpMk id="57" creationId="{A9B3832D-8568-7BDF-3530-CFAA0990D7E6}"/>
          </ac:cxnSpMkLst>
        </pc:cxnChg>
        <pc:cxnChg chg="add mod ord replST">
          <ac:chgData name="Aurelien Domont" userId="6da7715ce44349b3" providerId="LiveId" clId="{8C97B853-E239-49C0-A36B-A3F2C855C3BA}" dt="2023-11-02T23:49:14.517" v="33745"/>
          <ac:cxnSpMkLst>
            <pc:docMk/>
            <pc:sldMk cId="3959411121" sldId="2588"/>
            <ac:cxnSpMk id="58" creationId="{634B69FC-0A5F-CCBE-41AD-827B4CEC98A6}"/>
          </ac:cxnSpMkLst>
        </pc:cxnChg>
        <pc:cxnChg chg="add mod ord replST">
          <ac:chgData name="Aurelien Domont" userId="6da7715ce44349b3" providerId="LiveId" clId="{8C97B853-E239-49C0-A36B-A3F2C855C3BA}" dt="2023-11-02T23:49:14.517" v="33775"/>
          <ac:cxnSpMkLst>
            <pc:docMk/>
            <pc:sldMk cId="3959411121" sldId="2588"/>
            <ac:cxnSpMk id="59" creationId="{E77EA038-BDA7-D56F-94EA-93BF669AC655}"/>
          </ac:cxnSpMkLst>
        </pc:cxnChg>
        <pc:cxnChg chg="add mod ord replST">
          <ac:chgData name="Aurelien Domont" userId="6da7715ce44349b3" providerId="LiveId" clId="{8C97B853-E239-49C0-A36B-A3F2C855C3BA}" dt="2023-11-02T23:49:14.517" v="33773"/>
          <ac:cxnSpMkLst>
            <pc:docMk/>
            <pc:sldMk cId="3959411121" sldId="2588"/>
            <ac:cxnSpMk id="60" creationId="{F3A8FE78-0F8C-7ED3-A477-BA7BFD1E923A}"/>
          </ac:cxnSpMkLst>
        </pc:cxnChg>
        <pc:cxnChg chg="add mod ord replST">
          <ac:chgData name="Aurelien Domont" userId="6da7715ce44349b3" providerId="LiveId" clId="{8C97B853-E239-49C0-A36B-A3F2C855C3BA}" dt="2023-11-02T23:49:14.517" v="33771"/>
          <ac:cxnSpMkLst>
            <pc:docMk/>
            <pc:sldMk cId="3959411121" sldId="2588"/>
            <ac:cxnSpMk id="61" creationId="{0DF81B95-0303-3BB4-6379-56E044EEA7EF}"/>
          </ac:cxnSpMkLst>
        </pc:cxnChg>
        <pc:cxnChg chg="add mod ord replST">
          <ac:chgData name="Aurelien Domont" userId="6da7715ce44349b3" providerId="LiveId" clId="{8C97B853-E239-49C0-A36B-A3F2C855C3BA}" dt="2023-11-02T23:49:14.502" v="33701"/>
          <ac:cxnSpMkLst>
            <pc:docMk/>
            <pc:sldMk cId="3959411121" sldId="2588"/>
            <ac:cxnSpMk id="62" creationId="{AA3B20FC-EBAD-22B2-A746-A4A802AB0E3B}"/>
          </ac:cxnSpMkLst>
        </pc:cxnChg>
        <pc:cxnChg chg="add mod ord replST">
          <ac:chgData name="Aurelien Domont" userId="6da7715ce44349b3" providerId="LiveId" clId="{8C97B853-E239-49C0-A36B-A3F2C855C3BA}" dt="2023-11-02T23:49:14.517" v="33759"/>
          <ac:cxnSpMkLst>
            <pc:docMk/>
            <pc:sldMk cId="3959411121" sldId="2588"/>
            <ac:cxnSpMk id="63" creationId="{0FE6D0F0-B45A-71C5-6DAB-43FAF343E819}"/>
          </ac:cxnSpMkLst>
        </pc:cxnChg>
        <pc:cxnChg chg="add del mod ord replST">
          <ac:chgData name="Aurelien Domont" userId="6da7715ce44349b3" providerId="LiveId" clId="{8C97B853-E239-49C0-A36B-A3F2C855C3BA}" dt="2023-11-02T23:47:55.616" v="31046"/>
          <ac:cxnSpMkLst>
            <pc:docMk/>
            <pc:sldMk cId="3959411121" sldId="2588"/>
            <ac:cxnSpMk id="64" creationId="{F62C5BE0-4929-B711-45E9-D243330BE5B2}"/>
          </ac:cxnSpMkLst>
        </pc:cxnChg>
        <pc:cxnChg chg="add mod ord replST">
          <ac:chgData name="Aurelien Domont" userId="6da7715ce44349b3" providerId="LiveId" clId="{8C97B853-E239-49C0-A36B-A3F2C855C3BA}" dt="2023-11-02T23:49:14.517" v="33761"/>
          <ac:cxnSpMkLst>
            <pc:docMk/>
            <pc:sldMk cId="3959411121" sldId="2588"/>
            <ac:cxnSpMk id="65" creationId="{401EC01E-DCF7-38F0-015E-98EB35E4F963}"/>
          </ac:cxnSpMkLst>
        </pc:cxnChg>
        <pc:cxnChg chg="add mod ord replST">
          <ac:chgData name="Aurelien Domont" userId="6da7715ce44349b3" providerId="LiveId" clId="{8C97B853-E239-49C0-A36B-A3F2C855C3BA}" dt="2023-11-02T23:49:14.517" v="33763"/>
          <ac:cxnSpMkLst>
            <pc:docMk/>
            <pc:sldMk cId="3959411121" sldId="2588"/>
            <ac:cxnSpMk id="66" creationId="{43C40E60-560F-2DC9-F379-CCECD5EAA5A2}"/>
          </ac:cxnSpMkLst>
        </pc:cxnChg>
        <pc:cxnChg chg="add mod ord replST">
          <ac:chgData name="Aurelien Domont" userId="6da7715ce44349b3" providerId="LiveId" clId="{8C97B853-E239-49C0-A36B-A3F2C855C3BA}" dt="2023-11-02T23:49:14.502" v="33739"/>
          <ac:cxnSpMkLst>
            <pc:docMk/>
            <pc:sldMk cId="3959411121" sldId="2588"/>
            <ac:cxnSpMk id="67" creationId="{5689A4DC-9254-F902-AD81-2A1777F7D0DF}"/>
          </ac:cxnSpMkLst>
        </pc:cxnChg>
        <pc:cxnChg chg="add mod ord replST">
          <ac:chgData name="Aurelien Domont" userId="6da7715ce44349b3" providerId="LiveId" clId="{8C97B853-E239-49C0-A36B-A3F2C855C3BA}" dt="2023-11-02T23:49:14.517" v="33741"/>
          <ac:cxnSpMkLst>
            <pc:docMk/>
            <pc:sldMk cId="3959411121" sldId="2588"/>
            <ac:cxnSpMk id="68" creationId="{D36A6356-3BD0-3C4C-F32E-49FDA10EAA97}"/>
          </ac:cxnSpMkLst>
        </pc:cxnChg>
        <pc:cxnChg chg="add mod ord replST">
          <ac:chgData name="Aurelien Domont" userId="6da7715ce44349b3" providerId="LiveId" clId="{8C97B853-E239-49C0-A36B-A3F2C855C3BA}" dt="2023-11-02T23:49:14.517" v="33743"/>
          <ac:cxnSpMkLst>
            <pc:docMk/>
            <pc:sldMk cId="3959411121" sldId="2588"/>
            <ac:cxnSpMk id="69" creationId="{F3F62E54-E900-D3BF-80ED-4529624730A3}"/>
          </ac:cxnSpMkLst>
        </pc:cxnChg>
        <pc:cxnChg chg="add mod ord replST">
          <ac:chgData name="Aurelien Domont" userId="6da7715ce44349b3" providerId="LiveId" clId="{8C97B853-E239-49C0-A36B-A3F2C855C3BA}" dt="2023-11-02T23:49:14.502" v="33717"/>
          <ac:cxnSpMkLst>
            <pc:docMk/>
            <pc:sldMk cId="3959411121" sldId="2588"/>
            <ac:cxnSpMk id="70" creationId="{1D03C96E-C7F4-F08A-F049-5C1132DF4DEF}"/>
          </ac:cxnSpMkLst>
        </pc:cxnChg>
        <pc:cxnChg chg="add mod ord replST">
          <ac:chgData name="Aurelien Domont" userId="6da7715ce44349b3" providerId="LiveId" clId="{8C97B853-E239-49C0-A36B-A3F2C855C3BA}" dt="2023-11-02T23:49:14.517" v="33747"/>
          <ac:cxnSpMkLst>
            <pc:docMk/>
            <pc:sldMk cId="3959411121" sldId="2588"/>
            <ac:cxnSpMk id="84" creationId="{00F5FBAA-9DEB-6EFA-F960-C5C37847AB9B}"/>
          </ac:cxnSpMkLst>
        </pc:cxnChg>
        <pc:cxnChg chg="add mod ord replST">
          <ac:chgData name="Aurelien Domont" userId="6da7715ce44349b3" providerId="LiveId" clId="{8C97B853-E239-49C0-A36B-A3F2C855C3BA}" dt="2023-11-02T23:49:14.517" v="33749"/>
          <ac:cxnSpMkLst>
            <pc:docMk/>
            <pc:sldMk cId="3959411121" sldId="2588"/>
            <ac:cxnSpMk id="85" creationId="{3F9D3C24-029A-15B1-BA01-CE626248ED4B}"/>
          </ac:cxnSpMkLst>
        </pc:cxnChg>
        <pc:cxnChg chg="add mod ord replST">
          <ac:chgData name="Aurelien Domont" userId="6da7715ce44349b3" providerId="LiveId" clId="{8C97B853-E239-49C0-A36B-A3F2C855C3BA}" dt="2023-11-02T23:49:14.517" v="33757"/>
          <ac:cxnSpMkLst>
            <pc:docMk/>
            <pc:sldMk cId="3959411121" sldId="2588"/>
            <ac:cxnSpMk id="86" creationId="{323A91DC-E86D-6155-58FD-B7EAB64967D9}"/>
          </ac:cxnSpMkLst>
        </pc:cxnChg>
        <pc:cxnChg chg="add mod ord replST">
          <ac:chgData name="Aurelien Domont" userId="6da7715ce44349b3" providerId="LiveId" clId="{8C97B853-E239-49C0-A36B-A3F2C855C3BA}" dt="2023-11-02T23:49:14.517" v="33779"/>
          <ac:cxnSpMkLst>
            <pc:docMk/>
            <pc:sldMk cId="3959411121" sldId="2588"/>
            <ac:cxnSpMk id="87" creationId="{DFCC2501-CF09-D645-F9FB-C21E4AEBA5A5}"/>
          </ac:cxnSpMkLst>
        </pc:cxnChg>
        <pc:cxnChg chg="add mod ord replST">
          <ac:chgData name="Aurelien Domont" userId="6da7715ce44349b3" providerId="LiveId" clId="{8C97B853-E239-49C0-A36B-A3F2C855C3BA}" dt="2023-11-02T23:49:14.517" v="33777"/>
          <ac:cxnSpMkLst>
            <pc:docMk/>
            <pc:sldMk cId="3959411121" sldId="2588"/>
            <ac:cxnSpMk id="88" creationId="{E7B6E54B-1CCF-7C67-D024-6D1428E15675}"/>
          </ac:cxnSpMkLst>
        </pc:cxnChg>
        <pc:cxnChg chg="add del mod replST">
          <ac:chgData name="Aurelien Domont" userId="6da7715ce44349b3" providerId="LiveId" clId="{8C97B853-E239-49C0-A36B-A3F2C855C3BA}" dt="2023-11-02T23:45:41.849" v="25603"/>
          <ac:cxnSpMkLst>
            <pc:docMk/>
            <pc:sldMk cId="3959411121" sldId="2588"/>
            <ac:cxnSpMk id="89" creationId="{A62A4DDF-DA6A-8401-F017-E27DC05311C5}"/>
          </ac:cxnSpMkLst>
        </pc:cxnChg>
        <pc:cxnChg chg="add del mod ord replST">
          <ac:chgData name="Aurelien Domont" userId="6da7715ce44349b3" providerId="LiveId" clId="{8C97B853-E239-49C0-A36B-A3F2C855C3BA}" dt="2023-11-02T23:46:14.669" v="29215"/>
          <ac:cxnSpMkLst>
            <pc:docMk/>
            <pc:sldMk cId="3959411121" sldId="2588"/>
            <ac:cxnSpMk id="90" creationId="{6FF9379C-0EC1-6C00-4541-A251278541DC}"/>
          </ac:cxnSpMkLst>
        </pc:cxnChg>
        <pc:cxnChg chg="add mod ord replST">
          <ac:chgData name="Aurelien Domont" userId="6da7715ce44349b3" providerId="LiveId" clId="{8C97B853-E239-49C0-A36B-A3F2C855C3BA}" dt="2023-11-02T23:49:14.517" v="33783"/>
          <ac:cxnSpMkLst>
            <pc:docMk/>
            <pc:sldMk cId="3959411121" sldId="2588"/>
            <ac:cxnSpMk id="91" creationId="{78A65BF5-F9D4-7FA8-FC70-AF801291E93C}"/>
          </ac:cxnSpMkLst>
        </pc:cxnChg>
        <pc:cxnChg chg="add del mod ord replST">
          <ac:chgData name="Aurelien Domont" userId="6da7715ce44349b3" providerId="LiveId" clId="{8C97B853-E239-49C0-A36B-A3F2C855C3BA}" dt="2023-11-02T23:48:08.709" v="31994"/>
          <ac:cxnSpMkLst>
            <pc:docMk/>
            <pc:sldMk cId="3959411121" sldId="2588"/>
            <ac:cxnSpMk id="92" creationId="{316B105E-5EFF-45DA-CC27-A1AB981E58ED}"/>
          </ac:cxnSpMkLst>
        </pc:cxnChg>
        <pc:cxnChg chg="add del mod ord replST">
          <ac:chgData name="Aurelien Domont" userId="6da7715ce44349b3" providerId="LiveId" clId="{8C97B853-E239-49C0-A36B-A3F2C855C3BA}" dt="2023-11-02T23:48:06.307" v="31750"/>
          <ac:cxnSpMkLst>
            <pc:docMk/>
            <pc:sldMk cId="3959411121" sldId="2588"/>
            <ac:cxnSpMk id="93" creationId="{A3A5FC46-293B-0755-0D56-24548DEB812F}"/>
          </ac:cxnSpMkLst>
        </pc:cxnChg>
        <pc:cxnChg chg="add del mod ord replST">
          <ac:chgData name="Aurelien Domont" userId="6da7715ce44349b3" providerId="LiveId" clId="{8C97B853-E239-49C0-A36B-A3F2C855C3BA}" dt="2023-11-02T23:48:32.219" v="32600"/>
          <ac:cxnSpMkLst>
            <pc:docMk/>
            <pc:sldMk cId="3959411121" sldId="2588"/>
            <ac:cxnSpMk id="94" creationId="{50704691-EF10-31AD-F66D-05B2F2DB397A}"/>
          </ac:cxnSpMkLst>
        </pc:cxnChg>
        <pc:cxnChg chg="add mod ord replST">
          <ac:chgData name="Aurelien Domont" userId="6da7715ce44349b3" providerId="LiveId" clId="{8C97B853-E239-49C0-A36B-A3F2C855C3BA}" dt="2023-11-02T23:49:14.517" v="33785"/>
          <ac:cxnSpMkLst>
            <pc:docMk/>
            <pc:sldMk cId="3959411121" sldId="2588"/>
            <ac:cxnSpMk id="95" creationId="{505C0E63-1723-2F11-A1B9-647E24E3213A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52" creationId="{30E6672B-0AD3-3DCE-05B2-0AF4AC42B464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53" creationId="{C8FAD127-E2E2-2B05-42A5-18BB23EC2465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54" creationId="{C94F745D-4399-6322-23DD-E76274650630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55" creationId="{159F2D18-8163-1C9F-C3F8-3AEBFF4BF5BF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56" creationId="{F2AF7AAD-F08D-9557-E898-ACAFFE5130F6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57" creationId="{CD59123C-35CB-B4D0-A284-A7B9ECB7DE99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58" creationId="{394A08AE-484A-6BEE-6927-CD12733F1CB8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59" creationId="{74F9FE59-48AF-48AA-CCC1-D9D6D4F446BA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60" creationId="{41FFBFBA-B246-59E1-48E1-CCBF9680EB5D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61" creationId="{87BEC56C-FC8E-8791-3DDC-B2477864255A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62" creationId="{558FBF32-217E-39F8-6558-287F284DCE4E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63" creationId="{0AC69279-9880-89B1-239F-E123ABC9C142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64" creationId="{98C1B005-CE1E-557C-6A9A-FBD5DAD8503E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65" creationId="{3725AD6F-02A2-9467-B3ED-B2DC91D2F3FC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66" creationId="{49BCDE8E-4319-9C9E-3349-24B3067048F0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67" creationId="{C3928A2D-C3DC-C65D-0A10-C4401BEBE773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68" creationId="{BAAF64F4-CCB6-5206-BF56-F3942BC0AAD9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69" creationId="{75D17CAF-35A5-B859-69FE-209500235BAA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70" creationId="{F26988F8-E278-9C8A-23CE-7C44ADD8B176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71" creationId="{E7B03FA8-B0EA-4F29-B314-F92AF5E2B837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72" creationId="{0BD3A153-504A-D4F5-D481-BD75C7B45E1F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73" creationId="{06A1AECE-7637-67D0-AC4A-00C2CE9F4646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74" creationId="{99FC733E-5DCD-19FA-CBDD-0431588D0E10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75" creationId="{B326B3A9-915D-5B1D-BB26-62D3934E203D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76" creationId="{26C8B6F1-199B-AC6D-82A7-5F782677B5E5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77" creationId="{75526DBB-2BC7-10E9-68A8-B982117EE059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78" creationId="{D5BBC3C1-5245-9A7F-CFE7-AD1C77D48847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79" creationId="{5E581FD8-A1EC-9221-C8A2-B389943CD7AD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80" creationId="{174F3238-1403-79E3-DCC7-77DC2D6B5BE3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81" creationId="{77FCB6D6-C345-3069-50E6-D69271383997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82" creationId="{D83F002A-93F3-D76D-49BB-3D3ED10B8950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83" creationId="{E10A3D7E-3F0E-CC48-1012-98F9EEC32E3D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84" creationId="{CB1172A5-6B65-F173-B7AC-787E39DDD216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85" creationId="{D14EF613-ADE9-43F1-2A6D-95F434DD71CA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86" creationId="{FA0D94E0-E059-1A94-B30D-94EA538668FF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87" creationId="{9E81FB18-7099-DEAD-A33A-ABAA21672CB3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88" creationId="{009B4FBC-4878-FC3C-E736-BF8FA6D93A03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89" creationId="{956B3D52-A6B9-9CED-AE29-D0FF76941400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90" creationId="{AA5A3DCE-FBA3-95BD-F3B6-73E535C2F32B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91" creationId="{C8529AB7-23DC-C841-58C6-7C35561BF90B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92" creationId="{B5C802E8-537C-60E2-DBE9-5409F4D851AC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93" creationId="{29237AF8-18C5-4D02-EF31-19911330F9C4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94" creationId="{7F8F5451-EEC3-E8CB-3BE7-5DF14A5CED6F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95" creationId="{18598895-EBA6-51BE-FED5-B86F866BC35F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96" creationId="{164D3BE6-9864-4E42-5E8B-70BCB2497F62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97" creationId="{E909F04D-ECFD-7B9D-B1F9-19C39586854C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98" creationId="{50F5C487-003E-C444-9F1B-C4BBA0FFCEF2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199" creationId="{976EC8CD-7B6D-92F8-F5AA-E15C287CD15B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200" creationId="{266C4F9F-401E-5D2F-2FC1-4494221315E1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201" creationId="{CA52EF57-98F9-C798-2DA1-18A2A88AB9B5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202" creationId="{C6E5FD54-FA46-2367-2C5F-CB82DA655EE2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203" creationId="{50EF5852-0E01-C8FB-CA87-7B8AA673B445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204" creationId="{E30BE085-5C47-82F9-9795-0376027B915A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205" creationId="{C7EF74A8-D19B-3305-039A-0D5ADDEDDEAE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206" creationId="{31C57DFB-108E-F1F9-F177-A9E550F0B823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207" creationId="{A9E6F236-24CA-F303-6120-FB8855BDCE22}"/>
          </ac:cxnSpMkLst>
        </pc:cxnChg>
        <pc:cxnChg chg="add mod replST">
          <ac:chgData name="Aurelien Domont" userId="6da7715ce44349b3" providerId="LiveId" clId="{8C97B853-E239-49C0-A36B-A3F2C855C3BA}" dt="2023-11-02T23:45:58.125" v="28562"/>
          <ac:cxnSpMkLst>
            <pc:docMk/>
            <pc:sldMk cId="3959411121" sldId="2588"/>
            <ac:cxnSpMk id="208" creationId="{E9488E03-E014-E645-A8F1-F5DDE14D8D58}"/>
          </ac:cxnSpMkLst>
        </pc:cxnChg>
        <pc:cxnChg chg="add del mod ord replST">
          <ac:chgData name="Aurelien Domont" userId="6da7715ce44349b3" providerId="LiveId" clId="{8C97B853-E239-49C0-A36B-A3F2C855C3BA}" dt="2023-11-02T23:47:43.485" v="30279"/>
          <ac:cxnSpMkLst>
            <pc:docMk/>
            <pc:sldMk cId="3959411121" sldId="2588"/>
            <ac:cxnSpMk id="256" creationId="{7C79C083-8D8D-4E9B-C1D6-904F59D1D02B}"/>
          </ac:cxnSpMkLst>
        </pc:cxnChg>
        <pc:cxnChg chg="add mod ord replST">
          <ac:chgData name="Aurelien Domont" userId="6da7715ce44349b3" providerId="LiveId" clId="{8C97B853-E239-49C0-A36B-A3F2C855C3BA}" dt="2023-11-02T23:49:14.517" v="33781"/>
          <ac:cxnSpMkLst>
            <pc:docMk/>
            <pc:sldMk cId="3959411121" sldId="2588"/>
            <ac:cxnSpMk id="257" creationId="{3CE3E107-0799-13C7-67A9-10D955C30048}"/>
          </ac:cxnSpMkLst>
        </pc:cxnChg>
        <pc:cxnChg chg="add mod ord replST">
          <ac:chgData name="Aurelien Domont" userId="6da7715ce44349b3" providerId="LiveId" clId="{8C97B853-E239-49C0-A36B-A3F2C855C3BA}" dt="2023-11-02T23:49:14.517" v="33751"/>
          <ac:cxnSpMkLst>
            <pc:docMk/>
            <pc:sldMk cId="3959411121" sldId="2588"/>
            <ac:cxnSpMk id="259" creationId="{0BE28655-50BC-15DC-362A-F5983C68ECD4}"/>
          </ac:cxnSpMkLst>
        </pc:cxnChg>
        <pc:cxnChg chg="add mod ord replST">
          <ac:chgData name="Aurelien Domont" userId="6da7715ce44349b3" providerId="LiveId" clId="{8C97B853-E239-49C0-A36B-A3F2C855C3BA}" dt="2023-11-02T23:49:14.517" v="33753"/>
          <ac:cxnSpMkLst>
            <pc:docMk/>
            <pc:sldMk cId="3959411121" sldId="2588"/>
            <ac:cxnSpMk id="260" creationId="{F6C3EBFC-7F2F-2C04-C14A-6D7145E3094C}"/>
          </ac:cxnSpMkLst>
        </pc:cxnChg>
        <pc:cxnChg chg="add mod ord replST">
          <ac:chgData name="Aurelien Domont" userId="6da7715ce44349b3" providerId="LiveId" clId="{8C97B853-E239-49C0-A36B-A3F2C855C3BA}" dt="2023-11-02T23:49:14.517" v="33755"/>
          <ac:cxnSpMkLst>
            <pc:docMk/>
            <pc:sldMk cId="3959411121" sldId="2588"/>
            <ac:cxnSpMk id="261" creationId="{DD3B2C73-4764-2472-3F6C-2241D2EF50D5}"/>
          </ac:cxnSpMkLst>
        </pc:cxnChg>
      </pc:sldChg>
      <pc:sldChg chg="modSp add mod">
        <pc:chgData name="Aurelien Domont" userId="6da7715ce44349b3" providerId="LiveId" clId="{8C97B853-E239-49C0-A36B-A3F2C855C3BA}" dt="2023-11-02T23:42:53.390" v="24567" actId="20577"/>
        <pc:sldMkLst>
          <pc:docMk/>
          <pc:sldMk cId="3701357970" sldId="2589"/>
        </pc:sldMkLst>
        <pc:spChg chg="mod">
          <ac:chgData name="Aurelien Domont" userId="6da7715ce44349b3" providerId="LiveId" clId="{8C97B853-E239-49C0-A36B-A3F2C855C3BA}" dt="2023-11-02T23:42:53.390" v="24567" actId="20577"/>
          <ac:spMkLst>
            <pc:docMk/>
            <pc:sldMk cId="3701357970" sldId="2589"/>
            <ac:spMk id="11" creationId="{8CDB47F6-F264-992A-EF0E-0D24818573CF}"/>
          </ac:spMkLst>
        </pc:spChg>
      </pc:sldChg>
      <pc:sldChg chg="modSp add mod">
        <pc:chgData name="Aurelien Domont" userId="6da7715ce44349b3" providerId="LiveId" clId="{8C97B853-E239-49C0-A36B-A3F2C855C3BA}" dt="2023-11-02T23:42:56.584" v="24569" actId="20577"/>
        <pc:sldMkLst>
          <pc:docMk/>
          <pc:sldMk cId="3748245338" sldId="2590"/>
        </pc:sldMkLst>
        <pc:spChg chg="mod">
          <ac:chgData name="Aurelien Domont" userId="6da7715ce44349b3" providerId="LiveId" clId="{8C97B853-E239-49C0-A36B-A3F2C855C3BA}" dt="2023-11-02T23:42:56.584" v="24569" actId="20577"/>
          <ac:spMkLst>
            <pc:docMk/>
            <pc:sldMk cId="3748245338" sldId="2590"/>
            <ac:spMk id="11" creationId="{8CDB47F6-F264-992A-EF0E-0D24818573CF}"/>
          </ac:spMkLst>
        </pc:spChg>
      </pc:sldChg>
      <pc:sldChg chg="modSp add mod">
        <pc:chgData name="Aurelien Domont" userId="6da7715ce44349b3" providerId="LiveId" clId="{8C97B853-E239-49C0-A36B-A3F2C855C3BA}" dt="2023-11-02T23:44:12.130" v="24581"/>
        <pc:sldMkLst>
          <pc:docMk/>
          <pc:sldMk cId="3223397737" sldId="2591"/>
        </pc:sldMkLst>
        <pc:spChg chg="mod">
          <ac:chgData name="Aurelien Domont" userId="6da7715ce44349b3" providerId="LiveId" clId="{8C97B853-E239-49C0-A36B-A3F2C855C3BA}" dt="2023-11-02T23:44:02.449" v="24572" actId="20577"/>
          <ac:spMkLst>
            <pc:docMk/>
            <pc:sldMk cId="3223397737" sldId="2591"/>
            <ac:spMk id="8" creationId="{283D8879-911B-9B5C-E64C-10BE7780FB67}"/>
          </ac:spMkLst>
        </pc:spChg>
        <pc:spChg chg="mod">
          <ac:chgData name="Aurelien Domont" userId="6da7715ce44349b3" providerId="LiveId" clId="{8C97B853-E239-49C0-A36B-A3F2C855C3BA}" dt="2023-11-02T23:44:06.016" v="24578" actId="20577"/>
          <ac:spMkLst>
            <pc:docMk/>
            <pc:sldMk cId="3223397737" sldId="2591"/>
            <ac:spMk id="13" creationId="{11371C50-EF18-251D-396B-665BD97DA1C5}"/>
          </ac:spMkLst>
        </pc:spChg>
        <pc:spChg chg="mod">
          <ac:chgData name="Aurelien Domont" userId="6da7715ce44349b3" providerId="LiveId" clId="{8C97B853-E239-49C0-A36B-A3F2C855C3BA}" dt="2023-11-02T23:44:09.713" v="24579"/>
          <ac:spMkLst>
            <pc:docMk/>
            <pc:sldMk cId="3223397737" sldId="2591"/>
            <ac:spMk id="14" creationId="{467FA576-45E0-6C9C-7E52-98A9852390B8}"/>
          </ac:spMkLst>
        </pc:spChg>
        <pc:spChg chg="mod">
          <ac:chgData name="Aurelien Domont" userId="6da7715ce44349b3" providerId="LiveId" clId="{8C97B853-E239-49C0-A36B-A3F2C855C3BA}" dt="2023-11-02T23:44:10.890" v="24580"/>
          <ac:spMkLst>
            <pc:docMk/>
            <pc:sldMk cId="3223397737" sldId="2591"/>
            <ac:spMk id="15" creationId="{D442BBFB-FAB9-304B-305A-BEE327B5709F}"/>
          </ac:spMkLst>
        </pc:spChg>
        <pc:spChg chg="mod">
          <ac:chgData name="Aurelien Domont" userId="6da7715ce44349b3" providerId="LiveId" clId="{8C97B853-E239-49C0-A36B-A3F2C855C3BA}" dt="2023-11-02T23:44:12.130" v="24581"/>
          <ac:spMkLst>
            <pc:docMk/>
            <pc:sldMk cId="3223397737" sldId="2591"/>
            <ac:spMk id="16" creationId="{0AD97C23-728F-AC1F-F164-167CB7E86554}"/>
          </ac:spMkLst>
        </pc:spChg>
      </pc:sldChg>
      <pc:sldChg chg="addSp delSp modSp add mod">
        <pc:chgData name="Aurelien Domont" userId="6da7715ce44349b3" providerId="LiveId" clId="{8C97B853-E239-49C0-A36B-A3F2C855C3BA}" dt="2023-11-02T23:52:22.904" v="33918"/>
        <pc:sldMkLst>
          <pc:docMk/>
          <pc:sldMk cId="1501742771" sldId="2592"/>
        </pc:sldMkLst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4" creationId="{EE1C6E51-B57D-0BE7-F8E6-6BAE4DB401DD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5" creationId="{388AE6D2-967E-5921-5E81-79217F48985F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9" creationId="{C3421805-B9A9-083E-D519-1F923A89AA3D}"/>
          </ac:spMkLst>
        </pc:spChg>
        <pc:spChg chg="mod">
          <ac:chgData name="Aurelien Domont" userId="6da7715ce44349b3" providerId="LiveId" clId="{8C97B853-E239-49C0-A36B-A3F2C855C3BA}" dt="2023-11-02T23:50:47.329" v="33903" actId="20577"/>
          <ac:spMkLst>
            <pc:docMk/>
            <pc:sldMk cId="1501742771" sldId="2592"/>
            <ac:spMk id="11" creationId="{8CDB47F6-F264-992A-EF0E-0D24818573CF}"/>
          </ac:spMkLst>
        </pc:spChg>
        <pc:spChg chg="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12" creationId="{158AFC5F-FD5D-93DE-5741-FAAA32579197}"/>
          </ac:spMkLst>
        </pc:spChg>
        <pc:spChg chg="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14" creationId="{657D8677-4BA1-68C8-FDA0-A36D65BC02FF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15" creationId="{8A97AD3A-7103-3305-D576-8D0FAF0E2AF2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17" creationId="{F71BF02E-C413-73E5-B3B1-C34EBF0EC34C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18" creationId="{21329379-58A7-1761-8BE9-7A30FBA39BDE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19" creationId="{2E0578FD-13A1-4A92-E51C-11877DF4BB69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20" creationId="{0A4343D1-074D-DE4D-7A03-6F861C0C87EB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21" creationId="{B043C1C1-7F13-BEE3-DBEA-40A8E7788D28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23" creationId="{C995BB04-AB17-90D0-E22F-A582D5E4B52A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25" creationId="{57F7235B-E697-647F-5ADD-0A457C6CA309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26" creationId="{82A322D7-FC63-D04A-D52E-8DFB7327D5C7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27" creationId="{2E810D8D-7891-C6FC-305F-98EB65C5A6EF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28" creationId="{4709A845-FEF8-2638-6B75-6DA3200300BE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29" creationId="{329FD9C9-AF45-1A58-2C9D-60A09E32000C}"/>
          </ac:spMkLst>
        </pc:spChg>
        <pc:spChg chg="add mod">
          <ac:chgData name="Aurelien Domont" userId="6da7715ce44349b3" providerId="LiveId" clId="{8C97B853-E239-49C0-A36B-A3F2C855C3BA}" dt="2023-11-02T23:50:16.863" v="33884"/>
          <ac:spMkLst>
            <pc:docMk/>
            <pc:sldMk cId="1501742771" sldId="2592"/>
            <ac:spMk id="30" creationId="{6C81DA3A-C8CD-B19C-C683-7E12230FFC02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72" creationId="{979D5673-01B2-C764-F698-1D1E003C780D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73" creationId="{9E7A772C-3E9B-07A1-928D-F6B5B03C0041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74" creationId="{2DB88DC6-E49B-6E79-83F7-1FEDFA9E85C9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75" creationId="{04F8E62B-0B58-B34D-7C12-58AC87CC055C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76" creationId="{C0ECF437-F358-B83C-7EE3-AB98C25FA7A7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77" creationId="{E0C1164C-D04E-A295-D0C5-10E0077A44C7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78" creationId="{C36DB09C-C0ED-9A88-87F2-025FF6E915EA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79" creationId="{97743DFC-7664-E0CC-C933-FC74C28F848E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80" creationId="{C466709B-743D-935B-E41A-12BF0822B32E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81" creationId="{9092CDF0-9776-2C87-03BB-BB10920E3C82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82" creationId="{F543C529-8054-DD2C-9333-BF20BCE12D08}"/>
          </ac:spMkLst>
        </pc:spChg>
        <pc:spChg chg="del">
          <ac:chgData name="Aurelien Domont" userId="6da7715ce44349b3" providerId="LiveId" clId="{8C97B853-E239-49C0-A36B-A3F2C855C3BA}" dt="2023-11-02T23:50:09.756" v="33883" actId="478"/>
          <ac:spMkLst>
            <pc:docMk/>
            <pc:sldMk cId="1501742771" sldId="2592"/>
            <ac:spMk id="83" creationId="{2CCDC379-6978-4259-F9AB-BA3A6E84F290}"/>
          </ac:spMkLst>
        </pc:spChg>
        <pc:grpChg chg="add mod">
          <ac:chgData name="Aurelien Domont" userId="6da7715ce44349b3" providerId="LiveId" clId="{8C97B853-E239-49C0-A36B-A3F2C855C3BA}" dt="2023-11-02T23:50:16.863" v="33884"/>
          <ac:grpSpMkLst>
            <pc:docMk/>
            <pc:sldMk cId="1501742771" sldId="2592"/>
            <ac:grpSpMk id="6" creationId="{B368C386-42E2-3A85-9970-1591460F407A}"/>
          </ac:grpSpMkLst>
        </pc:grpChg>
        <pc:grpChg chg="del">
          <ac:chgData name="Aurelien Domont" userId="6da7715ce44349b3" providerId="LiveId" clId="{8C97B853-E239-49C0-A36B-A3F2C855C3BA}" dt="2023-11-02T23:50:09.756" v="33883" actId="478"/>
          <ac:grpSpMkLst>
            <pc:docMk/>
            <pc:sldMk cId="1501742771" sldId="2592"/>
            <ac:grpSpMk id="22" creationId="{F2941C11-C339-BC1F-311C-20A5E2DC45A5}"/>
          </ac:grpSpMkLst>
        </pc:grpChg>
        <pc:graphicFrameChg chg="add mod">
          <ac:chgData name="Aurelien Domont" userId="6da7715ce44349b3" providerId="LiveId" clId="{8C97B853-E239-49C0-A36B-A3F2C855C3BA}" dt="2023-11-02T23:52:22.904" v="33918"/>
          <ac:graphicFrameMkLst>
            <pc:docMk/>
            <pc:sldMk cId="1501742771" sldId="2592"/>
            <ac:graphicFrameMk id="3" creationId="{8C1D14B5-A9EB-E279-A9BB-5F9C6498B469}"/>
          </ac:graphicFrameMkLst>
        </pc:graphicFrameChg>
        <pc:graphicFrameChg chg="del">
          <ac:chgData name="Aurelien Domont" userId="6da7715ce44349b3" providerId="LiveId" clId="{8C97B853-E239-49C0-A36B-A3F2C855C3BA}" dt="2023-11-02T23:50:09.756" v="33883" actId="478"/>
          <ac:graphicFrameMkLst>
            <pc:docMk/>
            <pc:sldMk cId="1501742771" sldId="2592"/>
            <ac:graphicFrameMk id="7" creationId="{F43F6FAA-57DF-1CF8-7A51-A14802EE3FD2}"/>
          </ac:graphicFrameMkLst>
        </pc:graphicFrameChg>
      </pc:sldChg>
      <pc:sldChg chg="addSp delSp modSp add mod">
        <pc:chgData name="Aurelien Domont" userId="6da7715ce44349b3" providerId="LiveId" clId="{8C97B853-E239-49C0-A36B-A3F2C855C3BA}" dt="2023-11-02T23:52:27.508" v="33919"/>
        <pc:sldMkLst>
          <pc:docMk/>
          <pc:sldMk cId="1699548227" sldId="2593"/>
        </pc:sldMkLst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4" creationId="{EE1C6E51-B57D-0BE7-F8E6-6BAE4DB401DD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5" creationId="{388AE6D2-967E-5921-5E81-79217F48985F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9" creationId="{2673EEAA-7278-6AB3-118D-7C04D74FFC9C}"/>
          </ac:spMkLst>
        </pc:spChg>
        <pc:spChg chg="mod">
          <ac:chgData name="Aurelien Domont" userId="6da7715ce44349b3" providerId="LiveId" clId="{8C97B853-E239-49C0-A36B-A3F2C855C3BA}" dt="2023-11-02T23:50:51.888" v="33906" actId="20577"/>
          <ac:spMkLst>
            <pc:docMk/>
            <pc:sldMk cId="1699548227" sldId="2593"/>
            <ac:spMk id="11" creationId="{8CDB47F6-F264-992A-EF0E-0D24818573CF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15" creationId="{8A97AD3A-7103-3305-D576-8D0FAF0E2AF2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17" creationId="{F71BF02E-C413-73E5-B3B1-C34EBF0EC34C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18" creationId="{21329379-58A7-1761-8BE9-7A30FBA39BDE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19" creationId="{2E0578FD-13A1-4A92-E51C-11877DF4BB69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20" creationId="{0A4343D1-074D-DE4D-7A03-6F861C0C87EB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21" creationId="{095CEA6E-4F1B-E1E9-857E-049583B66802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23" creationId="{C995BB04-AB17-90D0-E22F-A582D5E4B52A}"/>
          </ac:spMkLst>
        </pc:spChg>
        <pc:spChg chg="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24" creationId="{2869840C-8795-2DAC-F8E8-610E209A30B2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25" creationId="{57F7235B-E697-647F-5ADD-0A457C6CA309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26" creationId="{82A322D7-FC63-D04A-D52E-8DFB7327D5C7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27" creationId="{2E810D8D-7891-C6FC-305F-98EB65C5A6EF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28" creationId="{4709A845-FEF8-2638-6B75-6DA3200300BE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29" creationId="{329FD9C9-AF45-1A58-2C9D-60A09E32000C}"/>
          </ac:spMkLst>
        </pc:spChg>
        <pc:spChg chg="del">
          <ac:chgData name="Aurelien Domont" userId="6da7715ce44349b3" providerId="LiveId" clId="{8C97B853-E239-49C0-A36B-A3F2C855C3BA}" dt="2023-11-02T23:50:55.950" v="33907" actId="478"/>
          <ac:spMkLst>
            <pc:docMk/>
            <pc:sldMk cId="1699548227" sldId="2593"/>
            <ac:spMk id="30" creationId="{6C81DA3A-C8CD-B19C-C683-7E12230FFC02}"/>
          </ac:spMkLst>
        </pc:spChg>
        <pc:spChg chg="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31" creationId="{9953B4BD-7078-5E82-B44A-39F6CE4A4965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32" creationId="{AB423A6D-2DD5-93FC-92C5-D3E2371DEE69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33" creationId="{A6F631A0-461A-5B36-B6A4-4CC664E532B1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34" creationId="{7DD8FECF-F5A4-D2B0-425A-4E1D8EE65823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35" creationId="{747515B4-B7EC-A347-697F-54915A7B64BC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36" creationId="{230258CC-1237-4232-18B7-6B1AB3476C27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37" creationId="{E4D9F476-6AE8-742B-0AD1-FAB79C26E1D2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38" creationId="{EA814F10-CA4C-E69A-253A-02951D061A51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39" creationId="{25F37C02-9763-47B7-F491-2C9F59A0B8FC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40" creationId="{8034B9D0-BA51-DF64-222B-F1C538E65EB0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41" creationId="{186FDF41-88BE-A078-CBA5-1EFBA56B39C0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42" creationId="{1C2CF39E-213A-30DB-6C7F-EC92C4DBA2CD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43" creationId="{F6DCEDA3-BAEE-FAB0-6B85-1C5B85B7CD5D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44" creationId="{AEE2D697-6A2A-C401-771D-3C4A1BC325D9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45" creationId="{947F76F3-3CFF-DC1F-00E6-0CDF678AAC5D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46" creationId="{E56A1722-DE94-E870-FF7A-B3C4F1C70DB9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47" creationId="{6A0CCF6E-BC15-5F8A-C3EA-B8D055BEE513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48" creationId="{8E77AEFB-0ED8-4FCE-D8C7-8769BC4F1399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49" creationId="{150C84B1-A19B-1EE0-FFE1-64C99A41B169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50" creationId="{947991B5-7322-EDE6-C661-F5330F8A727E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51" creationId="{93E055B1-4225-4C26-0030-0C26A8CE6D00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52" creationId="{12A0C5DA-F87F-519F-697D-4A7DC8DD0753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53" creationId="{64897D52-65A7-200E-FFCE-6EE708970282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54" creationId="{EEC9298F-2612-B135-8B98-9892F361134A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55" creationId="{F13CC38F-58CE-E571-7512-BFAB675EA634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56" creationId="{3600C155-9C6E-5D98-5EA3-67DD161F76C2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57" creationId="{FF8D6C39-1482-DCBF-41F2-838A7D9E5769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58" creationId="{BE9CBBC4-F2E8-AA4A-1A1D-4E95D64844CA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59" creationId="{6CE45FDA-BE04-173B-4E65-B42C4FF26393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60" creationId="{8ED4769B-FE5E-049B-F309-EBC0BA967FE7}"/>
          </ac:spMkLst>
        </pc:spChg>
        <pc:spChg chg="add mod">
          <ac:chgData name="Aurelien Domont" userId="6da7715ce44349b3" providerId="LiveId" clId="{8C97B853-E239-49C0-A36B-A3F2C855C3BA}" dt="2023-11-02T23:51:04.596" v="33908"/>
          <ac:spMkLst>
            <pc:docMk/>
            <pc:sldMk cId="1699548227" sldId="2593"/>
            <ac:spMk id="61" creationId="{D543AC78-CE26-43D7-E2CB-60477E4460D0}"/>
          </ac:spMkLst>
        </pc:spChg>
        <pc:grpChg chg="del">
          <ac:chgData name="Aurelien Domont" userId="6da7715ce44349b3" providerId="LiveId" clId="{8C97B853-E239-49C0-A36B-A3F2C855C3BA}" dt="2023-11-02T23:50:55.950" v="33907" actId="478"/>
          <ac:grpSpMkLst>
            <pc:docMk/>
            <pc:sldMk cId="1699548227" sldId="2593"/>
            <ac:grpSpMk id="6" creationId="{B368C386-42E2-3A85-9970-1591460F407A}"/>
          </ac:grpSpMkLst>
        </pc:grpChg>
        <pc:grpChg chg="add mod">
          <ac:chgData name="Aurelien Domont" userId="6da7715ce44349b3" providerId="LiveId" clId="{8C97B853-E239-49C0-A36B-A3F2C855C3BA}" dt="2023-11-02T23:51:04.596" v="33908"/>
          <ac:grpSpMkLst>
            <pc:docMk/>
            <pc:sldMk cId="1699548227" sldId="2593"/>
            <ac:grpSpMk id="22" creationId="{926C76D1-A30B-47ED-EA35-0733C0C72339}"/>
          </ac:grpSpMkLst>
        </pc:grpChg>
        <pc:graphicFrameChg chg="del">
          <ac:chgData name="Aurelien Domont" userId="6da7715ce44349b3" providerId="LiveId" clId="{8C97B853-E239-49C0-A36B-A3F2C855C3BA}" dt="2023-11-02T23:50:55.950" v="33907" actId="478"/>
          <ac:graphicFrameMkLst>
            <pc:docMk/>
            <pc:sldMk cId="1699548227" sldId="2593"/>
            <ac:graphicFrameMk id="3" creationId="{8C1D14B5-A9EB-E279-A9BB-5F9C6498B469}"/>
          </ac:graphicFrameMkLst>
        </pc:graphicFrameChg>
        <pc:graphicFrameChg chg="add mod">
          <ac:chgData name="Aurelien Domont" userId="6da7715ce44349b3" providerId="LiveId" clId="{8C97B853-E239-49C0-A36B-A3F2C855C3BA}" dt="2023-11-02T23:52:27.508" v="33919"/>
          <ac:graphicFrameMkLst>
            <pc:docMk/>
            <pc:sldMk cId="1699548227" sldId="2593"/>
            <ac:graphicFrameMk id="7" creationId="{E09159DB-105F-F60E-47E8-3F314BCF1223}"/>
          </ac:graphicFrameMkLst>
        </pc:graphicFrameChg>
      </pc:sldChg>
      <pc:sldChg chg="addSp delSp modSp add mod">
        <pc:chgData name="Aurelien Domont" userId="6da7715ce44349b3" providerId="LiveId" clId="{8C97B853-E239-49C0-A36B-A3F2C855C3BA}" dt="2023-11-02T23:52:31.693" v="33920"/>
        <pc:sldMkLst>
          <pc:docMk/>
          <pc:sldMk cId="3665142639" sldId="2594"/>
        </pc:sldMkLst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4" creationId="{63424A6F-AAA2-3D83-0A35-EE4E5CFFEAC1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5" creationId="{EC86F56C-B442-C30C-8EAF-E5EC9A957986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6" creationId="{63FAB29E-603E-363F-902D-379F2E97D057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9" creationId="{2673EEAA-7278-6AB3-118D-7C04D74FFC9C}"/>
          </ac:spMkLst>
        </pc:spChg>
        <pc:spChg chg="mod">
          <ac:chgData name="Aurelien Domont" userId="6da7715ce44349b3" providerId="LiveId" clId="{8C97B853-E239-49C0-A36B-A3F2C855C3BA}" dt="2023-11-02T23:51:13.807" v="33911" actId="20577"/>
          <ac:spMkLst>
            <pc:docMk/>
            <pc:sldMk cId="3665142639" sldId="2594"/>
            <ac:spMk id="11" creationId="{8CDB47F6-F264-992A-EF0E-0D24818573CF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12" creationId="{0F109943-2AA8-09C3-A085-C64EAEAC0D3C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14" creationId="{72DB6C66-8599-90AD-9B44-B5BDD845EC5D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15" creationId="{B3127363-69AD-EEF0-CD06-4FA60EF0B987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17" creationId="{EEAB1FA7-2ACF-F4B6-4A91-FAA19B6CF7A5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18" creationId="{570ED510-B4E5-F6C5-CEC6-9A9601571E5C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19" creationId="{D668D66A-C821-546E-643D-A0011889FF4F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20" creationId="{F1ECF259-B105-33CA-8EB1-6FAB7B67327E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21" creationId="{095CEA6E-4F1B-E1E9-857E-049583B66802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23" creationId="{E03F8D67-A453-A8BC-EC27-8CEB134EFAA2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25" creationId="{872ACB88-9E1E-C3B8-C3F8-C00126A51F9F}"/>
          </ac:spMkLst>
        </pc:spChg>
        <pc:spChg chg="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27" creationId="{BB02E944-2425-DE46-D703-126D5321B492}"/>
          </ac:spMkLst>
        </pc:spChg>
        <pc:spChg chg="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28" creationId="{E885F646-BBA5-AB8E-8B09-C5574C0AFAA4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29" creationId="{0ECE7B12-7E6D-5821-3018-810F6587A44C}"/>
          </ac:spMkLst>
        </pc:spChg>
        <pc:spChg chg="add mod">
          <ac:chgData name="Aurelien Domont" userId="6da7715ce44349b3" providerId="LiveId" clId="{8C97B853-E239-49C0-A36B-A3F2C855C3BA}" dt="2023-11-02T23:51:24.942" v="33913"/>
          <ac:spMkLst>
            <pc:docMk/>
            <pc:sldMk cId="3665142639" sldId="2594"/>
            <ac:spMk id="30" creationId="{25DB0665-3B85-12FE-60A1-F636951D9227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32" creationId="{AB423A6D-2DD5-93FC-92C5-D3E2371DEE69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33" creationId="{A6F631A0-461A-5B36-B6A4-4CC664E532B1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34" creationId="{7DD8FECF-F5A4-D2B0-425A-4E1D8EE65823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35" creationId="{747515B4-B7EC-A347-697F-54915A7B64BC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36" creationId="{230258CC-1237-4232-18B7-6B1AB3476C27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37" creationId="{E4D9F476-6AE8-742B-0AD1-FAB79C26E1D2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38" creationId="{EA814F10-CA4C-E69A-253A-02951D061A51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39" creationId="{25F37C02-9763-47B7-F491-2C9F59A0B8FC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40" creationId="{8034B9D0-BA51-DF64-222B-F1C538E65EB0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41" creationId="{186FDF41-88BE-A078-CBA5-1EFBA56B39C0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42" creationId="{1C2CF39E-213A-30DB-6C7F-EC92C4DBA2CD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43" creationId="{F6DCEDA3-BAEE-FAB0-6B85-1C5B85B7CD5D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44" creationId="{AEE2D697-6A2A-C401-771D-3C4A1BC325D9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45" creationId="{947F76F3-3CFF-DC1F-00E6-0CDF678AAC5D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46" creationId="{E56A1722-DE94-E870-FF7A-B3C4F1C70DB9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47" creationId="{6A0CCF6E-BC15-5F8A-C3EA-B8D055BEE513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48" creationId="{8E77AEFB-0ED8-4FCE-D8C7-8769BC4F1399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49" creationId="{150C84B1-A19B-1EE0-FFE1-64C99A41B169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50" creationId="{947991B5-7322-EDE6-C661-F5330F8A727E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51" creationId="{93E055B1-4225-4C26-0030-0C26A8CE6D00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52" creationId="{12A0C5DA-F87F-519F-697D-4A7DC8DD0753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53" creationId="{64897D52-65A7-200E-FFCE-6EE708970282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54" creationId="{EEC9298F-2612-B135-8B98-9892F361134A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55" creationId="{F13CC38F-58CE-E571-7512-BFAB675EA634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56" creationId="{3600C155-9C6E-5D98-5EA3-67DD161F76C2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57" creationId="{FF8D6C39-1482-DCBF-41F2-838A7D9E5769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58" creationId="{BE9CBBC4-F2E8-AA4A-1A1D-4E95D64844CA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59" creationId="{6CE45FDA-BE04-173B-4E65-B42C4FF26393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60" creationId="{8ED4769B-FE5E-049B-F309-EBC0BA967FE7}"/>
          </ac:spMkLst>
        </pc:spChg>
        <pc:spChg chg="del">
          <ac:chgData name="Aurelien Domont" userId="6da7715ce44349b3" providerId="LiveId" clId="{8C97B853-E239-49C0-A36B-A3F2C855C3BA}" dt="2023-11-02T23:51:24.315" v="33912" actId="478"/>
          <ac:spMkLst>
            <pc:docMk/>
            <pc:sldMk cId="3665142639" sldId="2594"/>
            <ac:spMk id="61" creationId="{D543AC78-CE26-43D7-E2CB-60477E4460D0}"/>
          </ac:spMkLst>
        </pc:spChg>
        <pc:grpChg chg="del">
          <ac:chgData name="Aurelien Domont" userId="6da7715ce44349b3" providerId="LiveId" clId="{8C97B853-E239-49C0-A36B-A3F2C855C3BA}" dt="2023-11-02T23:51:24.315" v="33912" actId="478"/>
          <ac:grpSpMkLst>
            <pc:docMk/>
            <pc:sldMk cId="3665142639" sldId="2594"/>
            <ac:grpSpMk id="22" creationId="{926C76D1-A30B-47ED-EA35-0733C0C72339}"/>
          </ac:grpSpMkLst>
        </pc:grpChg>
        <pc:grpChg chg="add mod">
          <ac:chgData name="Aurelien Domont" userId="6da7715ce44349b3" providerId="LiveId" clId="{8C97B853-E239-49C0-A36B-A3F2C855C3BA}" dt="2023-11-02T23:51:24.942" v="33913"/>
          <ac:grpSpMkLst>
            <pc:docMk/>
            <pc:sldMk cId="3665142639" sldId="2594"/>
            <ac:grpSpMk id="26" creationId="{EFD2E045-F310-9E6D-EECC-F2A884CC67BF}"/>
          </ac:grpSpMkLst>
        </pc:grpChg>
        <pc:graphicFrameChg chg="add mod">
          <ac:chgData name="Aurelien Domont" userId="6da7715ce44349b3" providerId="LiveId" clId="{8C97B853-E239-49C0-A36B-A3F2C855C3BA}" dt="2023-11-02T23:52:31.693" v="33920"/>
          <ac:graphicFrameMkLst>
            <pc:docMk/>
            <pc:sldMk cId="3665142639" sldId="2594"/>
            <ac:graphicFrameMk id="3" creationId="{D53E6533-2860-8E6F-0962-12B4044602ED}"/>
          </ac:graphicFrameMkLst>
        </pc:graphicFrameChg>
        <pc:graphicFrameChg chg="del">
          <ac:chgData name="Aurelien Domont" userId="6da7715ce44349b3" providerId="LiveId" clId="{8C97B853-E239-49C0-A36B-A3F2C855C3BA}" dt="2023-11-02T23:51:24.315" v="33912" actId="478"/>
          <ac:graphicFrameMkLst>
            <pc:docMk/>
            <pc:sldMk cId="3665142639" sldId="2594"/>
            <ac:graphicFrameMk id="7" creationId="{E09159DB-105F-F60E-47E8-3F314BCF1223}"/>
          </ac:graphicFrameMkLst>
        </pc:graphicFrameChg>
      </pc:sldChg>
      <pc:sldChg chg="addSp delSp modSp add mod modClrScheme chgLayout">
        <pc:chgData name="Aurelien Domont" userId="6da7715ce44349b3" providerId="LiveId" clId="{8C97B853-E239-49C0-A36B-A3F2C855C3BA}" dt="2023-11-03T00:00:48.579" v="34075" actId="20577"/>
        <pc:sldMkLst>
          <pc:docMk/>
          <pc:sldMk cId="1755678747" sldId="2595"/>
        </pc:sldMkLst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1755678747" sldId="2595"/>
            <ac:spMk id="2" creationId="{A67BEC9B-911F-478E-9C56-72957F18467D}"/>
          </ac:spMkLst>
        </pc:spChg>
        <pc:spChg chg="add mod">
          <ac:chgData name="Aurelien Domont" userId="6da7715ce44349b3" providerId="LiveId" clId="{8C97B853-E239-49C0-A36B-A3F2C855C3BA}" dt="2023-11-03T00:00:48.579" v="34075" actId="20577"/>
          <ac:spMkLst>
            <pc:docMk/>
            <pc:sldMk cId="1755678747" sldId="2595"/>
            <ac:spMk id="8" creationId="{825C64DD-CBDA-3C27-7BDE-61A97A2DF8EA}"/>
          </ac:spMkLst>
        </pc:spChg>
        <pc:spChg chg="mod ord">
          <ac:chgData name="Aurelien Domont" userId="6da7715ce44349b3" providerId="LiveId" clId="{8C97B853-E239-49C0-A36B-A3F2C855C3BA}" dt="2023-11-02T23:59:15.802" v="34023"/>
          <ac:spMkLst>
            <pc:docMk/>
            <pc:sldMk cId="1755678747" sldId="2595"/>
            <ac:spMk id="14" creationId="{C9800183-F524-4412-AB39-A6E1A21FF0B3}"/>
          </ac:spMkLst>
        </pc:spChg>
        <pc:spChg chg="del">
          <ac:chgData name="Aurelien Domont" userId="6da7715ce44349b3" providerId="LiveId" clId="{8C97B853-E239-49C0-A36B-A3F2C855C3BA}" dt="2023-11-03T00:00:46.631" v="34073" actId="478"/>
          <ac:spMkLst>
            <pc:docMk/>
            <pc:sldMk cId="1755678747" sldId="2595"/>
            <ac:spMk id="48" creationId="{390A5ABC-5CBC-0AD0-E785-28ADD97FF77C}"/>
          </ac:spMkLst>
        </pc:spChg>
      </pc:sldChg>
      <pc:sldChg chg="delSp modSp add del mod">
        <pc:chgData name="Aurelien Domont" userId="6da7715ce44349b3" providerId="LiveId" clId="{8C97B853-E239-49C0-A36B-A3F2C855C3BA}" dt="2023-11-02T23:59:10.130" v="34020" actId="47"/>
        <pc:sldMkLst>
          <pc:docMk/>
          <pc:sldMk cId="1767286639" sldId="2595"/>
        </pc:sldMkLst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2" creationId="{215DCF42-1B2C-8FC8-3EEC-F3DAF735EAE8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7" creationId="{D7FFDB73-23D3-83ED-BCAB-93802C7BB129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8" creationId="{C34097CD-1130-BF7F-33A6-952E9FF7BBF0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10" creationId="{D0EB2394-9BD8-3AE3-3D5D-AA13F36AA934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11" creationId="{FE146EC5-CDF8-5A7E-671F-05E602EE96F2}"/>
          </ac:spMkLst>
        </pc:spChg>
        <pc:spChg chg="mod">
          <ac:chgData name="Aurelien Domont" userId="6da7715ce44349b3" providerId="LiveId" clId="{8C97B853-E239-49C0-A36B-A3F2C855C3BA}" dt="2023-11-02T23:57:41.147" v="34014" actId="20577"/>
          <ac:spMkLst>
            <pc:docMk/>
            <pc:sldMk cId="1767286639" sldId="2595"/>
            <ac:spMk id="14" creationId="{DE111A74-14E9-69BF-DF7F-7A009302AA0D}"/>
          </ac:spMkLst>
        </pc:spChg>
        <pc:spChg chg="del">
          <ac:chgData name="Aurelien Domont" userId="6da7715ce44349b3" providerId="LiveId" clId="{8C97B853-E239-49C0-A36B-A3F2C855C3BA}" dt="2023-11-02T23:57:46.393" v="34016" actId="478"/>
          <ac:spMkLst>
            <pc:docMk/>
            <pc:sldMk cId="1767286639" sldId="2595"/>
            <ac:spMk id="23" creationId="{ACD6A7B3-AA23-43A4-97E7-77563FE82F3D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31" creationId="{CCF7DFFF-CC97-4CE0-9CCB-0401759828D9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53" creationId="{FFFBC06A-FAA5-43F4-8A45-5D4C2A7EE68B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64" creationId="{50C2CF65-BEA1-46BD-A0E5-E0C3B64944FD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65" creationId="{D4D794DD-5865-46EB-BAA2-B19FA84BD2C7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66" creationId="{72A41FBC-57B0-4C4B-82A8-E64D4CB66E1B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67" creationId="{ED146259-2188-4539-83E5-9302EA90E19D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68" creationId="{421A6687-B166-4943-B31A-52627E4D6F4F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69" creationId="{9FC08A90-8DF4-4A13-96E6-043FE8B907B0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70" creationId="{9C70597F-9804-4212-A6F6-E8A2516CDDF3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71" creationId="{E5160F67-A03F-406C-9F80-9C166960C826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72" creationId="{31707B42-22EB-4F1A-B5CB-C5457F5F20E7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73" creationId="{5DBAF0E3-66EE-446A-B68F-E2D47B00C0CB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74" creationId="{BCCE27B6-64FD-40CC-A8F6-FC4A4B124BFF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80" creationId="{0777AC05-62EE-4705-B7A3-1393E2595743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81" creationId="{E332127B-AA86-4EB9-B781-604F97078752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82" creationId="{AB6546F0-1349-4ABC-977C-C57E775677B3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83" creationId="{A446A060-E741-4A31-BDA7-A70C582E70D9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84" creationId="{2F174C92-E812-45F7-B7B5-DD4447E99A7A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85" creationId="{B47D78B2-FCAF-4F70-BE80-31963DEED49A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86" creationId="{38D9FBF4-7C40-4653-9BBF-7F7AEF3B0500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87" creationId="{4C6CC29A-C55B-463C-B18E-88D9340509EC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88" creationId="{8EBACF69-EA8E-4915-A4C1-1079BE0174EF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97" creationId="{F644B2C8-062B-A0A7-CD0D-851F7918F579}"/>
          </ac:spMkLst>
        </pc:spChg>
        <pc:spChg chg="del">
          <ac:chgData name="Aurelien Domont" userId="6da7715ce44349b3" providerId="LiveId" clId="{8C97B853-E239-49C0-A36B-A3F2C855C3BA}" dt="2023-11-02T23:57:44.011" v="34015" actId="478"/>
          <ac:spMkLst>
            <pc:docMk/>
            <pc:sldMk cId="1767286639" sldId="2595"/>
            <ac:spMk id="101" creationId="{458124D0-3725-6924-CD4E-11139EF74386}"/>
          </ac:spMkLst>
        </pc:sp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21" creationId="{AC017A1D-E5BD-4D09-B825-39DD6498671D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35" creationId="{E07CF76F-7F1A-CB52-0E39-B865B1E63AA2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37" creationId="{F2A200EB-2A87-7527-1355-7C5C5B114280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39" creationId="{9FECFAA1-A542-6532-C02B-43089E0C2AB5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41" creationId="{9006A702-35FF-C837-6460-2C230801482F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43" creationId="{F23E36C7-8119-E484-553E-6E704A1781A9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45" creationId="{996D9882-3036-251B-1E1A-7F3DD4BC421A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47" creationId="{4462A6F6-BC0E-E9A3-F6BA-FC92D4A80309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49" creationId="{5DD8F50E-4743-27C1-6F7F-50D128AB6957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51" creationId="{618D42E5-4185-CAFB-1858-3B9123FEF2F5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54" creationId="{05E3C253-BE8D-A17F-D5D3-E7A5DD93DD4C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56" creationId="{29F30B9B-4A59-0EB8-6FE7-D3C652362833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60" creationId="{A7B45743-779B-073A-3DE7-D5BCEF0F7421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62" creationId="{496C9C90-1107-3690-1EE3-82DE199C1FD6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75" creationId="{1117756F-90BE-5E23-8BC8-09AB67F87E98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79" creationId="{0B0F431A-DBFD-473E-3444-83BFD3ACA531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99" creationId="{E8D42077-B362-6BBB-DAB8-AB15A0612852}"/>
          </ac:cxnSpMkLst>
        </pc:cxnChg>
        <pc:cxnChg chg="del mod">
          <ac:chgData name="Aurelien Domont" userId="6da7715ce44349b3" providerId="LiveId" clId="{8C97B853-E239-49C0-A36B-A3F2C855C3BA}" dt="2023-11-02T23:57:44.011" v="34015" actId="478"/>
          <ac:cxnSpMkLst>
            <pc:docMk/>
            <pc:sldMk cId="1767286639" sldId="2595"/>
            <ac:cxnSpMk id="103" creationId="{FD184068-2B2D-F847-44B7-3C4DEBE1F322}"/>
          </ac:cxnSpMkLst>
        </pc:cxnChg>
      </pc:sldChg>
      <pc:sldChg chg="delSp modSp add mod ord">
        <pc:chgData name="Aurelien Domont" userId="6da7715ce44349b3" providerId="LiveId" clId="{8C97B853-E239-49C0-A36B-A3F2C855C3BA}" dt="2023-11-03T00:03:27.427" v="34154"/>
        <pc:sldMkLst>
          <pc:docMk/>
          <pc:sldMk cId="2866196194" sldId="2596"/>
        </pc:sldMkLst>
        <pc:spChg chg="mod">
          <ac:chgData name="Aurelien Domont" userId="6da7715ce44349b3" providerId="LiveId" clId="{8C97B853-E239-49C0-A36B-A3F2C855C3BA}" dt="2023-11-03T00:01:59.871" v="34099" actId="207"/>
          <ac:spMkLst>
            <pc:docMk/>
            <pc:sldMk cId="2866196194" sldId="2596"/>
            <ac:spMk id="3" creationId="{7BC2ED5B-4F72-AE2F-0909-83D57A7256AA}"/>
          </ac:spMkLst>
        </pc:spChg>
        <pc:spChg chg="del">
          <ac:chgData name="Aurelien Domont" userId="6da7715ce44349b3" providerId="LiveId" clId="{8C97B853-E239-49C0-A36B-A3F2C855C3BA}" dt="2023-11-03T00:02:19.778" v="34103" actId="478"/>
          <ac:spMkLst>
            <pc:docMk/>
            <pc:sldMk cId="2866196194" sldId="2596"/>
            <ac:spMk id="25" creationId="{735AC304-9E4B-EFAE-956D-257C94F68E93}"/>
          </ac:spMkLst>
        </pc:spChg>
      </pc:sldChg>
      <pc:sldChg chg="modSp add del mod">
        <pc:chgData name="Aurelien Domont" userId="6da7715ce44349b3" providerId="LiveId" clId="{8C97B853-E239-49C0-A36B-A3F2C855C3BA}" dt="2023-11-02T23:59:10.130" v="34020" actId="47"/>
        <pc:sldMkLst>
          <pc:docMk/>
          <pc:sldMk cId="3933415597" sldId="2596"/>
        </pc:sldMkLst>
        <pc:spChg chg="mod">
          <ac:chgData name="Aurelien Domont" userId="6da7715ce44349b3" providerId="LiveId" clId="{8C97B853-E239-49C0-A36B-A3F2C855C3BA}" dt="2023-11-02T23:57:50.871" v="34019" actId="20577"/>
          <ac:spMkLst>
            <pc:docMk/>
            <pc:sldMk cId="3933415597" sldId="2596"/>
            <ac:spMk id="14" creationId="{DE111A74-14E9-69BF-DF7F-7A009302AA0D}"/>
          </ac:spMkLst>
        </pc:spChg>
      </pc:sldChg>
      <pc:sldChg chg="delSp modSp add mod">
        <pc:chgData name="Aurelien Domont" userId="6da7715ce44349b3" providerId="LiveId" clId="{8C97B853-E239-49C0-A36B-A3F2C855C3BA}" dt="2023-11-03T00:02:21.176" v="34104" actId="478"/>
        <pc:sldMkLst>
          <pc:docMk/>
          <pc:sldMk cId="4238437504" sldId="2597"/>
        </pc:sldMkLst>
        <pc:spChg chg="mod">
          <ac:chgData name="Aurelien Domont" userId="6da7715ce44349b3" providerId="LiveId" clId="{8C97B853-E239-49C0-A36B-A3F2C855C3BA}" dt="2023-11-03T00:02:16.983" v="34102" actId="207"/>
          <ac:spMkLst>
            <pc:docMk/>
            <pc:sldMk cId="4238437504" sldId="2597"/>
            <ac:spMk id="3" creationId="{7BC2ED5B-4F72-AE2F-0909-83D57A7256AA}"/>
          </ac:spMkLst>
        </pc:spChg>
        <pc:spChg chg="del">
          <ac:chgData name="Aurelien Domont" userId="6da7715ce44349b3" providerId="LiveId" clId="{8C97B853-E239-49C0-A36B-A3F2C855C3BA}" dt="2023-11-03T00:02:21.176" v="34104" actId="478"/>
          <ac:spMkLst>
            <pc:docMk/>
            <pc:sldMk cId="4238437504" sldId="2597"/>
            <ac:spMk id="25" creationId="{735AC304-9E4B-EFAE-956D-257C94F68E93}"/>
          </ac:spMkLst>
        </pc:spChg>
      </pc:sldChg>
      <pc:sldMasterChg chg="delSldLayout">
        <pc:chgData name="Aurelien Domont" userId="6da7715ce44349b3" providerId="LiveId" clId="{8C97B853-E239-49C0-A36B-A3F2C855C3BA}" dt="2023-11-03T00:11:07.277" v="34155" actId="2696"/>
        <pc:sldMasterMkLst>
          <pc:docMk/>
          <pc:sldMasterMk cId="3482721130" sldId="2147483828"/>
        </pc:sldMasterMkLst>
        <pc:sldLayoutChg chg="del">
          <pc:chgData name="Aurelien Domont" userId="6da7715ce44349b3" providerId="LiveId" clId="{8C97B853-E239-49C0-A36B-A3F2C855C3BA}" dt="2023-11-02T06:44:47.481" v="23669" actId="2696"/>
          <pc:sldLayoutMkLst>
            <pc:docMk/>
            <pc:sldMasterMk cId="3482721130" sldId="2147483828"/>
            <pc:sldLayoutMk cId="204112563" sldId="2147483835"/>
          </pc:sldLayoutMkLst>
        </pc:sldLayoutChg>
        <pc:sldLayoutChg chg="del">
          <pc:chgData name="Aurelien Domont" userId="6da7715ce44349b3" providerId="LiveId" clId="{8C97B853-E239-49C0-A36B-A3F2C855C3BA}" dt="2023-11-03T00:11:07.277" v="34155" actId="2696"/>
          <pc:sldLayoutMkLst>
            <pc:docMk/>
            <pc:sldMasterMk cId="3482721130" sldId="2147483828"/>
            <pc:sldLayoutMk cId="817944221" sldId="2147483835"/>
          </pc:sldLayoutMkLst>
        </pc:sldLayoutChg>
        <pc:sldLayoutChg chg="del">
          <pc:chgData name="Aurelien Domont" userId="6da7715ce44349b3" providerId="LiveId" clId="{8C97B853-E239-49C0-A36B-A3F2C855C3BA}" dt="2023-11-02T23:39:26.777" v="24428" actId="2696"/>
          <pc:sldLayoutMkLst>
            <pc:docMk/>
            <pc:sldMasterMk cId="3482721130" sldId="2147483828"/>
            <pc:sldLayoutMk cId="1106554788" sldId="2147483835"/>
          </pc:sldLayoutMkLst>
        </pc:sldLayoutChg>
        <pc:sldLayoutChg chg="del">
          <pc:chgData name="Aurelien Domont" userId="6da7715ce44349b3" providerId="LiveId" clId="{8C97B853-E239-49C0-A36B-A3F2C855C3BA}" dt="2023-11-02T23:53:35.078" v="33929" actId="2696"/>
          <pc:sldLayoutMkLst>
            <pc:docMk/>
            <pc:sldMasterMk cId="3482721130" sldId="2147483828"/>
            <pc:sldLayoutMk cId="2735308615" sldId="2147483835"/>
          </pc:sldLayoutMkLst>
        </pc:sldLayoutChg>
        <pc:sldLayoutChg chg="del">
          <pc:chgData name="Aurelien Domont" userId="6da7715ce44349b3" providerId="LiveId" clId="{8C97B853-E239-49C0-A36B-A3F2C855C3BA}" dt="2023-11-02T06:36:13.522" v="23519" actId="2696"/>
          <pc:sldLayoutMkLst>
            <pc:docMk/>
            <pc:sldMasterMk cId="3482721130" sldId="2147483828"/>
            <pc:sldLayoutMk cId="3976031138" sldId="2147483835"/>
          </pc:sldLayoutMkLst>
        </pc:sldLayoutChg>
        <pc:sldLayoutChg chg="del">
          <pc:chgData name="Aurelien Domont" userId="6da7715ce44349b3" providerId="LiveId" clId="{8C97B853-E239-49C0-A36B-A3F2C855C3BA}" dt="2023-11-02T05:34:46.319" v="11" actId="2696"/>
          <pc:sldLayoutMkLst>
            <pc:docMk/>
            <pc:sldMasterMk cId="3482721130" sldId="2147483828"/>
            <pc:sldLayoutMk cId="4189696893" sldId="2147483835"/>
          </pc:sldLayoutMkLst>
        </pc:sldLayoutChg>
      </pc:sldMasterChg>
    </pc:docChg>
  </pc:docChgLst>
  <pc:docChgLst>
    <pc:chgData name="Aurelien Domont" userId="6da7715ce44349b3" providerId="LiveId" clId="{8E2F06EB-BABF-4502-A8C6-B9F342B7D723}"/>
    <pc:docChg chg="undo custSel addSld delSld modSld replTag">
      <pc:chgData name="Aurelien Domont" userId="6da7715ce44349b3" providerId="LiveId" clId="{8E2F06EB-BABF-4502-A8C6-B9F342B7D723}" dt="2023-11-02T05:15:39.991" v="1890" actId="207"/>
      <pc:docMkLst>
        <pc:docMk/>
      </pc:docMkLst>
      <pc:sldChg chg="del">
        <pc:chgData name="Aurelien Domont" userId="6da7715ce44349b3" providerId="LiveId" clId="{8E2F06EB-BABF-4502-A8C6-B9F342B7D723}" dt="2023-11-02T04:16:37.486" v="1" actId="47"/>
        <pc:sldMkLst>
          <pc:docMk/>
          <pc:sldMk cId="2694049521" sldId="531"/>
        </pc:sldMkLst>
      </pc:sldChg>
      <pc:sldChg chg="del">
        <pc:chgData name="Aurelien Domont" userId="6da7715ce44349b3" providerId="LiveId" clId="{8E2F06EB-BABF-4502-A8C6-B9F342B7D723}" dt="2023-11-02T04:40:22.496" v="1265" actId="47"/>
        <pc:sldMkLst>
          <pc:docMk/>
          <pc:sldMk cId="2168617119" sldId="1624"/>
        </pc:sldMkLst>
      </pc:sldChg>
      <pc:sldChg chg="del">
        <pc:chgData name="Aurelien Domont" userId="6da7715ce44349b3" providerId="LiveId" clId="{8E2F06EB-BABF-4502-A8C6-B9F342B7D723}" dt="2023-11-02T04:40:22.496" v="1265" actId="47"/>
        <pc:sldMkLst>
          <pc:docMk/>
          <pc:sldMk cId="1413178546" sldId="1625"/>
        </pc:sldMkLst>
      </pc:sldChg>
      <pc:sldChg chg="del">
        <pc:chgData name="Aurelien Domont" userId="6da7715ce44349b3" providerId="LiveId" clId="{8E2F06EB-BABF-4502-A8C6-B9F342B7D723}" dt="2023-11-02T04:40:22.496" v="1265" actId="47"/>
        <pc:sldMkLst>
          <pc:docMk/>
          <pc:sldMk cId="1570167118" sldId="1626"/>
        </pc:sldMkLst>
      </pc:sldChg>
      <pc:sldChg chg="del">
        <pc:chgData name="Aurelien Domont" userId="6da7715ce44349b3" providerId="LiveId" clId="{8E2F06EB-BABF-4502-A8C6-B9F342B7D723}" dt="2023-11-02T04:40:22.496" v="1265" actId="47"/>
        <pc:sldMkLst>
          <pc:docMk/>
          <pc:sldMk cId="1432716724" sldId="1627"/>
        </pc:sldMkLst>
      </pc:sldChg>
      <pc:sldChg chg="del">
        <pc:chgData name="Aurelien Domont" userId="6da7715ce44349b3" providerId="LiveId" clId="{8E2F06EB-BABF-4502-A8C6-B9F342B7D723}" dt="2023-11-02T04:40:22.496" v="1265" actId="47"/>
        <pc:sldMkLst>
          <pc:docMk/>
          <pc:sldMk cId="2270130250" sldId="2386"/>
        </pc:sldMkLst>
      </pc:sldChg>
      <pc:sldChg chg="del">
        <pc:chgData name="Aurelien Domont" userId="6da7715ce44349b3" providerId="LiveId" clId="{8E2F06EB-BABF-4502-A8C6-B9F342B7D723}" dt="2023-11-02T05:10:29.434" v="1452" actId="47"/>
        <pc:sldMkLst>
          <pc:docMk/>
          <pc:sldMk cId="1631859961" sldId="2461"/>
        </pc:sldMkLst>
      </pc:sldChg>
      <pc:sldChg chg="del">
        <pc:chgData name="Aurelien Domont" userId="6da7715ce44349b3" providerId="LiveId" clId="{8E2F06EB-BABF-4502-A8C6-B9F342B7D723}" dt="2023-11-02T05:10:29.434" v="1452" actId="47"/>
        <pc:sldMkLst>
          <pc:docMk/>
          <pc:sldMk cId="3789897240" sldId="2462"/>
        </pc:sldMkLst>
      </pc:sldChg>
      <pc:sldChg chg="del">
        <pc:chgData name="Aurelien Domont" userId="6da7715ce44349b3" providerId="LiveId" clId="{8E2F06EB-BABF-4502-A8C6-B9F342B7D723}" dt="2023-11-02T05:10:29.434" v="1452" actId="47"/>
        <pc:sldMkLst>
          <pc:docMk/>
          <pc:sldMk cId="2283904448" sldId="2463"/>
        </pc:sldMkLst>
      </pc:sldChg>
      <pc:sldChg chg="del">
        <pc:chgData name="Aurelien Domont" userId="6da7715ce44349b3" providerId="LiveId" clId="{8E2F06EB-BABF-4502-A8C6-B9F342B7D723}" dt="2023-11-02T05:10:29.434" v="1452" actId="47"/>
        <pc:sldMkLst>
          <pc:docMk/>
          <pc:sldMk cId="2478486165" sldId="2464"/>
        </pc:sldMkLst>
      </pc:sldChg>
      <pc:sldChg chg="del">
        <pc:chgData name="Aurelien Domont" userId="6da7715ce44349b3" providerId="LiveId" clId="{8E2F06EB-BABF-4502-A8C6-B9F342B7D723}" dt="2023-11-02T05:10:29.434" v="1452" actId="47"/>
        <pc:sldMkLst>
          <pc:docMk/>
          <pc:sldMk cId="3510060666" sldId="2465"/>
        </pc:sldMkLst>
      </pc:sldChg>
      <pc:sldChg chg="del">
        <pc:chgData name="Aurelien Domont" userId="6da7715ce44349b3" providerId="LiveId" clId="{8E2F06EB-BABF-4502-A8C6-B9F342B7D723}" dt="2023-11-02T04:40:31.855" v="1267" actId="47"/>
        <pc:sldMkLst>
          <pc:docMk/>
          <pc:sldMk cId="1736439800" sldId="2494"/>
        </pc:sldMkLst>
      </pc:sldChg>
      <pc:sldChg chg="modSp mod">
        <pc:chgData name="Aurelien Domont" userId="6da7715ce44349b3" providerId="LiveId" clId="{8E2F06EB-BABF-4502-A8C6-B9F342B7D723}" dt="2023-11-02T04:27:53.743" v="651" actId="20577"/>
        <pc:sldMkLst>
          <pc:docMk/>
          <pc:sldMk cId="1254545715" sldId="2558"/>
        </pc:sldMkLst>
        <pc:spChg chg="mod">
          <ac:chgData name="Aurelien Domont" userId="6da7715ce44349b3" providerId="LiveId" clId="{8E2F06EB-BABF-4502-A8C6-B9F342B7D723}" dt="2023-11-02T04:27:53.743" v="651" actId="20577"/>
          <ac:spMkLst>
            <pc:docMk/>
            <pc:sldMk cId="1254545715" sldId="2558"/>
            <ac:spMk id="5" creationId="{6E3A841F-4AA9-EAB6-E496-B82E43DDAFD2}"/>
          </ac:spMkLst>
        </pc:spChg>
      </pc:sldChg>
      <pc:sldChg chg="modSp mod">
        <pc:chgData name="Aurelien Domont" userId="6da7715ce44349b3" providerId="LiveId" clId="{8E2F06EB-BABF-4502-A8C6-B9F342B7D723}" dt="2023-11-02T04:26:53.201" v="391" actId="1038"/>
        <pc:sldMkLst>
          <pc:docMk/>
          <pc:sldMk cId="2485613412" sldId="2570"/>
        </pc:sldMkLst>
        <pc:spChg chg="mod">
          <ac:chgData name="Aurelien Domont" userId="6da7715ce44349b3" providerId="LiveId" clId="{8E2F06EB-BABF-4502-A8C6-B9F342B7D723}" dt="2023-11-02T04:26:53.201" v="391" actId="1038"/>
          <ac:spMkLst>
            <pc:docMk/>
            <pc:sldMk cId="2485613412" sldId="2570"/>
            <ac:spMk id="21" creationId="{CD7FE249-C1D9-B98E-927D-7E2EEF2D5D63}"/>
          </ac:spMkLst>
        </pc:spChg>
        <pc:spChg chg="mod">
          <ac:chgData name="Aurelien Domont" userId="6da7715ce44349b3" providerId="LiveId" clId="{8E2F06EB-BABF-4502-A8C6-B9F342B7D723}" dt="2023-11-02T04:26:53.201" v="391" actId="1038"/>
          <ac:spMkLst>
            <pc:docMk/>
            <pc:sldMk cId="2485613412" sldId="2570"/>
            <ac:spMk id="22" creationId="{6E0B175F-B5DA-73D1-3022-D9A7785C9D95}"/>
          </ac:spMkLst>
        </pc:spChg>
        <pc:spChg chg="mod">
          <ac:chgData name="Aurelien Domont" userId="6da7715ce44349b3" providerId="LiveId" clId="{8E2F06EB-BABF-4502-A8C6-B9F342B7D723}" dt="2023-11-02T04:26:53.201" v="391" actId="1038"/>
          <ac:spMkLst>
            <pc:docMk/>
            <pc:sldMk cId="2485613412" sldId="2570"/>
            <ac:spMk id="23" creationId="{99F86642-F40A-8AE7-7413-C09EE558FE24}"/>
          </ac:spMkLst>
        </pc:spChg>
      </pc:sldChg>
      <pc:sldChg chg="addSp modSp mod">
        <pc:chgData name="Aurelien Domont" userId="6da7715ce44349b3" providerId="LiveId" clId="{8E2F06EB-BABF-4502-A8C6-B9F342B7D723}" dt="2023-11-02T04:17:33.093" v="129" actId="115"/>
        <pc:sldMkLst>
          <pc:docMk/>
          <pc:sldMk cId="4243464569" sldId="2571"/>
        </pc:sldMkLst>
        <pc:spChg chg="mod">
          <ac:chgData name="Aurelien Domont" userId="6da7715ce44349b3" providerId="LiveId" clId="{8E2F06EB-BABF-4502-A8C6-B9F342B7D723}" dt="2023-11-02T04:16:53.363" v="47" actId="948"/>
          <ac:spMkLst>
            <pc:docMk/>
            <pc:sldMk cId="4243464569" sldId="2571"/>
            <ac:spMk id="2" creationId="{1AA45297-01DD-7BAA-BC2B-C1A071177C62}"/>
          </ac:spMkLst>
        </pc:spChg>
        <pc:spChg chg="mod">
          <ac:chgData name="Aurelien Domont" userId="6da7715ce44349b3" providerId="LiveId" clId="{8E2F06EB-BABF-4502-A8C6-B9F342B7D723}" dt="2023-11-02T04:17:24.707" v="109" actId="20577"/>
          <ac:spMkLst>
            <pc:docMk/>
            <pc:sldMk cId="4243464569" sldId="2571"/>
            <ac:spMk id="38" creationId="{F88D30CC-35CB-79B0-4743-ED5C14959670}"/>
          </ac:spMkLst>
        </pc:spChg>
        <pc:spChg chg="mod">
          <ac:chgData name="Aurelien Domont" userId="6da7715ce44349b3" providerId="LiveId" clId="{8E2F06EB-BABF-4502-A8C6-B9F342B7D723}" dt="2023-11-02T04:17:33.093" v="129" actId="115"/>
          <ac:spMkLst>
            <pc:docMk/>
            <pc:sldMk cId="4243464569" sldId="2571"/>
            <ac:spMk id="41" creationId="{267181DE-C649-585D-C559-D0CC6D32E860}"/>
          </ac:spMkLst>
        </pc:spChg>
        <pc:grpChg chg="add mod">
          <ac:chgData name="Aurelien Domont" userId="6da7715ce44349b3" providerId="LiveId" clId="{8E2F06EB-BABF-4502-A8C6-B9F342B7D723}" dt="2023-11-02T04:16:35.302" v="0"/>
          <ac:grpSpMkLst>
            <pc:docMk/>
            <pc:sldMk cId="4243464569" sldId="2571"/>
            <ac:grpSpMk id="36" creationId="{713A58F4-264B-9904-76C0-DD2878F85ECA}"/>
          </ac:grpSpMkLst>
        </pc:grpChg>
        <pc:grpChg chg="add mod">
          <ac:chgData name="Aurelien Domont" userId="6da7715ce44349b3" providerId="LiveId" clId="{8E2F06EB-BABF-4502-A8C6-B9F342B7D723}" dt="2023-11-02T04:16:35.302" v="0"/>
          <ac:grpSpMkLst>
            <pc:docMk/>
            <pc:sldMk cId="4243464569" sldId="2571"/>
            <ac:grpSpMk id="39" creationId="{C5C90F72-B034-4C1A-29D3-53E3A999BB57}"/>
          </ac:grpSpMkLst>
        </pc:grpChg>
        <pc:graphicFrameChg chg="mod">
          <ac:chgData name="Aurelien Domont" userId="6da7715ce44349b3" providerId="LiveId" clId="{8E2F06EB-BABF-4502-A8C6-B9F342B7D723}" dt="2023-11-02T04:16:53.363" v="51"/>
          <ac:graphicFrameMkLst>
            <pc:docMk/>
            <pc:sldMk cId="4243464569" sldId="2571"/>
            <ac:graphicFrameMk id="6" creationId="{CF81000D-C6FE-7066-A8C3-543AC9C1F4A6}"/>
          </ac:graphicFrameMkLst>
        </pc:graphicFrameChg>
        <pc:cxnChg chg="mod">
          <ac:chgData name="Aurelien Domont" userId="6da7715ce44349b3" providerId="LiveId" clId="{8E2F06EB-BABF-4502-A8C6-B9F342B7D723}" dt="2023-11-02T04:16:35.302" v="0"/>
          <ac:cxnSpMkLst>
            <pc:docMk/>
            <pc:sldMk cId="4243464569" sldId="2571"/>
            <ac:cxnSpMk id="37" creationId="{4E8435E0-71E9-5F39-BD5C-0F1F4849C5C0}"/>
          </ac:cxnSpMkLst>
        </pc:cxnChg>
        <pc:cxnChg chg="mod">
          <ac:chgData name="Aurelien Domont" userId="6da7715ce44349b3" providerId="LiveId" clId="{8E2F06EB-BABF-4502-A8C6-B9F342B7D723}" dt="2023-11-02T04:16:35.302" v="0"/>
          <ac:cxnSpMkLst>
            <pc:docMk/>
            <pc:sldMk cId="4243464569" sldId="2571"/>
            <ac:cxnSpMk id="40" creationId="{BF3C38F8-28CD-174F-A4C0-1CAA78E882B5}"/>
          </ac:cxnSpMkLst>
        </pc:cxnChg>
        <pc:cxnChg chg="add mod">
          <ac:chgData name="Aurelien Domont" userId="6da7715ce44349b3" providerId="LiveId" clId="{8E2F06EB-BABF-4502-A8C6-B9F342B7D723}" dt="2023-11-02T04:17:15.609" v="94" actId="14100"/>
          <ac:cxnSpMkLst>
            <pc:docMk/>
            <pc:sldMk cId="4243464569" sldId="2571"/>
            <ac:cxnSpMk id="42" creationId="{55AA4055-5937-EC1E-D286-431B713B592F}"/>
          </ac:cxnSpMkLst>
        </pc:cxnChg>
      </pc:sldChg>
      <pc:sldChg chg="addSp delSp modSp add mod">
        <pc:chgData name="Aurelien Domont" userId="6da7715ce44349b3" providerId="LiveId" clId="{8E2F06EB-BABF-4502-A8C6-B9F342B7D723}" dt="2023-11-02T04:18:01.026" v="159"/>
        <pc:sldMkLst>
          <pc:docMk/>
          <pc:sldMk cId="3094821979" sldId="2572"/>
        </pc:sldMkLst>
        <pc:spChg chg="mod">
          <ac:chgData name="Aurelien Domont" userId="6da7715ce44349b3" providerId="LiveId" clId="{8E2F06EB-BABF-4502-A8C6-B9F342B7D723}" dt="2023-11-02T04:18:00.994" v="133" actId="948"/>
          <ac:spMkLst>
            <pc:docMk/>
            <pc:sldMk cId="3094821979" sldId="2572"/>
            <ac:spMk id="2" creationId="{1AA45297-01DD-7BAA-BC2B-C1A071177C62}"/>
          </ac:spMkLst>
        </pc:spChg>
        <pc:spChg chg="add del mod modVis">
          <ac:chgData name="Aurelien Domont" userId="6da7715ce44349b3" providerId="LiveId" clId="{8E2F06EB-BABF-4502-A8C6-B9F342B7D723}" dt="2023-11-02T04:18:01.026" v="157"/>
          <ac:spMkLst>
            <pc:docMk/>
            <pc:sldMk cId="3094821979" sldId="2572"/>
            <ac:spMk id="5" creationId="{F286F778-96AE-A566-F0A4-01293C2BAE85}"/>
          </ac:spMkLst>
        </pc:spChg>
        <pc:graphicFrameChg chg="mod">
          <ac:chgData name="Aurelien Domont" userId="6da7715ce44349b3" providerId="LiveId" clId="{8E2F06EB-BABF-4502-A8C6-B9F342B7D723}" dt="2023-11-02T04:18:01.026" v="159"/>
          <ac:graphicFrameMkLst>
            <pc:docMk/>
            <pc:sldMk cId="3094821979" sldId="2572"/>
            <ac:graphicFrameMk id="6" creationId="{CF81000D-C6FE-7066-A8C3-543AC9C1F4A6}"/>
          </ac:graphicFrameMkLst>
        </pc:graphicFrameChg>
      </pc:sldChg>
      <pc:sldChg chg="addSp delSp modSp add mod">
        <pc:chgData name="Aurelien Domont" userId="6da7715ce44349b3" providerId="LiveId" clId="{8E2F06EB-BABF-4502-A8C6-B9F342B7D723}" dt="2023-11-02T04:24:40.094" v="375" actId="1037"/>
        <pc:sldMkLst>
          <pc:docMk/>
          <pc:sldMk cId="147547206" sldId="2573"/>
        </pc:sldMkLst>
        <pc:spChg chg="mod">
          <ac:chgData name="Aurelien Domont" userId="6da7715ce44349b3" providerId="LiveId" clId="{8E2F06EB-BABF-4502-A8C6-B9F342B7D723}" dt="2023-11-02T04:18:04.496" v="163" actId="948"/>
          <ac:spMkLst>
            <pc:docMk/>
            <pc:sldMk cId="147547206" sldId="2573"/>
            <ac:spMk id="2" creationId="{1AA45297-01DD-7BAA-BC2B-C1A071177C62}"/>
          </ac:spMkLst>
        </pc:spChg>
        <pc:spChg chg="add del mod modVis">
          <ac:chgData name="Aurelien Domont" userId="6da7715ce44349b3" providerId="LiveId" clId="{8E2F06EB-BABF-4502-A8C6-B9F342B7D723}" dt="2023-11-02T04:18:04.527" v="187"/>
          <ac:spMkLst>
            <pc:docMk/>
            <pc:sldMk cId="147547206" sldId="2573"/>
            <ac:spMk id="5" creationId="{F523BC2D-1E66-399E-4C3B-03034275EB0D}"/>
          </ac:spMkLst>
        </pc:spChg>
        <pc:spChg chg="add mod">
          <ac:chgData name="Aurelien Domont" userId="6da7715ce44349b3" providerId="LiveId" clId="{8E2F06EB-BABF-4502-A8C6-B9F342B7D723}" dt="2023-11-02T04:24:03.458" v="329" actId="571"/>
          <ac:spMkLst>
            <pc:docMk/>
            <pc:sldMk cId="147547206" sldId="2573"/>
            <ac:spMk id="7" creationId="{593E66B0-EA68-A483-EFF6-D5F86E78E52E}"/>
          </ac:spMkLst>
        </pc:spChg>
        <pc:spChg chg="add mod">
          <ac:chgData name="Aurelien Domont" userId="6da7715ce44349b3" providerId="LiveId" clId="{8E2F06EB-BABF-4502-A8C6-B9F342B7D723}" dt="2023-11-02T04:24:32.222" v="371" actId="14100"/>
          <ac:spMkLst>
            <pc:docMk/>
            <pc:sldMk cId="147547206" sldId="2573"/>
            <ac:spMk id="8" creationId="{CCD16F4E-63E6-D930-604F-1E4C51BB12AB}"/>
          </ac:spMkLst>
        </pc:spChg>
        <pc:spChg chg="add mod">
          <ac:chgData name="Aurelien Domont" userId="6da7715ce44349b3" providerId="LiveId" clId="{8E2F06EB-BABF-4502-A8C6-B9F342B7D723}" dt="2023-11-02T04:24:40.094" v="375" actId="1037"/>
          <ac:spMkLst>
            <pc:docMk/>
            <pc:sldMk cId="147547206" sldId="2573"/>
            <ac:spMk id="9" creationId="{28AB55B2-F289-4072-DD32-81F98DDE00A6}"/>
          </ac:spMkLst>
        </pc:spChg>
        <pc:spChg chg="mod">
          <ac:chgData name="Aurelien Domont" userId="6da7715ce44349b3" providerId="LiveId" clId="{8E2F06EB-BABF-4502-A8C6-B9F342B7D723}" dt="2023-11-02T04:24:03.458" v="329" actId="571"/>
          <ac:spMkLst>
            <pc:docMk/>
            <pc:sldMk cId="147547206" sldId="2573"/>
            <ac:spMk id="38" creationId="{F88D30CC-35CB-79B0-4743-ED5C14959670}"/>
          </ac:spMkLst>
        </pc:spChg>
        <pc:grpChg chg="mod">
          <ac:chgData name="Aurelien Domont" userId="6da7715ce44349b3" providerId="LiveId" clId="{8E2F06EB-BABF-4502-A8C6-B9F342B7D723}" dt="2023-11-02T04:24:03.458" v="329" actId="571"/>
          <ac:grpSpMkLst>
            <pc:docMk/>
            <pc:sldMk cId="147547206" sldId="2573"/>
            <ac:grpSpMk id="36" creationId="{713A58F4-264B-9904-76C0-DD2878F85ECA}"/>
          </ac:grpSpMkLst>
        </pc:grpChg>
        <pc:graphicFrameChg chg="mod">
          <ac:chgData name="Aurelien Domont" userId="6da7715ce44349b3" providerId="LiveId" clId="{8E2F06EB-BABF-4502-A8C6-B9F342B7D723}" dt="2023-11-02T04:18:04.527" v="189"/>
          <ac:graphicFrameMkLst>
            <pc:docMk/>
            <pc:sldMk cId="147547206" sldId="2573"/>
            <ac:graphicFrameMk id="6" creationId="{CF81000D-C6FE-7066-A8C3-543AC9C1F4A6}"/>
          </ac:graphicFrameMkLst>
        </pc:graphicFrameChg>
        <pc:cxnChg chg="mod">
          <ac:chgData name="Aurelien Domont" userId="6da7715ce44349b3" providerId="LiveId" clId="{8E2F06EB-BABF-4502-A8C6-B9F342B7D723}" dt="2023-11-02T04:24:03.458" v="329" actId="571"/>
          <ac:cxnSpMkLst>
            <pc:docMk/>
            <pc:sldMk cId="147547206" sldId="2573"/>
            <ac:cxnSpMk id="37" creationId="{4E8435E0-71E9-5F39-BD5C-0F1F4849C5C0}"/>
          </ac:cxnSpMkLst>
        </pc:cxnChg>
      </pc:sldChg>
      <pc:sldChg chg="modSp add mod">
        <pc:chgData name="Aurelien Domont" userId="6da7715ce44349b3" providerId="LiveId" clId="{8E2F06EB-BABF-4502-A8C6-B9F342B7D723}" dt="2023-11-02T04:45:51.758" v="1323" actId="20577"/>
        <pc:sldMkLst>
          <pc:docMk/>
          <pc:sldMk cId="585608467" sldId="2574"/>
        </pc:sldMkLst>
        <pc:spChg chg="mod">
          <ac:chgData name="Aurelien Domont" userId="6da7715ce44349b3" providerId="LiveId" clId="{8E2F06EB-BABF-4502-A8C6-B9F342B7D723}" dt="2023-11-02T04:20:04.062" v="208"/>
          <ac:spMkLst>
            <pc:docMk/>
            <pc:sldMk cId="585608467" sldId="2574"/>
            <ac:spMk id="11" creationId="{68A4196C-3265-C4BB-25FF-197F4FD03D5B}"/>
          </ac:spMkLst>
        </pc:spChg>
        <pc:spChg chg="mod">
          <ac:chgData name="Aurelien Domont" userId="6da7715ce44349b3" providerId="LiveId" clId="{8E2F06EB-BABF-4502-A8C6-B9F342B7D723}" dt="2023-11-02T04:20:10.642" v="209"/>
          <ac:spMkLst>
            <pc:docMk/>
            <pc:sldMk cId="585608467" sldId="2574"/>
            <ac:spMk id="12" creationId="{AB219A67-800A-0D36-804E-9D6EFAF191B5}"/>
          </ac:spMkLst>
        </pc:spChg>
        <pc:spChg chg="mod">
          <ac:chgData name="Aurelien Domont" userId="6da7715ce44349b3" providerId="LiveId" clId="{8E2F06EB-BABF-4502-A8C6-B9F342B7D723}" dt="2023-11-02T04:22:56.360" v="306"/>
          <ac:spMkLst>
            <pc:docMk/>
            <pc:sldMk cId="585608467" sldId="2574"/>
            <ac:spMk id="13" creationId="{18B8B2D7-D17C-7761-D385-C6B59F3B469F}"/>
          </ac:spMkLst>
        </pc:spChg>
        <pc:spChg chg="mod">
          <ac:chgData name="Aurelien Domont" userId="6da7715ce44349b3" providerId="LiveId" clId="{8E2F06EB-BABF-4502-A8C6-B9F342B7D723}" dt="2023-11-02T04:26:47.613" v="386" actId="1038"/>
          <ac:spMkLst>
            <pc:docMk/>
            <pc:sldMk cId="585608467" sldId="2574"/>
            <ac:spMk id="21" creationId="{CD7FE249-C1D9-B98E-927D-7E2EEF2D5D63}"/>
          </ac:spMkLst>
        </pc:spChg>
        <pc:spChg chg="mod">
          <ac:chgData name="Aurelien Domont" userId="6da7715ce44349b3" providerId="LiveId" clId="{8E2F06EB-BABF-4502-A8C6-B9F342B7D723}" dt="2023-11-02T04:26:47.613" v="386" actId="1038"/>
          <ac:spMkLst>
            <pc:docMk/>
            <pc:sldMk cId="585608467" sldId="2574"/>
            <ac:spMk id="22" creationId="{6E0B175F-B5DA-73D1-3022-D9A7785C9D95}"/>
          </ac:spMkLst>
        </pc:spChg>
        <pc:spChg chg="mod">
          <ac:chgData name="Aurelien Domont" userId="6da7715ce44349b3" providerId="LiveId" clId="{8E2F06EB-BABF-4502-A8C6-B9F342B7D723}" dt="2023-11-02T04:26:47.613" v="386" actId="1038"/>
          <ac:spMkLst>
            <pc:docMk/>
            <pc:sldMk cId="585608467" sldId="2574"/>
            <ac:spMk id="23" creationId="{99F86642-F40A-8AE7-7413-C09EE558FE24}"/>
          </ac:spMkLst>
        </pc:spChg>
        <pc:spChg chg="mod">
          <ac:chgData name="Aurelien Domont" userId="6da7715ce44349b3" providerId="LiveId" clId="{8E2F06EB-BABF-4502-A8C6-B9F342B7D723}" dt="2023-11-02T04:45:51.758" v="1323" actId="20577"/>
          <ac:spMkLst>
            <pc:docMk/>
            <pc:sldMk cId="585608467" sldId="2574"/>
            <ac:spMk id="25" creationId="{3FC112ED-67F2-A835-E5E8-34BE1FE8E8A3}"/>
          </ac:spMkLst>
        </pc:spChg>
      </pc:sldChg>
      <pc:sldChg chg="addSp delSp modSp add mod">
        <pc:chgData name="Aurelien Domont" userId="6da7715ce44349b3" providerId="LiveId" clId="{8E2F06EB-BABF-4502-A8C6-B9F342B7D723}" dt="2023-11-02T04:32:39.737" v="757"/>
        <pc:sldMkLst>
          <pc:docMk/>
          <pc:sldMk cId="1245856470" sldId="2575"/>
        </pc:sldMkLst>
        <pc:spChg chg="mod">
          <ac:chgData name="Aurelien Domont" userId="6da7715ce44349b3" providerId="LiveId" clId="{8E2F06EB-BABF-4502-A8C6-B9F342B7D723}" dt="2023-11-02T04:27:36.455" v="613" actId="948"/>
          <ac:spMkLst>
            <pc:docMk/>
            <pc:sldMk cId="1245856470" sldId="2575"/>
            <ac:spMk id="2" creationId="{1AA45297-01DD-7BAA-BC2B-C1A071177C62}"/>
          </ac:spMkLst>
        </pc:spChg>
        <pc:spChg chg="add del mod modVis">
          <ac:chgData name="Aurelien Domont" userId="6da7715ce44349b3" providerId="LiveId" clId="{8E2F06EB-BABF-4502-A8C6-B9F342B7D723}" dt="2023-11-02T04:27:21.363" v="423"/>
          <ac:spMkLst>
            <pc:docMk/>
            <pc:sldMk cId="1245856470" sldId="2575"/>
            <ac:spMk id="5" creationId="{040B1A90-9354-407C-71FB-BA0FEB1982FD}"/>
          </ac:spMkLst>
        </pc:spChg>
        <pc:spChg chg="add del mod modVis">
          <ac:chgData name="Aurelien Domont" userId="6da7715ce44349b3" providerId="LiveId" clId="{8E2F06EB-BABF-4502-A8C6-B9F342B7D723}" dt="2023-11-02T04:27:22.164" v="455"/>
          <ac:spMkLst>
            <pc:docMk/>
            <pc:sldMk cId="1245856470" sldId="2575"/>
            <ac:spMk id="8" creationId="{66DAB562-34D7-B3D9-CAAF-404258D3BCC2}"/>
          </ac:spMkLst>
        </pc:spChg>
        <pc:spChg chg="add del mod modVis">
          <ac:chgData name="Aurelien Domont" userId="6da7715ce44349b3" providerId="LiveId" clId="{8E2F06EB-BABF-4502-A8C6-B9F342B7D723}" dt="2023-11-02T04:27:30.628" v="528"/>
          <ac:spMkLst>
            <pc:docMk/>
            <pc:sldMk cId="1245856470" sldId="2575"/>
            <ac:spMk id="10" creationId="{C9958ED4-9728-364E-C458-42D2AD2C7F01}"/>
          </ac:spMkLst>
        </pc:spChg>
        <pc:spChg chg="add del mod modVis">
          <ac:chgData name="Aurelien Domont" userId="6da7715ce44349b3" providerId="LiveId" clId="{8E2F06EB-BABF-4502-A8C6-B9F342B7D723}" dt="2023-11-02T04:27:31.725" v="561"/>
          <ac:spMkLst>
            <pc:docMk/>
            <pc:sldMk cId="1245856470" sldId="2575"/>
            <ac:spMk id="14" creationId="{5D625282-4629-A28D-DAC9-38DD8263A962}"/>
          </ac:spMkLst>
        </pc:spChg>
        <pc:spChg chg="add del mod modVis">
          <ac:chgData name="Aurelien Domont" userId="6da7715ce44349b3" providerId="LiveId" clId="{8E2F06EB-BABF-4502-A8C6-B9F342B7D723}" dt="2023-11-02T04:27:32.510" v="589"/>
          <ac:spMkLst>
            <pc:docMk/>
            <pc:sldMk cId="1245856470" sldId="2575"/>
            <ac:spMk id="15" creationId="{DB2F64C5-1D6B-7061-5916-5741ECB52116}"/>
          </ac:spMkLst>
        </pc:spChg>
        <pc:spChg chg="add del mod modVis">
          <ac:chgData name="Aurelien Domont" userId="6da7715ce44349b3" providerId="LiveId" clId="{8E2F06EB-BABF-4502-A8C6-B9F342B7D723}" dt="2023-11-02T04:27:36.486" v="637"/>
          <ac:spMkLst>
            <pc:docMk/>
            <pc:sldMk cId="1245856470" sldId="2575"/>
            <ac:spMk id="16" creationId="{F8692070-88C4-98EC-9FD9-816843222BB9}"/>
          </ac:spMkLst>
        </pc:spChg>
        <pc:spChg chg="mod">
          <ac:chgData name="Aurelien Domont" userId="6da7715ce44349b3" providerId="LiveId" clId="{8E2F06EB-BABF-4502-A8C6-B9F342B7D723}" dt="2023-11-02T04:32:35.372" v="755"/>
          <ac:spMkLst>
            <pc:docMk/>
            <pc:sldMk cId="1245856470" sldId="2575"/>
            <ac:spMk id="21" creationId="{CD7FE249-C1D9-B98E-927D-7E2EEF2D5D63}"/>
          </ac:spMkLst>
        </pc:spChg>
        <pc:spChg chg="mod">
          <ac:chgData name="Aurelien Domont" userId="6da7715ce44349b3" providerId="LiveId" clId="{8E2F06EB-BABF-4502-A8C6-B9F342B7D723}" dt="2023-11-02T04:32:38.262" v="756"/>
          <ac:spMkLst>
            <pc:docMk/>
            <pc:sldMk cId="1245856470" sldId="2575"/>
            <ac:spMk id="22" creationId="{6E0B175F-B5DA-73D1-3022-D9A7785C9D95}"/>
          </ac:spMkLst>
        </pc:spChg>
        <pc:spChg chg="mod">
          <ac:chgData name="Aurelien Domont" userId="6da7715ce44349b3" providerId="LiveId" clId="{8E2F06EB-BABF-4502-A8C6-B9F342B7D723}" dt="2023-11-02T04:32:39.737" v="757"/>
          <ac:spMkLst>
            <pc:docMk/>
            <pc:sldMk cId="1245856470" sldId="2575"/>
            <ac:spMk id="23" creationId="{99F86642-F40A-8AE7-7413-C09EE558FE24}"/>
          </ac:spMkLst>
        </pc:spChg>
        <pc:spChg chg="mod">
          <ac:chgData name="Aurelien Domont" userId="6da7715ce44349b3" providerId="LiveId" clId="{8E2F06EB-BABF-4502-A8C6-B9F342B7D723}" dt="2023-11-02T04:29:22.768" v="735" actId="20577"/>
          <ac:spMkLst>
            <pc:docMk/>
            <pc:sldMk cId="1245856470" sldId="2575"/>
            <ac:spMk id="25" creationId="{3FC112ED-67F2-A835-E5E8-34BE1FE8E8A3}"/>
          </ac:spMkLst>
        </pc:spChg>
        <pc:graphicFrameChg chg="mod">
          <ac:chgData name="Aurelien Domont" userId="6da7715ce44349b3" providerId="LiveId" clId="{8E2F06EB-BABF-4502-A8C6-B9F342B7D723}" dt="2023-11-02T04:27:36.486" v="639"/>
          <ac:graphicFrameMkLst>
            <pc:docMk/>
            <pc:sldMk cId="1245856470" sldId="2575"/>
            <ac:graphicFrameMk id="6" creationId="{CF81000D-C6FE-7066-A8C3-543AC9C1F4A6}"/>
          </ac:graphicFrameMkLst>
        </pc:graphicFrameChg>
      </pc:sldChg>
      <pc:sldChg chg="addSp delSp modSp add mod">
        <pc:chgData name="Aurelien Domont" userId="6da7715ce44349b3" providerId="LiveId" clId="{8E2F06EB-BABF-4502-A8C6-B9F342B7D723}" dt="2023-11-02T04:33:20.756" v="765"/>
        <pc:sldMkLst>
          <pc:docMk/>
          <pc:sldMk cId="311538208" sldId="2576"/>
        </pc:sldMkLst>
        <pc:spChg chg="add mod">
          <ac:chgData name="Aurelien Domont" userId="6da7715ce44349b3" providerId="LiveId" clId="{8E2F06EB-BABF-4502-A8C6-B9F342B7D723}" dt="2023-11-02T04:33:06.584" v="762"/>
          <ac:spMkLst>
            <pc:docMk/>
            <pc:sldMk cId="311538208" sldId="2576"/>
            <ac:spMk id="5" creationId="{A072F3C9-C766-CA1F-B48D-93699CBF0C38}"/>
          </ac:spMkLst>
        </pc:spChg>
        <pc:spChg chg="add mod">
          <ac:chgData name="Aurelien Domont" userId="6da7715ce44349b3" providerId="LiveId" clId="{8E2F06EB-BABF-4502-A8C6-B9F342B7D723}" dt="2023-11-02T04:33:06.584" v="762"/>
          <ac:spMkLst>
            <pc:docMk/>
            <pc:sldMk cId="311538208" sldId="2576"/>
            <ac:spMk id="8" creationId="{DC5F87C3-954B-AAFC-3B18-BD851AB94A00}"/>
          </ac:spMkLst>
        </pc:spChg>
        <pc:spChg chg="add mod">
          <ac:chgData name="Aurelien Domont" userId="6da7715ce44349b3" providerId="LiveId" clId="{8E2F06EB-BABF-4502-A8C6-B9F342B7D723}" dt="2023-11-02T04:33:06.584" v="762"/>
          <ac:spMkLst>
            <pc:docMk/>
            <pc:sldMk cId="311538208" sldId="2576"/>
            <ac:spMk id="10" creationId="{F2784644-811C-134C-284C-0E409EFD40B9}"/>
          </ac:spMkLst>
        </pc:spChg>
        <pc:spChg chg="del">
          <ac:chgData name="Aurelien Domont" userId="6da7715ce44349b3" providerId="LiveId" clId="{8E2F06EB-BABF-4502-A8C6-B9F342B7D723}" dt="2023-11-02T04:32:51.309" v="761" actId="478"/>
          <ac:spMkLst>
            <pc:docMk/>
            <pc:sldMk cId="311538208" sldId="2576"/>
            <ac:spMk id="11" creationId="{68A4196C-3265-C4BB-25FF-197F4FD03D5B}"/>
          </ac:spMkLst>
        </pc:spChg>
        <pc:spChg chg="del">
          <ac:chgData name="Aurelien Domont" userId="6da7715ce44349b3" providerId="LiveId" clId="{8E2F06EB-BABF-4502-A8C6-B9F342B7D723}" dt="2023-11-02T04:32:51.309" v="761" actId="478"/>
          <ac:spMkLst>
            <pc:docMk/>
            <pc:sldMk cId="311538208" sldId="2576"/>
            <ac:spMk id="12" creationId="{AB219A67-800A-0D36-804E-9D6EFAF191B5}"/>
          </ac:spMkLst>
        </pc:spChg>
        <pc:spChg chg="del">
          <ac:chgData name="Aurelien Domont" userId="6da7715ce44349b3" providerId="LiveId" clId="{8E2F06EB-BABF-4502-A8C6-B9F342B7D723}" dt="2023-11-02T04:32:51.309" v="761" actId="478"/>
          <ac:spMkLst>
            <pc:docMk/>
            <pc:sldMk cId="311538208" sldId="2576"/>
            <ac:spMk id="13" creationId="{18B8B2D7-D17C-7761-D385-C6B59F3B469F}"/>
          </ac:spMkLst>
        </pc:spChg>
        <pc:spChg chg="add mod">
          <ac:chgData name="Aurelien Domont" userId="6da7715ce44349b3" providerId="LiveId" clId="{8E2F06EB-BABF-4502-A8C6-B9F342B7D723}" dt="2023-11-02T04:33:16.109" v="763"/>
          <ac:spMkLst>
            <pc:docMk/>
            <pc:sldMk cId="311538208" sldId="2576"/>
            <ac:spMk id="16" creationId="{1B914D9B-5CF6-DAEE-1C62-E4718F0968CD}"/>
          </ac:spMkLst>
        </pc:spChg>
        <pc:spChg chg="add mod">
          <ac:chgData name="Aurelien Domont" userId="6da7715ce44349b3" providerId="LiveId" clId="{8E2F06EB-BABF-4502-A8C6-B9F342B7D723}" dt="2023-11-02T04:33:19.283" v="764"/>
          <ac:spMkLst>
            <pc:docMk/>
            <pc:sldMk cId="311538208" sldId="2576"/>
            <ac:spMk id="17" creationId="{23DDC05F-B33F-2ABA-2A7D-F5E2387FCD2E}"/>
          </ac:spMkLst>
        </pc:spChg>
        <pc:spChg chg="add mod">
          <ac:chgData name="Aurelien Domont" userId="6da7715ce44349b3" providerId="LiveId" clId="{8E2F06EB-BABF-4502-A8C6-B9F342B7D723}" dt="2023-11-02T04:33:20.756" v="765"/>
          <ac:spMkLst>
            <pc:docMk/>
            <pc:sldMk cId="311538208" sldId="2576"/>
            <ac:spMk id="18" creationId="{FC26B396-8903-6592-38B3-AAA2217E2EF0}"/>
          </ac:spMkLst>
        </pc:spChg>
        <pc:spChg chg="del">
          <ac:chgData name="Aurelien Domont" userId="6da7715ce44349b3" providerId="LiveId" clId="{8E2F06EB-BABF-4502-A8C6-B9F342B7D723}" dt="2023-11-02T04:32:51.309" v="761" actId="478"/>
          <ac:spMkLst>
            <pc:docMk/>
            <pc:sldMk cId="311538208" sldId="2576"/>
            <ac:spMk id="21" creationId="{CD7FE249-C1D9-B98E-927D-7E2EEF2D5D63}"/>
          </ac:spMkLst>
        </pc:spChg>
        <pc:spChg chg="del">
          <ac:chgData name="Aurelien Domont" userId="6da7715ce44349b3" providerId="LiveId" clId="{8E2F06EB-BABF-4502-A8C6-B9F342B7D723}" dt="2023-11-02T04:32:51.309" v="761" actId="478"/>
          <ac:spMkLst>
            <pc:docMk/>
            <pc:sldMk cId="311538208" sldId="2576"/>
            <ac:spMk id="22" creationId="{6E0B175F-B5DA-73D1-3022-D9A7785C9D95}"/>
          </ac:spMkLst>
        </pc:spChg>
        <pc:spChg chg="del">
          <ac:chgData name="Aurelien Domont" userId="6da7715ce44349b3" providerId="LiveId" clId="{8E2F06EB-BABF-4502-A8C6-B9F342B7D723}" dt="2023-11-02T04:32:51.309" v="761" actId="478"/>
          <ac:spMkLst>
            <pc:docMk/>
            <pc:sldMk cId="311538208" sldId="2576"/>
            <ac:spMk id="23" creationId="{99F86642-F40A-8AE7-7413-C09EE558FE24}"/>
          </ac:spMkLst>
        </pc:spChg>
        <pc:spChg chg="del">
          <ac:chgData name="Aurelien Domont" userId="6da7715ce44349b3" providerId="LiveId" clId="{8E2F06EB-BABF-4502-A8C6-B9F342B7D723}" dt="2023-11-02T04:32:51.309" v="761" actId="478"/>
          <ac:spMkLst>
            <pc:docMk/>
            <pc:sldMk cId="311538208" sldId="2576"/>
            <ac:spMk id="24" creationId="{13924987-6EBC-4A84-05F1-DA538C58714C}"/>
          </ac:spMkLst>
        </pc:spChg>
        <pc:spChg chg="mod">
          <ac:chgData name="Aurelien Domont" userId="6da7715ce44349b3" providerId="LiveId" clId="{8E2F06EB-BABF-4502-A8C6-B9F342B7D723}" dt="2023-11-02T04:32:48.248" v="760" actId="20577"/>
          <ac:spMkLst>
            <pc:docMk/>
            <pc:sldMk cId="311538208" sldId="2576"/>
            <ac:spMk id="25" creationId="{3FC112ED-67F2-A835-E5E8-34BE1FE8E8A3}"/>
          </ac:spMkLst>
        </pc:spChg>
        <pc:spChg chg="del">
          <ac:chgData name="Aurelien Domont" userId="6da7715ce44349b3" providerId="LiveId" clId="{8E2F06EB-BABF-4502-A8C6-B9F342B7D723}" dt="2023-11-02T04:32:51.309" v="761" actId="478"/>
          <ac:spMkLst>
            <pc:docMk/>
            <pc:sldMk cId="311538208" sldId="2576"/>
            <ac:spMk id="26" creationId="{4146FA64-D594-47E0-2D7D-D3B3699569AA}"/>
          </ac:spMkLst>
        </pc:spChg>
        <pc:spChg chg="del">
          <ac:chgData name="Aurelien Domont" userId="6da7715ce44349b3" providerId="LiveId" clId="{8E2F06EB-BABF-4502-A8C6-B9F342B7D723}" dt="2023-11-02T04:32:51.309" v="761" actId="478"/>
          <ac:spMkLst>
            <pc:docMk/>
            <pc:sldMk cId="311538208" sldId="2576"/>
            <ac:spMk id="27" creationId="{47303E7F-6FB5-9C08-2425-11D892308459}"/>
          </ac:spMkLst>
        </pc:spChg>
        <pc:cxnChg chg="del">
          <ac:chgData name="Aurelien Domont" userId="6da7715ce44349b3" providerId="LiveId" clId="{8E2F06EB-BABF-4502-A8C6-B9F342B7D723}" dt="2023-11-02T04:32:51.309" v="761" actId="478"/>
          <ac:cxnSpMkLst>
            <pc:docMk/>
            <pc:sldMk cId="311538208" sldId="2576"/>
            <ac:cxnSpMk id="7" creationId="{285ACAF9-9B78-3C64-C206-DA5EC75DCFF9}"/>
          </ac:cxnSpMkLst>
        </pc:cxnChg>
        <pc:cxnChg chg="del">
          <ac:chgData name="Aurelien Domont" userId="6da7715ce44349b3" providerId="LiveId" clId="{8E2F06EB-BABF-4502-A8C6-B9F342B7D723}" dt="2023-11-02T04:32:51.309" v="761" actId="478"/>
          <ac:cxnSpMkLst>
            <pc:docMk/>
            <pc:sldMk cId="311538208" sldId="2576"/>
            <ac:cxnSpMk id="9" creationId="{680FD101-3E41-8822-D905-95F389AD4C15}"/>
          </ac:cxnSpMkLst>
        </pc:cxnChg>
        <pc:cxnChg chg="add mod">
          <ac:chgData name="Aurelien Domont" userId="6da7715ce44349b3" providerId="LiveId" clId="{8E2F06EB-BABF-4502-A8C6-B9F342B7D723}" dt="2023-11-02T04:33:06.584" v="762"/>
          <ac:cxnSpMkLst>
            <pc:docMk/>
            <pc:sldMk cId="311538208" sldId="2576"/>
            <ac:cxnSpMk id="14" creationId="{7EBA589C-06E7-5F1D-3BF8-06EDB2BBEB50}"/>
          </ac:cxnSpMkLst>
        </pc:cxnChg>
        <pc:cxnChg chg="add mod">
          <ac:chgData name="Aurelien Domont" userId="6da7715ce44349b3" providerId="LiveId" clId="{8E2F06EB-BABF-4502-A8C6-B9F342B7D723}" dt="2023-11-02T04:33:06.584" v="762"/>
          <ac:cxnSpMkLst>
            <pc:docMk/>
            <pc:sldMk cId="311538208" sldId="2576"/>
            <ac:cxnSpMk id="15" creationId="{D96CED47-2E3E-43DB-1DD4-70C0AC1B3B72}"/>
          </ac:cxnSpMkLst>
        </pc:cxnChg>
      </pc:sldChg>
      <pc:sldChg chg="addSp delSp modSp new add mod">
        <pc:chgData name="Aurelien Domont" userId="6da7715ce44349b3" providerId="LiveId" clId="{8E2F06EB-BABF-4502-A8C6-B9F342B7D723}" dt="2023-11-02T04:39:55.387" v="1264" actId="1076"/>
        <pc:sldMkLst>
          <pc:docMk/>
          <pc:sldMk cId="3661748107" sldId="2577"/>
        </pc:sldMkLst>
        <pc:spChg chg="mod">
          <ac:chgData name="Aurelien Domont" userId="6da7715ce44349b3" providerId="LiveId" clId="{8E2F06EB-BABF-4502-A8C6-B9F342B7D723}" dt="2023-11-02T04:35:31.824" v="1177" actId="948"/>
          <ac:spMkLst>
            <pc:docMk/>
            <pc:sldMk cId="3661748107" sldId="2577"/>
            <ac:spMk id="2" creationId="{D4010982-56FB-DBE9-0138-D5B005894AEE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5" creationId="{DF659F87-0912-783D-C2F0-1BFD638195FD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6" creationId="{EFA86F9C-4A9B-F847-B50D-6980E694E191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7" creationId="{8CE785FF-F67E-7DCC-EF5E-8154E5D1F719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8" creationId="{EAE69265-D93B-3B44-1D0C-E44C6999D03F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9" creationId="{D0607CBD-1118-674E-03BC-E3B2133C5266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10" creationId="{6A928FF1-F395-8032-A6B5-D798DE898F8C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11" creationId="{99CCE302-AF2F-5035-1CC3-4ADA910699BD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12" creationId="{B1F35A6B-AFF6-EB99-D114-635904C8337B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13" creationId="{9F992378-4C57-3DBF-0069-CA19B1CF0E54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14" creationId="{C6397B74-F3BC-E512-A771-01D51FE6B519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18" creationId="{4CFAB4EE-8021-1BF9-38D2-655A4B17A9A3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19" creationId="{B7CEAB28-FDAC-53E5-221D-E77F13C51F0B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20" creationId="{384F7607-BEA1-069F-5AE7-37F6592F4A10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21" creationId="{304121F5-357E-0EB7-A685-D937EC0AE081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22" creationId="{193C083C-6822-2E45-0072-283950443B4F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23" creationId="{6662A40E-694B-0E20-7A2B-6AB0CBECD64D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24" creationId="{E1BA2B0F-615B-6140-B9D8-7973E13E6E61}"/>
          </ac:spMkLst>
        </pc:spChg>
        <pc:spChg chg="add del mod">
          <ac:chgData name="Aurelien Domont" userId="6da7715ce44349b3" providerId="LiveId" clId="{8E2F06EB-BABF-4502-A8C6-B9F342B7D723}" dt="2023-11-02T04:38:30.865" v="1236" actId="478"/>
          <ac:spMkLst>
            <pc:docMk/>
            <pc:sldMk cId="3661748107" sldId="2577"/>
            <ac:spMk id="25" creationId="{444035B8-637D-0E21-3293-D82659BEBAF1}"/>
          </ac:spMkLst>
        </pc:spChg>
        <pc:spChg chg="add del mod">
          <ac:chgData name="Aurelien Domont" userId="6da7715ce44349b3" providerId="LiveId" clId="{8E2F06EB-BABF-4502-A8C6-B9F342B7D723}" dt="2023-11-02T04:38:35.385" v="1238" actId="478"/>
          <ac:spMkLst>
            <pc:docMk/>
            <pc:sldMk cId="3661748107" sldId="2577"/>
            <ac:spMk id="26" creationId="{EF52D965-9CA4-F14C-EDAE-B78266C917A9}"/>
          </ac:spMkLst>
        </pc:spChg>
        <pc:spChg chg="add del mod">
          <ac:chgData name="Aurelien Domont" userId="6da7715ce44349b3" providerId="LiveId" clId="{8E2F06EB-BABF-4502-A8C6-B9F342B7D723}" dt="2023-11-02T04:38:31.963" v="1237" actId="478"/>
          <ac:spMkLst>
            <pc:docMk/>
            <pc:sldMk cId="3661748107" sldId="2577"/>
            <ac:spMk id="27" creationId="{89B62AFD-F4C6-1AC0-AF33-5CD2C5EDDCB6}"/>
          </ac:spMkLst>
        </pc:spChg>
        <pc:spChg chg="add del mod">
          <ac:chgData name="Aurelien Domont" userId="6da7715ce44349b3" providerId="LiveId" clId="{8E2F06EB-BABF-4502-A8C6-B9F342B7D723}" dt="2023-11-02T04:38:37.268" v="1239" actId="478"/>
          <ac:spMkLst>
            <pc:docMk/>
            <pc:sldMk cId="3661748107" sldId="2577"/>
            <ac:spMk id="28" creationId="{297D1C7F-45C8-0836-9708-492C046E26D6}"/>
          </ac:spMkLst>
        </pc:spChg>
        <pc:spChg chg="add del mod">
          <ac:chgData name="Aurelien Domont" userId="6da7715ce44349b3" providerId="LiveId" clId="{8E2F06EB-BABF-4502-A8C6-B9F342B7D723}" dt="2023-11-02T04:38:37.268" v="1239" actId="478"/>
          <ac:spMkLst>
            <pc:docMk/>
            <pc:sldMk cId="3661748107" sldId="2577"/>
            <ac:spMk id="29" creationId="{FD81FC7C-09C6-D546-CFBE-E970F6FF1E2B}"/>
          </ac:spMkLst>
        </pc:spChg>
        <pc:spChg chg="add del mod">
          <ac:chgData name="Aurelien Domont" userId="6da7715ce44349b3" providerId="LiveId" clId="{8E2F06EB-BABF-4502-A8C6-B9F342B7D723}" dt="2023-11-02T04:38:35.385" v="1238" actId="478"/>
          <ac:spMkLst>
            <pc:docMk/>
            <pc:sldMk cId="3661748107" sldId="2577"/>
            <ac:spMk id="30" creationId="{6D4A5D18-30B4-7A21-A6DE-1F2080A4CB12}"/>
          </ac:spMkLst>
        </pc:spChg>
        <pc:spChg chg="add del mod">
          <ac:chgData name="Aurelien Domont" userId="6da7715ce44349b3" providerId="LiveId" clId="{8E2F06EB-BABF-4502-A8C6-B9F342B7D723}" dt="2023-11-02T04:38:35.385" v="1238" actId="478"/>
          <ac:spMkLst>
            <pc:docMk/>
            <pc:sldMk cId="3661748107" sldId="2577"/>
            <ac:spMk id="31" creationId="{F27EF270-2128-A352-26DF-4F2154199FB6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32" creationId="{1D419B33-E8B8-1E25-86AE-245EE42671A8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33" creationId="{D36C2EA9-7345-D09F-99A8-00B1857CF5BF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34" creationId="{A1A6A78D-44D0-FDC4-0EFE-764775E8E94D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35" creationId="{585B4A92-62E4-E317-BB0B-D77E81D85515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36" creationId="{BA42FAE8-B2C6-1359-DF2A-6D056AE3F5E5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37" creationId="{149AC798-87F8-BBE5-BADB-541EB80F8375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38" creationId="{2546C2E7-10C3-5599-C479-20F4BC62C248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39" creationId="{0F20BEE0-0881-5457-8ECE-854FEE45C8A1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40" creationId="{08BF6A66-0F98-CA9F-2038-EB185FF13872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41" creationId="{12F31216-16D6-1042-F6E1-E83E14EB05DD}"/>
          </ac:spMkLst>
        </pc:spChg>
        <pc:spChg chg="add mod">
          <ac:chgData name="Aurelien Domont" userId="6da7715ce44349b3" providerId="LiveId" clId="{8E2F06EB-BABF-4502-A8C6-B9F342B7D723}" dt="2023-11-02T04:34:50.191" v="768"/>
          <ac:spMkLst>
            <pc:docMk/>
            <pc:sldMk cId="3661748107" sldId="2577"/>
            <ac:spMk id="42" creationId="{ED4C8341-AA41-B5F9-76C2-7FFA6926F8CE}"/>
          </ac:spMkLst>
        </pc:spChg>
        <pc:spChg chg="add del mod">
          <ac:chgData name="Aurelien Domont" userId="6da7715ce44349b3" providerId="LiveId" clId="{8E2F06EB-BABF-4502-A8C6-B9F342B7D723}" dt="2023-11-02T04:38:39.578" v="1240" actId="478"/>
          <ac:spMkLst>
            <pc:docMk/>
            <pc:sldMk cId="3661748107" sldId="2577"/>
            <ac:spMk id="43" creationId="{0CD5FB5A-DB67-9F10-148F-EF6EFD2BAB77}"/>
          </ac:spMkLst>
        </pc:spChg>
        <pc:spChg chg="add del mod">
          <ac:chgData name="Aurelien Domont" userId="6da7715ce44349b3" providerId="LiveId" clId="{8E2F06EB-BABF-4502-A8C6-B9F342B7D723}" dt="2023-11-02T04:38:41.739" v="1241" actId="478"/>
          <ac:spMkLst>
            <pc:docMk/>
            <pc:sldMk cId="3661748107" sldId="2577"/>
            <ac:spMk id="44" creationId="{D6F96666-7C06-5A61-4786-2F73A31B41E0}"/>
          </ac:spMkLst>
        </pc:spChg>
        <pc:spChg chg="add del mod">
          <ac:chgData name="Aurelien Domont" userId="6da7715ce44349b3" providerId="LiveId" clId="{8E2F06EB-BABF-4502-A8C6-B9F342B7D723}" dt="2023-11-02T04:38:43.616" v="1242" actId="478"/>
          <ac:spMkLst>
            <pc:docMk/>
            <pc:sldMk cId="3661748107" sldId="2577"/>
            <ac:spMk id="45" creationId="{3F09B645-FF60-B23A-BBD3-DAB5AF691A1F}"/>
          </ac:spMkLst>
        </pc:spChg>
        <pc:spChg chg="add del mod">
          <ac:chgData name="Aurelien Domont" userId="6da7715ce44349b3" providerId="LiveId" clId="{8E2F06EB-BABF-4502-A8C6-B9F342B7D723}" dt="2023-11-02T04:38:39.578" v="1240" actId="478"/>
          <ac:spMkLst>
            <pc:docMk/>
            <pc:sldMk cId="3661748107" sldId="2577"/>
            <ac:spMk id="46" creationId="{7EC9BA07-8A4D-F865-15AC-E7A56C72BAA7}"/>
          </ac:spMkLst>
        </pc:spChg>
        <pc:spChg chg="add del mod">
          <ac:chgData name="Aurelien Domont" userId="6da7715ce44349b3" providerId="LiveId" clId="{8E2F06EB-BABF-4502-A8C6-B9F342B7D723}" dt="2023-11-02T04:38:41.739" v="1241" actId="478"/>
          <ac:spMkLst>
            <pc:docMk/>
            <pc:sldMk cId="3661748107" sldId="2577"/>
            <ac:spMk id="47" creationId="{3EE0D722-C5F5-6E79-6B27-C7195D80F9CC}"/>
          </ac:spMkLst>
        </pc:spChg>
        <pc:spChg chg="add del mod">
          <ac:chgData name="Aurelien Domont" userId="6da7715ce44349b3" providerId="LiveId" clId="{8E2F06EB-BABF-4502-A8C6-B9F342B7D723}" dt="2023-11-02T04:38:43.616" v="1242" actId="478"/>
          <ac:spMkLst>
            <pc:docMk/>
            <pc:sldMk cId="3661748107" sldId="2577"/>
            <ac:spMk id="48" creationId="{794D88D5-4B90-1100-9F3A-F656812A7C7B}"/>
          </ac:spMkLst>
        </pc:spChg>
        <pc:spChg chg="add del mod">
          <ac:chgData name="Aurelien Domont" userId="6da7715ce44349b3" providerId="LiveId" clId="{8E2F06EB-BABF-4502-A8C6-B9F342B7D723}" dt="2023-11-02T04:38:39.578" v="1240" actId="478"/>
          <ac:spMkLst>
            <pc:docMk/>
            <pc:sldMk cId="3661748107" sldId="2577"/>
            <ac:spMk id="49" creationId="{8985999B-A840-BCB3-2011-A3EE73186682}"/>
          </ac:spMkLst>
        </pc:spChg>
        <pc:spChg chg="add del mod">
          <ac:chgData name="Aurelien Domont" userId="6da7715ce44349b3" providerId="LiveId" clId="{8E2F06EB-BABF-4502-A8C6-B9F342B7D723}" dt="2023-11-02T04:38:41.739" v="1241" actId="478"/>
          <ac:spMkLst>
            <pc:docMk/>
            <pc:sldMk cId="3661748107" sldId="2577"/>
            <ac:spMk id="50" creationId="{CD025A3B-85C9-0670-81F9-6E1E29722432}"/>
          </ac:spMkLst>
        </pc:spChg>
        <pc:spChg chg="add del mod">
          <ac:chgData name="Aurelien Domont" userId="6da7715ce44349b3" providerId="LiveId" clId="{8E2F06EB-BABF-4502-A8C6-B9F342B7D723}" dt="2023-11-02T04:38:43.616" v="1242" actId="478"/>
          <ac:spMkLst>
            <pc:docMk/>
            <pc:sldMk cId="3661748107" sldId="2577"/>
            <ac:spMk id="51" creationId="{DB08C272-5F7C-5227-D12D-2A88D3306435}"/>
          </ac:spMkLst>
        </pc:spChg>
        <pc:spChg chg="add del mod">
          <ac:chgData name="Aurelien Domont" userId="6da7715ce44349b3" providerId="LiveId" clId="{8E2F06EB-BABF-4502-A8C6-B9F342B7D723}" dt="2023-11-02T04:38:41.739" v="1241" actId="478"/>
          <ac:spMkLst>
            <pc:docMk/>
            <pc:sldMk cId="3661748107" sldId="2577"/>
            <ac:spMk id="52" creationId="{6FC2698B-37B9-64AA-1E75-2188E7624767}"/>
          </ac:spMkLst>
        </pc:spChg>
        <pc:spChg chg="add del mod">
          <ac:chgData name="Aurelien Domont" userId="6da7715ce44349b3" providerId="LiveId" clId="{8E2F06EB-BABF-4502-A8C6-B9F342B7D723}" dt="2023-11-02T04:38:43.616" v="1242" actId="478"/>
          <ac:spMkLst>
            <pc:docMk/>
            <pc:sldMk cId="3661748107" sldId="2577"/>
            <ac:spMk id="53" creationId="{1D00B6A6-6793-3E03-40B9-2462C07FADA8}"/>
          </ac:spMkLst>
        </pc:spChg>
        <pc:spChg chg="add del mod modVis">
          <ac:chgData name="Aurelien Domont" userId="6da7715ce44349b3" providerId="LiveId" clId="{8E2F06EB-BABF-4502-A8C6-B9F342B7D723}" dt="2023-11-02T04:34:59.471" v="798"/>
          <ac:spMkLst>
            <pc:docMk/>
            <pc:sldMk cId="3661748107" sldId="2577"/>
            <ac:spMk id="54" creationId="{2475BAFC-05BB-97A4-EC8F-75B381F9D470}"/>
          </ac:spMkLst>
        </pc:spChg>
        <pc:spChg chg="add del mod modVis">
          <ac:chgData name="Aurelien Domont" userId="6da7715ce44349b3" providerId="LiveId" clId="{8E2F06EB-BABF-4502-A8C6-B9F342B7D723}" dt="2023-11-02T04:35:00.993" v="841"/>
          <ac:spMkLst>
            <pc:docMk/>
            <pc:sldMk cId="3661748107" sldId="2577"/>
            <ac:spMk id="56" creationId="{7D4ECD22-45A1-1137-3E94-5843946BCA82}"/>
          </ac:spMkLst>
        </pc:spChg>
        <pc:spChg chg="add del mod modVis">
          <ac:chgData name="Aurelien Domont" userId="6da7715ce44349b3" providerId="LiveId" clId="{8E2F06EB-BABF-4502-A8C6-B9F342B7D723}" dt="2023-11-02T04:35:05.485" v="885"/>
          <ac:spMkLst>
            <pc:docMk/>
            <pc:sldMk cId="3661748107" sldId="2577"/>
            <ac:spMk id="57" creationId="{71E9C4F3-4C95-EC95-E855-678BDF3A874E}"/>
          </ac:spMkLst>
        </pc:spChg>
        <pc:spChg chg="add del mod modVis">
          <ac:chgData name="Aurelien Domont" userId="6da7715ce44349b3" providerId="LiveId" clId="{8E2F06EB-BABF-4502-A8C6-B9F342B7D723}" dt="2023-11-02T04:35:07.684" v="922"/>
          <ac:spMkLst>
            <pc:docMk/>
            <pc:sldMk cId="3661748107" sldId="2577"/>
            <ac:spMk id="58" creationId="{845A6A32-FEE2-49C9-9228-0AC4D27E6AFD}"/>
          </ac:spMkLst>
        </pc:spChg>
        <pc:spChg chg="add del mod modVis">
          <ac:chgData name="Aurelien Domont" userId="6da7715ce44349b3" providerId="LiveId" clId="{8E2F06EB-BABF-4502-A8C6-B9F342B7D723}" dt="2023-11-02T04:35:08.343" v="951"/>
          <ac:spMkLst>
            <pc:docMk/>
            <pc:sldMk cId="3661748107" sldId="2577"/>
            <ac:spMk id="59" creationId="{01290671-241D-4A8B-CF1D-A48B3C700E6F}"/>
          </ac:spMkLst>
        </pc:spChg>
        <pc:spChg chg="add del mod modVis">
          <ac:chgData name="Aurelien Domont" userId="6da7715ce44349b3" providerId="LiveId" clId="{8E2F06EB-BABF-4502-A8C6-B9F342B7D723}" dt="2023-11-02T04:35:15.658" v="1010"/>
          <ac:spMkLst>
            <pc:docMk/>
            <pc:sldMk cId="3661748107" sldId="2577"/>
            <ac:spMk id="60" creationId="{DA99CB40-8F08-F479-5882-01E2680B8822}"/>
          </ac:spMkLst>
        </pc:spChg>
        <pc:spChg chg="add del mod modVis">
          <ac:chgData name="Aurelien Domont" userId="6da7715ce44349b3" providerId="LiveId" clId="{8E2F06EB-BABF-4502-A8C6-B9F342B7D723}" dt="2023-11-02T04:35:17.187" v="1038"/>
          <ac:spMkLst>
            <pc:docMk/>
            <pc:sldMk cId="3661748107" sldId="2577"/>
            <ac:spMk id="61" creationId="{92BE77A9-E80F-8BF7-4988-D499678FCD44}"/>
          </ac:spMkLst>
        </pc:spChg>
        <pc:spChg chg="add del mod modVis">
          <ac:chgData name="Aurelien Domont" userId="6da7715ce44349b3" providerId="LiveId" clId="{8E2F06EB-BABF-4502-A8C6-B9F342B7D723}" dt="2023-11-02T04:35:17.572" v="1068"/>
          <ac:spMkLst>
            <pc:docMk/>
            <pc:sldMk cId="3661748107" sldId="2577"/>
            <ac:spMk id="62" creationId="{A9901C3F-2800-0E64-6C42-12FE5E1D7276}"/>
          </ac:spMkLst>
        </pc:spChg>
        <pc:spChg chg="add del mod modVis">
          <ac:chgData name="Aurelien Domont" userId="6da7715ce44349b3" providerId="LiveId" clId="{8E2F06EB-BABF-4502-A8C6-B9F342B7D723}" dt="2023-11-02T04:35:25.158" v="1102"/>
          <ac:spMkLst>
            <pc:docMk/>
            <pc:sldMk cId="3661748107" sldId="2577"/>
            <ac:spMk id="63" creationId="{FEBC438A-0370-0E8B-8E4D-5309B0ABCE23}"/>
          </ac:spMkLst>
        </pc:spChg>
        <pc:spChg chg="add del mod modVis">
          <ac:chgData name="Aurelien Domont" userId="6da7715ce44349b3" providerId="LiveId" clId="{8E2F06EB-BABF-4502-A8C6-B9F342B7D723}" dt="2023-11-02T04:35:27.231" v="1131"/>
          <ac:spMkLst>
            <pc:docMk/>
            <pc:sldMk cId="3661748107" sldId="2577"/>
            <ac:spMk id="64" creationId="{0B83BE67-CAFE-1155-1A24-1FA209E97567}"/>
          </ac:spMkLst>
        </pc:spChg>
        <pc:spChg chg="add del mod modVis">
          <ac:chgData name="Aurelien Domont" userId="6da7715ce44349b3" providerId="LiveId" clId="{8E2F06EB-BABF-4502-A8C6-B9F342B7D723}" dt="2023-11-02T04:35:28.503" v="1163"/>
          <ac:spMkLst>
            <pc:docMk/>
            <pc:sldMk cId="3661748107" sldId="2577"/>
            <ac:spMk id="65" creationId="{B66189B4-EEC9-1AB0-298B-079B225A3D63}"/>
          </ac:spMkLst>
        </pc:spChg>
        <pc:spChg chg="add del mod modVis">
          <ac:chgData name="Aurelien Domont" userId="6da7715ce44349b3" providerId="LiveId" clId="{8E2F06EB-BABF-4502-A8C6-B9F342B7D723}" dt="2023-11-02T04:35:31.849" v="1201"/>
          <ac:spMkLst>
            <pc:docMk/>
            <pc:sldMk cId="3661748107" sldId="2577"/>
            <ac:spMk id="66" creationId="{92A69759-037F-7DD2-E25A-F5BC761DB093}"/>
          </ac:spMkLst>
        </pc:spChg>
        <pc:spChg chg="add mod">
          <ac:chgData name="Aurelien Domont" userId="6da7715ce44349b3" providerId="LiveId" clId="{8E2F06EB-BABF-4502-A8C6-B9F342B7D723}" dt="2023-11-02T04:37:56.563" v="1235" actId="207"/>
          <ac:spMkLst>
            <pc:docMk/>
            <pc:sldMk cId="3661748107" sldId="2577"/>
            <ac:spMk id="67" creationId="{2CFCABEF-938A-8FF7-ED67-E7080455C41A}"/>
          </ac:spMkLst>
        </pc:spChg>
        <pc:spChg chg="add mod">
          <ac:chgData name="Aurelien Domont" userId="6da7715ce44349b3" providerId="LiveId" clId="{8E2F06EB-BABF-4502-A8C6-B9F342B7D723}" dt="2023-11-02T04:37:48.557" v="1234" actId="207"/>
          <ac:spMkLst>
            <pc:docMk/>
            <pc:sldMk cId="3661748107" sldId="2577"/>
            <ac:spMk id="68" creationId="{522BD47E-2652-004F-1434-E0DF3DE46CD2}"/>
          </ac:spMkLst>
        </pc:spChg>
        <pc:spChg chg="add mod">
          <ac:chgData name="Aurelien Domont" userId="6da7715ce44349b3" providerId="LiveId" clId="{8E2F06EB-BABF-4502-A8C6-B9F342B7D723}" dt="2023-11-02T04:37:31.140" v="1232" actId="20577"/>
          <ac:spMkLst>
            <pc:docMk/>
            <pc:sldMk cId="3661748107" sldId="2577"/>
            <ac:spMk id="69" creationId="{DCDF4893-A2C9-02D8-C900-31522D015638}"/>
          </ac:spMkLst>
        </pc:spChg>
        <pc:spChg chg="add mod">
          <ac:chgData name="Aurelien Domont" userId="6da7715ce44349b3" providerId="LiveId" clId="{8E2F06EB-BABF-4502-A8C6-B9F342B7D723}" dt="2023-11-02T04:37:10.450" v="1205"/>
          <ac:spMkLst>
            <pc:docMk/>
            <pc:sldMk cId="3661748107" sldId="2577"/>
            <ac:spMk id="70" creationId="{2C695344-2149-5DD3-8848-539EBF940E8D}"/>
          </ac:spMkLst>
        </pc:spChg>
        <pc:spChg chg="add mod">
          <ac:chgData name="Aurelien Domont" userId="6da7715ce44349b3" providerId="LiveId" clId="{8E2F06EB-BABF-4502-A8C6-B9F342B7D723}" dt="2023-11-02T04:39:11.640" v="1248" actId="207"/>
          <ac:spMkLst>
            <pc:docMk/>
            <pc:sldMk cId="3661748107" sldId="2577"/>
            <ac:spMk id="71" creationId="{6B549AAB-239A-0F19-F174-3CB58BB37C7C}"/>
          </ac:spMkLst>
        </pc:spChg>
        <pc:spChg chg="add mod">
          <ac:chgData name="Aurelien Domont" userId="6da7715ce44349b3" providerId="LiveId" clId="{8E2F06EB-BABF-4502-A8C6-B9F342B7D723}" dt="2023-11-02T04:39:15.990" v="1249" actId="571"/>
          <ac:spMkLst>
            <pc:docMk/>
            <pc:sldMk cId="3661748107" sldId="2577"/>
            <ac:spMk id="72" creationId="{326F16DF-2091-3830-03C0-F52AC5499978}"/>
          </ac:spMkLst>
        </pc:spChg>
        <pc:spChg chg="add mod">
          <ac:chgData name="Aurelien Domont" userId="6da7715ce44349b3" providerId="LiveId" clId="{8E2F06EB-BABF-4502-A8C6-B9F342B7D723}" dt="2023-11-02T04:39:25.507" v="1255" actId="1038"/>
          <ac:spMkLst>
            <pc:docMk/>
            <pc:sldMk cId="3661748107" sldId="2577"/>
            <ac:spMk id="73" creationId="{12AEA54D-6E62-53B8-105F-9D584805EA83}"/>
          </ac:spMkLst>
        </pc:spChg>
        <pc:spChg chg="add mod">
          <ac:chgData name="Aurelien Domont" userId="6da7715ce44349b3" providerId="LiveId" clId="{8E2F06EB-BABF-4502-A8C6-B9F342B7D723}" dt="2023-11-02T04:39:29.871" v="1257" actId="207"/>
          <ac:spMkLst>
            <pc:docMk/>
            <pc:sldMk cId="3661748107" sldId="2577"/>
            <ac:spMk id="74" creationId="{10041E72-FDA6-7F58-4EDB-8466AF344A3D}"/>
          </ac:spMkLst>
        </pc:spChg>
        <pc:spChg chg="add mod">
          <ac:chgData name="Aurelien Domont" userId="6da7715ce44349b3" providerId="LiveId" clId="{8E2F06EB-BABF-4502-A8C6-B9F342B7D723}" dt="2023-11-02T04:39:33.436" v="1259" actId="207"/>
          <ac:spMkLst>
            <pc:docMk/>
            <pc:sldMk cId="3661748107" sldId="2577"/>
            <ac:spMk id="75" creationId="{8F17E18F-8F6E-C9E1-4639-A09DCBCBF20D}"/>
          </ac:spMkLst>
        </pc:spChg>
        <pc:spChg chg="add mod">
          <ac:chgData name="Aurelien Domont" userId="6da7715ce44349b3" providerId="LiveId" clId="{8E2F06EB-BABF-4502-A8C6-B9F342B7D723}" dt="2023-11-02T04:39:38.994" v="1261" actId="207"/>
          <ac:spMkLst>
            <pc:docMk/>
            <pc:sldMk cId="3661748107" sldId="2577"/>
            <ac:spMk id="76" creationId="{A7564F54-3813-6C5C-8AD0-360B48CD4B62}"/>
          </ac:spMkLst>
        </pc:spChg>
        <pc:spChg chg="add mod">
          <ac:chgData name="Aurelien Domont" userId="6da7715ce44349b3" providerId="LiveId" clId="{8E2F06EB-BABF-4502-A8C6-B9F342B7D723}" dt="2023-11-02T04:39:38.994" v="1261" actId="207"/>
          <ac:spMkLst>
            <pc:docMk/>
            <pc:sldMk cId="3661748107" sldId="2577"/>
            <ac:spMk id="77" creationId="{DC174FD1-4301-88B5-AE83-C862A8EA7CD2}"/>
          </ac:spMkLst>
        </pc:spChg>
        <pc:spChg chg="add mod">
          <ac:chgData name="Aurelien Domont" userId="6da7715ce44349b3" providerId="LiveId" clId="{8E2F06EB-BABF-4502-A8C6-B9F342B7D723}" dt="2023-11-02T04:39:55.387" v="1264" actId="1076"/>
          <ac:spMkLst>
            <pc:docMk/>
            <pc:sldMk cId="3661748107" sldId="2577"/>
            <ac:spMk id="78" creationId="{C81FD7C2-07D0-F22C-6713-1136A228106A}"/>
          </ac:spMkLst>
        </pc:spChg>
        <pc:graphicFrameChg chg="add mod ord modVis replST">
          <ac:chgData name="Aurelien Domont" userId="6da7715ce44349b3" providerId="LiveId" clId="{8E2F06EB-BABF-4502-A8C6-B9F342B7D723}" dt="2023-11-02T04:35:31.865" v="1203"/>
          <ac:graphicFrameMkLst>
            <pc:docMk/>
            <pc:sldMk cId="3661748107" sldId="2577"/>
            <ac:graphicFrameMk id="55" creationId="{0DA0BE9D-714E-32FD-0F0B-44839ED290E5}"/>
          </ac:graphicFrameMkLst>
        </pc:graphicFrameChg>
        <pc:cxnChg chg="add mod">
          <ac:chgData name="Aurelien Domont" userId="6da7715ce44349b3" providerId="LiveId" clId="{8E2F06EB-BABF-4502-A8C6-B9F342B7D723}" dt="2023-11-02T04:34:50.191" v="768"/>
          <ac:cxnSpMkLst>
            <pc:docMk/>
            <pc:sldMk cId="3661748107" sldId="2577"/>
            <ac:cxnSpMk id="15" creationId="{767DA679-FE79-8EF5-99AD-5C8FF3C27B24}"/>
          </ac:cxnSpMkLst>
        </pc:cxnChg>
        <pc:cxnChg chg="add mod">
          <ac:chgData name="Aurelien Domont" userId="6da7715ce44349b3" providerId="LiveId" clId="{8E2F06EB-BABF-4502-A8C6-B9F342B7D723}" dt="2023-11-02T04:34:50.191" v="768"/>
          <ac:cxnSpMkLst>
            <pc:docMk/>
            <pc:sldMk cId="3661748107" sldId="2577"/>
            <ac:cxnSpMk id="16" creationId="{7C12864F-93D4-932E-2FE6-BFED0D69608F}"/>
          </ac:cxnSpMkLst>
        </pc:cxnChg>
        <pc:cxnChg chg="add mod">
          <ac:chgData name="Aurelien Domont" userId="6da7715ce44349b3" providerId="LiveId" clId="{8E2F06EB-BABF-4502-A8C6-B9F342B7D723}" dt="2023-11-02T04:34:50.191" v="768"/>
          <ac:cxnSpMkLst>
            <pc:docMk/>
            <pc:sldMk cId="3661748107" sldId="2577"/>
            <ac:cxnSpMk id="17" creationId="{EA078534-BC09-C65A-333A-6725FD63598D}"/>
          </ac:cxnSpMkLst>
        </pc:cxnChg>
      </pc:sldChg>
      <pc:sldChg chg="modSp add mod">
        <pc:chgData name="Aurelien Domont" userId="6da7715ce44349b3" providerId="LiveId" clId="{8E2F06EB-BABF-4502-A8C6-B9F342B7D723}" dt="2023-11-02T05:09:45.753" v="1451" actId="207"/>
        <pc:sldMkLst>
          <pc:docMk/>
          <pc:sldMk cId="2289592772" sldId="2578"/>
        </pc:sldMkLst>
        <pc:spChg chg="mod">
          <ac:chgData name="Aurelien Domont" userId="6da7715ce44349b3" providerId="LiveId" clId="{8E2F06EB-BABF-4502-A8C6-B9F342B7D723}" dt="2023-11-02T05:09:45.753" v="1451" actId="207"/>
          <ac:spMkLst>
            <pc:docMk/>
            <pc:sldMk cId="2289592772" sldId="2578"/>
            <ac:spMk id="5" creationId="{6E3A841F-4AA9-EAB6-E496-B82E43DDAFD2}"/>
          </ac:spMkLst>
        </pc:spChg>
      </pc:sldChg>
      <pc:sldChg chg="delSp modSp add del mod">
        <pc:chgData name="Aurelien Domont" userId="6da7715ce44349b3" providerId="LiveId" clId="{8E2F06EB-BABF-4502-A8C6-B9F342B7D723}" dt="2023-11-02T04:41:46.631" v="1288" actId="47"/>
        <pc:sldMkLst>
          <pc:docMk/>
          <pc:sldMk cId="1140392928" sldId="2579"/>
        </pc:sldMkLst>
        <pc:spChg chg="del">
          <ac:chgData name="Aurelien Domont" userId="6da7715ce44349b3" providerId="LiveId" clId="{8E2F06EB-BABF-4502-A8C6-B9F342B7D723}" dt="2023-11-02T04:40:54.652" v="1287" actId="478"/>
          <ac:spMkLst>
            <pc:docMk/>
            <pc:sldMk cId="1140392928" sldId="2579"/>
            <ac:spMk id="5" creationId="{A072F3C9-C766-CA1F-B48D-93699CBF0C38}"/>
          </ac:spMkLst>
        </pc:spChg>
        <pc:spChg chg="del">
          <ac:chgData name="Aurelien Domont" userId="6da7715ce44349b3" providerId="LiveId" clId="{8E2F06EB-BABF-4502-A8C6-B9F342B7D723}" dt="2023-11-02T04:40:54.652" v="1287" actId="478"/>
          <ac:spMkLst>
            <pc:docMk/>
            <pc:sldMk cId="1140392928" sldId="2579"/>
            <ac:spMk id="8" creationId="{DC5F87C3-954B-AAFC-3B18-BD851AB94A00}"/>
          </ac:spMkLst>
        </pc:spChg>
        <pc:spChg chg="del">
          <ac:chgData name="Aurelien Domont" userId="6da7715ce44349b3" providerId="LiveId" clId="{8E2F06EB-BABF-4502-A8C6-B9F342B7D723}" dt="2023-11-02T04:40:54.652" v="1287" actId="478"/>
          <ac:spMkLst>
            <pc:docMk/>
            <pc:sldMk cId="1140392928" sldId="2579"/>
            <ac:spMk id="10" creationId="{F2784644-811C-134C-284C-0E409EFD40B9}"/>
          </ac:spMkLst>
        </pc:spChg>
        <pc:spChg chg="del">
          <ac:chgData name="Aurelien Domont" userId="6da7715ce44349b3" providerId="LiveId" clId="{8E2F06EB-BABF-4502-A8C6-B9F342B7D723}" dt="2023-11-02T04:40:54.652" v="1287" actId="478"/>
          <ac:spMkLst>
            <pc:docMk/>
            <pc:sldMk cId="1140392928" sldId="2579"/>
            <ac:spMk id="16" creationId="{1B914D9B-5CF6-DAEE-1C62-E4718F0968CD}"/>
          </ac:spMkLst>
        </pc:spChg>
        <pc:spChg chg="del">
          <ac:chgData name="Aurelien Domont" userId="6da7715ce44349b3" providerId="LiveId" clId="{8E2F06EB-BABF-4502-A8C6-B9F342B7D723}" dt="2023-11-02T04:40:54.652" v="1287" actId="478"/>
          <ac:spMkLst>
            <pc:docMk/>
            <pc:sldMk cId="1140392928" sldId="2579"/>
            <ac:spMk id="17" creationId="{23DDC05F-B33F-2ABA-2A7D-F5E2387FCD2E}"/>
          </ac:spMkLst>
        </pc:spChg>
        <pc:spChg chg="del">
          <ac:chgData name="Aurelien Domont" userId="6da7715ce44349b3" providerId="LiveId" clId="{8E2F06EB-BABF-4502-A8C6-B9F342B7D723}" dt="2023-11-02T04:40:54.652" v="1287" actId="478"/>
          <ac:spMkLst>
            <pc:docMk/>
            <pc:sldMk cId="1140392928" sldId="2579"/>
            <ac:spMk id="18" creationId="{FC26B396-8903-6592-38B3-AAA2217E2EF0}"/>
          </ac:spMkLst>
        </pc:spChg>
        <pc:spChg chg="mod">
          <ac:chgData name="Aurelien Domont" userId="6da7715ce44349b3" providerId="LiveId" clId="{8E2F06EB-BABF-4502-A8C6-B9F342B7D723}" dt="2023-11-02T04:40:52.122" v="1286" actId="20577"/>
          <ac:spMkLst>
            <pc:docMk/>
            <pc:sldMk cId="1140392928" sldId="2579"/>
            <ac:spMk id="25" creationId="{3FC112ED-67F2-A835-E5E8-34BE1FE8E8A3}"/>
          </ac:spMkLst>
        </pc:spChg>
        <pc:cxnChg chg="del">
          <ac:chgData name="Aurelien Domont" userId="6da7715ce44349b3" providerId="LiveId" clId="{8E2F06EB-BABF-4502-A8C6-B9F342B7D723}" dt="2023-11-02T04:40:54.652" v="1287" actId="478"/>
          <ac:cxnSpMkLst>
            <pc:docMk/>
            <pc:sldMk cId="1140392928" sldId="2579"/>
            <ac:cxnSpMk id="14" creationId="{7EBA589C-06E7-5F1D-3BF8-06EDB2BBEB50}"/>
          </ac:cxnSpMkLst>
        </pc:cxnChg>
        <pc:cxnChg chg="del">
          <ac:chgData name="Aurelien Domont" userId="6da7715ce44349b3" providerId="LiveId" clId="{8E2F06EB-BABF-4502-A8C6-B9F342B7D723}" dt="2023-11-02T04:40:54.652" v="1287" actId="478"/>
          <ac:cxnSpMkLst>
            <pc:docMk/>
            <pc:sldMk cId="1140392928" sldId="2579"/>
            <ac:cxnSpMk id="15" creationId="{D96CED47-2E3E-43DB-1DD4-70C0AC1B3B72}"/>
          </ac:cxnSpMkLst>
        </pc:cxnChg>
      </pc:sldChg>
      <pc:sldChg chg="addSp delSp modSp add mod">
        <pc:chgData name="Aurelien Domont" userId="6da7715ce44349b3" providerId="LiveId" clId="{8E2F06EB-BABF-4502-A8C6-B9F342B7D723}" dt="2023-11-02T05:08:59.227" v="1450" actId="20577"/>
        <pc:sldMkLst>
          <pc:docMk/>
          <pc:sldMk cId="2798016024" sldId="2579"/>
        </pc:sldMkLst>
        <pc:spChg chg="mod">
          <ac:chgData name="Aurelien Domont" userId="6da7715ce44349b3" providerId="LiveId" clId="{8E2F06EB-BABF-4502-A8C6-B9F342B7D723}" dt="2023-11-02T04:42:46.465" v="1318" actId="120"/>
          <ac:spMkLst>
            <pc:docMk/>
            <pc:sldMk cId="2798016024" sldId="2579"/>
            <ac:spMk id="5" creationId="{A072F3C9-C766-CA1F-B48D-93699CBF0C38}"/>
          </ac:spMkLst>
        </pc:spChg>
        <pc:spChg chg="add del mod">
          <ac:chgData name="Aurelien Domont" userId="6da7715ce44349b3" providerId="LiveId" clId="{8E2F06EB-BABF-4502-A8C6-B9F342B7D723}" dt="2023-11-02T04:42:42.993" v="1317" actId="478"/>
          <ac:spMkLst>
            <pc:docMk/>
            <pc:sldMk cId="2798016024" sldId="2579"/>
            <ac:spMk id="7" creationId="{65DCF726-8BB2-57EA-EB3E-3BE8BD38840B}"/>
          </ac:spMkLst>
        </pc:spChg>
        <pc:spChg chg="mod">
          <ac:chgData name="Aurelien Domont" userId="6da7715ce44349b3" providerId="LiveId" clId="{8E2F06EB-BABF-4502-A8C6-B9F342B7D723}" dt="2023-11-02T04:55:00.053" v="1434" actId="20577"/>
          <ac:spMkLst>
            <pc:docMk/>
            <pc:sldMk cId="2798016024" sldId="2579"/>
            <ac:spMk id="8" creationId="{DC5F87C3-954B-AAFC-3B18-BD851AB94A00}"/>
          </ac:spMkLst>
        </pc:spChg>
        <pc:spChg chg="add del mod">
          <ac:chgData name="Aurelien Domont" userId="6da7715ce44349b3" providerId="LiveId" clId="{8E2F06EB-BABF-4502-A8C6-B9F342B7D723}" dt="2023-11-02T04:42:42.993" v="1317" actId="478"/>
          <ac:spMkLst>
            <pc:docMk/>
            <pc:sldMk cId="2798016024" sldId="2579"/>
            <ac:spMk id="9" creationId="{91E2A980-0678-84BC-AAFF-ADA97D09F476}"/>
          </ac:spMkLst>
        </pc:spChg>
        <pc:spChg chg="mod">
          <ac:chgData name="Aurelien Domont" userId="6da7715ce44349b3" providerId="LiveId" clId="{8E2F06EB-BABF-4502-A8C6-B9F342B7D723}" dt="2023-11-02T04:42:46.465" v="1318" actId="120"/>
          <ac:spMkLst>
            <pc:docMk/>
            <pc:sldMk cId="2798016024" sldId="2579"/>
            <ac:spMk id="10" creationId="{F2784644-811C-134C-284C-0E409EFD40B9}"/>
          </ac:spMkLst>
        </pc:spChg>
        <pc:spChg chg="add del mod">
          <ac:chgData name="Aurelien Domont" userId="6da7715ce44349b3" providerId="LiveId" clId="{8E2F06EB-BABF-4502-A8C6-B9F342B7D723}" dt="2023-11-02T04:42:42.993" v="1317" actId="478"/>
          <ac:spMkLst>
            <pc:docMk/>
            <pc:sldMk cId="2798016024" sldId="2579"/>
            <ac:spMk id="11" creationId="{CA2DF5CD-521E-B5F0-DAE5-61A2D575C387}"/>
          </ac:spMkLst>
        </pc:spChg>
        <pc:spChg chg="mod">
          <ac:chgData name="Aurelien Domont" userId="6da7715ce44349b3" providerId="LiveId" clId="{8E2F06EB-BABF-4502-A8C6-B9F342B7D723}" dt="2023-11-02T05:08:51.755" v="1448" actId="20577"/>
          <ac:spMkLst>
            <pc:docMk/>
            <pc:sldMk cId="2798016024" sldId="2579"/>
            <ac:spMk id="16" creationId="{1B914D9B-5CF6-DAEE-1C62-E4718F0968CD}"/>
          </ac:spMkLst>
        </pc:spChg>
        <pc:spChg chg="mod">
          <ac:chgData name="Aurelien Domont" userId="6da7715ce44349b3" providerId="LiveId" clId="{8E2F06EB-BABF-4502-A8C6-B9F342B7D723}" dt="2023-11-02T04:54:50.854" v="1424" actId="20577"/>
          <ac:spMkLst>
            <pc:docMk/>
            <pc:sldMk cId="2798016024" sldId="2579"/>
            <ac:spMk id="17" creationId="{23DDC05F-B33F-2ABA-2A7D-F5E2387FCD2E}"/>
          </ac:spMkLst>
        </pc:spChg>
        <pc:spChg chg="mod">
          <ac:chgData name="Aurelien Domont" userId="6da7715ce44349b3" providerId="LiveId" clId="{8E2F06EB-BABF-4502-A8C6-B9F342B7D723}" dt="2023-11-02T05:08:59.227" v="1450" actId="20577"/>
          <ac:spMkLst>
            <pc:docMk/>
            <pc:sldMk cId="2798016024" sldId="2579"/>
            <ac:spMk id="18" creationId="{FC26B396-8903-6592-38B3-AAA2217E2EF0}"/>
          </ac:spMkLst>
        </pc:spChg>
        <pc:spChg chg="mod">
          <ac:chgData name="Aurelien Domont" userId="6da7715ce44349b3" providerId="LiveId" clId="{8E2F06EB-BABF-4502-A8C6-B9F342B7D723}" dt="2023-11-02T04:41:56.461" v="1308" actId="20577"/>
          <ac:spMkLst>
            <pc:docMk/>
            <pc:sldMk cId="2798016024" sldId="2579"/>
            <ac:spMk id="25" creationId="{3FC112ED-67F2-A835-E5E8-34BE1FE8E8A3}"/>
          </ac:spMkLst>
        </pc:spChg>
      </pc:sldChg>
      <pc:sldChg chg="add del">
        <pc:chgData name="Aurelien Domont" userId="6da7715ce44349b3" providerId="LiveId" clId="{8E2F06EB-BABF-4502-A8C6-B9F342B7D723}" dt="2023-11-02T04:42:13.012" v="1310"/>
        <pc:sldMkLst>
          <pc:docMk/>
          <pc:sldMk cId="2160505467" sldId="2580"/>
        </pc:sldMkLst>
      </pc:sldChg>
      <pc:sldChg chg="modSp add mod">
        <pc:chgData name="Aurelien Domont" userId="6da7715ce44349b3" providerId="LiveId" clId="{8E2F06EB-BABF-4502-A8C6-B9F342B7D723}" dt="2023-11-02T04:50:42.979" v="1380" actId="20577"/>
        <pc:sldMkLst>
          <pc:docMk/>
          <pc:sldMk cId="3888118859" sldId="2580"/>
        </pc:sldMkLst>
        <pc:spChg chg="mod">
          <ac:chgData name="Aurelien Domont" userId="6da7715ce44349b3" providerId="LiveId" clId="{8E2F06EB-BABF-4502-A8C6-B9F342B7D723}" dt="2023-11-02T04:49:19.879" v="1369" actId="20577"/>
          <ac:spMkLst>
            <pc:docMk/>
            <pc:sldMk cId="3888118859" sldId="2580"/>
            <ac:spMk id="11" creationId="{68A4196C-3265-C4BB-25FF-197F4FD03D5B}"/>
          </ac:spMkLst>
        </pc:spChg>
        <pc:spChg chg="mod">
          <ac:chgData name="Aurelien Domont" userId="6da7715ce44349b3" providerId="LiveId" clId="{8E2F06EB-BABF-4502-A8C6-B9F342B7D723}" dt="2023-11-02T04:46:00.538" v="1335" actId="20577"/>
          <ac:spMkLst>
            <pc:docMk/>
            <pc:sldMk cId="3888118859" sldId="2580"/>
            <ac:spMk id="13" creationId="{18B8B2D7-D17C-7761-D385-C6B59F3B469F}"/>
          </ac:spMkLst>
        </pc:spChg>
        <pc:spChg chg="mod">
          <ac:chgData name="Aurelien Domont" userId="6da7715ce44349b3" providerId="LiveId" clId="{8E2F06EB-BABF-4502-A8C6-B9F342B7D723}" dt="2023-11-02T04:50:24.393" v="1378" actId="20577"/>
          <ac:spMkLst>
            <pc:docMk/>
            <pc:sldMk cId="3888118859" sldId="2580"/>
            <ac:spMk id="21" creationId="{CD7FE249-C1D9-B98E-927D-7E2EEF2D5D63}"/>
          </ac:spMkLst>
        </pc:spChg>
        <pc:spChg chg="mod">
          <ac:chgData name="Aurelien Domont" userId="6da7715ce44349b3" providerId="LiveId" clId="{8E2F06EB-BABF-4502-A8C6-B9F342B7D723}" dt="2023-11-02T04:49:59.872" v="1375" actId="20577"/>
          <ac:spMkLst>
            <pc:docMk/>
            <pc:sldMk cId="3888118859" sldId="2580"/>
            <ac:spMk id="22" creationId="{6E0B175F-B5DA-73D1-3022-D9A7785C9D95}"/>
          </ac:spMkLst>
        </pc:spChg>
        <pc:spChg chg="mod">
          <ac:chgData name="Aurelien Domont" userId="6da7715ce44349b3" providerId="LiveId" clId="{8E2F06EB-BABF-4502-A8C6-B9F342B7D723}" dt="2023-11-02T04:50:42.979" v="1380" actId="20577"/>
          <ac:spMkLst>
            <pc:docMk/>
            <pc:sldMk cId="3888118859" sldId="2580"/>
            <ac:spMk id="23" creationId="{99F86642-F40A-8AE7-7413-C09EE558FE24}"/>
          </ac:spMkLst>
        </pc:spChg>
        <pc:spChg chg="mod">
          <ac:chgData name="Aurelien Domont" userId="6da7715ce44349b3" providerId="LiveId" clId="{8E2F06EB-BABF-4502-A8C6-B9F342B7D723}" dt="2023-11-02T04:45:55.426" v="1325" actId="20577"/>
          <ac:spMkLst>
            <pc:docMk/>
            <pc:sldMk cId="3888118859" sldId="2580"/>
            <ac:spMk id="25" creationId="{3FC112ED-67F2-A835-E5E8-34BE1FE8E8A3}"/>
          </ac:spMkLst>
        </pc:spChg>
      </pc:sldChg>
      <pc:sldChg chg="addSp delSp modSp add mod">
        <pc:chgData name="Aurelien Domont" userId="6da7715ce44349b3" providerId="LiveId" clId="{8E2F06EB-BABF-4502-A8C6-B9F342B7D723}" dt="2023-11-02T05:12:06.206" v="1786" actId="1036"/>
        <pc:sldMkLst>
          <pc:docMk/>
          <pc:sldMk cId="3709114663" sldId="2581"/>
        </pc:sldMkLst>
        <pc:spChg chg="mod">
          <ac:chgData name="Aurelien Domont" userId="6da7715ce44349b3" providerId="LiveId" clId="{8E2F06EB-BABF-4502-A8C6-B9F342B7D723}" dt="2023-11-02T05:11:32.655" v="1724" actId="948"/>
          <ac:spMkLst>
            <pc:docMk/>
            <pc:sldMk cId="3709114663" sldId="2581"/>
            <ac:spMk id="2" creationId="{1AA45297-01DD-7BAA-BC2B-C1A071177C62}"/>
          </ac:spMkLst>
        </pc:spChg>
        <pc:spChg chg="add del mod modVis">
          <ac:chgData name="Aurelien Domont" userId="6da7715ce44349b3" providerId="LiveId" clId="{8E2F06EB-BABF-4502-A8C6-B9F342B7D723}" dt="2023-11-02T05:11:14.063" v="1485"/>
          <ac:spMkLst>
            <pc:docMk/>
            <pc:sldMk cId="3709114663" sldId="2581"/>
            <ac:spMk id="5" creationId="{6F2A26FD-BB8B-0426-7B7A-9587D24BABDD}"/>
          </ac:spMkLst>
        </pc:spChg>
        <pc:spChg chg="add del mod modVis">
          <ac:chgData name="Aurelien Domont" userId="6da7715ce44349b3" providerId="LiveId" clId="{8E2F06EB-BABF-4502-A8C6-B9F342B7D723}" dt="2023-11-02T05:11:15.130" v="1516"/>
          <ac:spMkLst>
            <pc:docMk/>
            <pc:sldMk cId="3709114663" sldId="2581"/>
            <ac:spMk id="8" creationId="{CAABD05E-BCB9-EB44-E39F-67CD79E646DD}"/>
          </ac:spMkLst>
        </pc:spChg>
        <pc:spChg chg="add del mod modVis">
          <ac:chgData name="Aurelien Domont" userId="6da7715ce44349b3" providerId="LiveId" clId="{8E2F06EB-BABF-4502-A8C6-B9F342B7D723}" dt="2023-11-02T05:11:16.621" v="1547"/>
          <ac:spMkLst>
            <pc:docMk/>
            <pc:sldMk cId="3709114663" sldId="2581"/>
            <ac:spMk id="10" creationId="{CF657F3A-0EBC-14E0-EB72-00D9B81F45E5}"/>
          </ac:spMkLst>
        </pc:spChg>
        <pc:spChg chg="add del mod modVis">
          <ac:chgData name="Aurelien Domont" userId="6da7715ce44349b3" providerId="LiveId" clId="{8E2F06EB-BABF-4502-A8C6-B9F342B7D723}" dt="2023-11-02T05:11:18.365" v="1581"/>
          <ac:spMkLst>
            <pc:docMk/>
            <pc:sldMk cId="3709114663" sldId="2581"/>
            <ac:spMk id="14" creationId="{0770BF60-7C4C-4A45-4E90-A4D255C671C2}"/>
          </ac:spMkLst>
        </pc:spChg>
        <pc:spChg chg="add del mod modVis">
          <ac:chgData name="Aurelien Domont" userId="6da7715ce44349b3" providerId="LiveId" clId="{8E2F06EB-BABF-4502-A8C6-B9F342B7D723}" dt="2023-11-02T05:11:19.258" v="1613"/>
          <ac:spMkLst>
            <pc:docMk/>
            <pc:sldMk cId="3709114663" sldId="2581"/>
            <ac:spMk id="15" creationId="{D49BF2FB-84F9-47CA-4ECC-A50CEBA3B4C2}"/>
          </ac:spMkLst>
        </pc:spChg>
        <pc:spChg chg="add del mod modVis">
          <ac:chgData name="Aurelien Domont" userId="6da7715ce44349b3" providerId="LiveId" clId="{8E2F06EB-BABF-4502-A8C6-B9F342B7D723}" dt="2023-11-02T05:11:21.069" v="1645"/>
          <ac:spMkLst>
            <pc:docMk/>
            <pc:sldMk cId="3709114663" sldId="2581"/>
            <ac:spMk id="16" creationId="{BBF81734-A90A-2BC9-FA10-FE858CAEEC10}"/>
          </ac:spMkLst>
        </pc:spChg>
        <pc:spChg chg="add del mod modVis">
          <ac:chgData name="Aurelien Domont" userId="6da7715ce44349b3" providerId="LiveId" clId="{8E2F06EB-BABF-4502-A8C6-B9F342B7D723}" dt="2023-11-02T05:11:22.839" v="1678"/>
          <ac:spMkLst>
            <pc:docMk/>
            <pc:sldMk cId="3709114663" sldId="2581"/>
            <ac:spMk id="17" creationId="{3ED9305B-DE68-7A1B-9D38-FFA4FFDDE21C}"/>
          </ac:spMkLst>
        </pc:spChg>
        <pc:spChg chg="add del mod modVis">
          <ac:chgData name="Aurelien Domont" userId="6da7715ce44349b3" providerId="LiveId" clId="{8E2F06EB-BABF-4502-A8C6-B9F342B7D723}" dt="2023-11-02T05:11:24.991" v="1711"/>
          <ac:spMkLst>
            <pc:docMk/>
            <pc:sldMk cId="3709114663" sldId="2581"/>
            <ac:spMk id="18" creationId="{4A8C2808-FB71-003F-14BF-2AEAE047535E}"/>
          </ac:spMkLst>
        </pc:spChg>
        <pc:spChg chg="add del mod modVis">
          <ac:chgData name="Aurelien Domont" userId="6da7715ce44349b3" providerId="LiveId" clId="{8E2F06EB-BABF-4502-A8C6-B9F342B7D723}" dt="2023-11-02T05:11:32.693" v="1748"/>
          <ac:spMkLst>
            <pc:docMk/>
            <pc:sldMk cId="3709114663" sldId="2581"/>
            <ac:spMk id="19" creationId="{48465D7B-0618-2E07-91A0-B8C92A3A610C}"/>
          </ac:spMkLst>
        </pc:spChg>
        <pc:spChg chg="add mod">
          <ac:chgData name="Aurelien Domont" userId="6da7715ce44349b3" providerId="LiveId" clId="{8E2F06EB-BABF-4502-A8C6-B9F342B7D723}" dt="2023-11-02T05:12:06.206" v="1786" actId="1036"/>
          <ac:spMkLst>
            <pc:docMk/>
            <pc:sldMk cId="3709114663" sldId="2581"/>
            <ac:spMk id="20" creationId="{C3339BBC-E5A9-CEBF-B27A-55700D832CBF}"/>
          </ac:spMkLst>
        </pc:spChg>
        <pc:spChg chg="mod">
          <ac:chgData name="Aurelien Domont" userId="6da7715ce44349b3" providerId="LiveId" clId="{8E2F06EB-BABF-4502-A8C6-B9F342B7D723}" dt="2023-11-02T05:11:36.001" v="1751" actId="207"/>
          <ac:spMkLst>
            <pc:docMk/>
            <pc:sldMk cId="3709114663" sldId="2581"/>
            <ac:spMk id="21" creationId="{CD7FE249-C1D9-B98E-927D-7E2EEF2D5D63}"/>
          </ac:spMkLst>
        </pc:spChg>
        <pc:spChg chg="mod">
          <ac:chgData name="Aurelien Domont" userId="6da7715ce44349b3" providerId="LiveId" clId="{8E2F06EB-BABF-4502-A8C6-B9F342B7D723}" dt="2023-11-02T05:11:40.412" v="1752" actId="207"/>
          <ac:spMkLst>
            <pc:docMk/>
            <pc:sldMk cId="3709114663" sldId="2581"/>
            <ac:spMk id="22" creationId="{6E0B175F-B5DA-73D1-3022-D9A7785C9D95}"/>
          </ac:spMkLst>
        </pc:spChg>
        <pc:spChg chg="mod">
          <ac:chgData name="Aurelien Domont" userId="6da7715ce44349b3" providerId="LiveId" clId="{8E2F06EB-BABF-4502-A8C6-B9F342B7D723}" dt="2023-11-02T05:11:43.282" v="1753" actId="207"/>
          <ac:spMkLst>
            <pc:docMk/>
            <pc:sldMk cId="3709114663" sldId="2581"/>
            <ac:spMk id="23" creationId="{99F86642-F40A-8AE7-7413-C09EE558FE24}"/>
          </ac:spMkLst>
        </pc:spChg>
        <pc:graphicFrameChg chg="mod">
          <ac:chgData name="Aurelien Domont" userId="6da7715ce44349b3" providerId="LiveId" clId="{8E2F06EB-BABF-4502-A8C6-B9F342B7D723}" dt="2023-11-02T05:11:32.693" v="1750"/>
          <ac:graphicFrameMkLst>
            <pc:docMk/>
            <pc:sldMk cId="3709114663" sldId="2581"/>
            <ac:graphicFrameMk id="6" creationId="{CF81000D-C6FE-7066-A8C3-543AC9C1F4A6}"/>
          </ac:graphicFrameMkLst>
        </pc:graphicFrameChg>
      </pc:sldChg>
      <pc:sldChg chg="add del">
        <pc:chgData name="Aurelien Domont" userId="6da7715ce44349b3" providerId="LiveId" clId="{8E2F06EB-BABF-4502-A8C6-B9F342B7D723}" dt="2023-11-02T05:14:01.695" v="1816" actId="47"/>
        <pc:sldMkLst>
          <pc:docMk/>
          <pc:sldMk cId="1671886255" sldId="2582"/>
        </pc:sldMkLst>
      </pc:sldChg>
      <pc:sldChg chg="add">
        <pc:chgData name="Aurelien Domont" userId="6da7715ce44349b3" providerId="LiveId" clId="{8E2F06EB-BABF-4502-A8C6-B9F342B7D723}" dt="2023-11-02T05:11:00.688" v="1453"/>
        <pc:sldMkLst>
          <pc:docMk/>
          <pc:sldMk cId="2243542728" sldId="2583"/>
        </pc:sldMkLst>
      </pc:sldChg>
      <pc:sldChg chg="addSp delSp modSp add mod">
        <pc:chgData name="Aurelien Domont" userId="6da7715ce44349b3" providerId="LiveId" clId="{8E2F06EB-BABF-4502-A8C6-B9F342B7D723}" dt="2023-11-02T05:12:36.448" v="1794" actId="207"/>
        <pc:sldMkLst>
          <pc:docMk/>
          <pc:sldMk cId="1659185181" sldId="2584"/>
        </pc:sldMkLst>
        <pc:spChg chg="add mod">
          <ac:chgData name="Aurelien Domont" userId="6da7715ce44349b3" providerId="LiveId" clId="{8E2F06EB-BABF-4502-A8C6-B9F342B7D723}" dt="2023-11-02T05:12:28.250" v="1791"/>
          <ac:spMkLst>
            <pc:docMk/>
            <pc:sldMk cId="1659185181" sldId="2584"/>
            <ac:spMk id="5" creationId="{A4CB2208-0469-9EEF-B7A3-A60F5D660F05}"/>
          </ac:spMkLst>
        </pc:spChg>
        <pc:spChg chg="add mod">
          <ac:chgData name="Aurelien Domont" userId="6da7715ce44349b3" providerId="LiveId" clId="{8E2F06EB-BABF-4502-A8C6-B9F342B7D723}" dt="2023-11-02T05:12:28.250" v="1791"/>
          <ac:spMkLst>
            <pc:docMk/>
            <pc:sldMk cId="1659185181" sldId="2584"/>
            <ac:spMk id="8" creationId="{CAC63474-BF61-E377-2E79-A74C3A9F033B}"/>
          </ac:spMkLst>
        </pc:spChg>
        <pc:spChg chg="add mod">
          <ac:chgData name="Aurelien Domont" userId="6da7715ce44349b3" providerId="LiveId" clId="{8E2F06EB-BABF-4502-A8C6-B9F342B7D723}" dt="2023-11-02T05:12:28.250" v="1791"/>
          <ac:spMkLst>
            <pc:docMk/>
            <pc:sldMk cId="1659185181" sldId="2584"/>
            <ac:spMk id="10" creationId="{9867D1B3-68CD-4EB8-1966-4E2650A08401}"/>
          </ac:spMkLst>
        </pc:spChg>
        <pc:spChg chg="del">
          <ac:chgData name="Aurelien Domont" userId="6da7715ce44349b3" providerId="LiveId" clId="{8E2F06EB-BABF-4502-A8C6-B9F342B7D723}" dt="2023-11-02T05:12:23.853" v="1790" actId="478"/>
          <ac:spMkLst>
            <pc:docMk/>
            <pc:sldMk cId="1659185181" sldId="2584"/>
            <ac:spMk id="11" creationId="{68A4196C-3265-C4BB-25FF-197F4FD03D5B}"/>
          </ac:spMkLst>
        </pc:spChg>
        <pc:spChg chg="del">
          <ac:chgData name="Aurelien Domont" userId="6da7715ce44349b3" providerId="LiveId" clId="{8E2F06EB-BABF-4502-A8C6-B9F342B7D723}" dt="2023-11-02T05:12:23.853" v="1790" actId="478"/>
          <ac:spMkLst>
            <pc:docMk/>
            <pc:sldMk cId="1659185181" sldId="2584"/>
            <ac:spMk id="12" creationId="{AB219A67-800A-0D36-804E-9D6EFAF191B5}"/>
          </ac:spMkLst>
        </pc:spChg>
        <pc:spChg chg="del">
          <ac:chgData name="Aurelien Domont" userId="6da7715ce44349b3" providerId="LiveId" clId="{8E2F06EB-BABF-4502-A8C6-B9F342B7D723}" dt="2023-11-02T05:12:23.853" v="1790" actId="478"/>
          <ac:spMkLst>
            <pc:docMk/>
            <pc:sldMk cId="1659185181" sldId="2584"/>
            <ac:spMk id="13" creationId="{18B8B2D7-D17C-7761-D385-C6B59F3B469F}"/>
          </ac:spMkLst>
        </pc:spChg>
        <pc:spChg chg="add mod">
          <ac:chgData name="Aurelien Domont" userId="6da7715ce44349b3" providerId="LiveId" clId="{8E2F06EB-BABF-4502-A8C6-B9F342B7D723}" dt="2023-11-02T05:12:31.578" v="1792" actId="207"/>
          <ac:spMkLst>
            <pc:docMk/>
            <pc:sldMk cId="1659185181" sldId="2584"/>
            <ac:spMk id="16" creationId="{309B3FC6-5501-97FA-0532-DEE7B823B95D}"/>
          </ac:spMkLst>
        </pc:spChg>
        <pc:spChg chg="add mod">
          <ac:chgData name="Aurelien Domont" userId="6da7715ce44349b3" providerId="LiveId" clId="{8E2F06EB-BABF-4502-A8C6-B9F342B7D723}" dt="2023-11-02T05:12:33.919" v="1793" actId="207"/>
          <ac:spMkLst>
            <pc:docMk/>
            <pc:sldMk cId="1659185181" sldId="2584"/>
            <ac:spMk id="17" creationId="{94BBA31E-A9CA-F21C-FE31-5AF3C0E5263D}"/>
          </ac:spMkLst>
        </pc:spChg>
        <pc:spChg chg="add mod">
          <ac:chgData name="Aurelien Domont" userId="6da7715ce44349b3" providerId="LiveId" clId="{8E2F06EB-BABF-4502-A8C6-B9F342B7D723}" dt="2023-11-02T05:12:36.448" v="1794" actId="207"/>
          <ac:spMkLst>
            <pc:docMk/>
            <pc:sldMk cId="1659185181" sldId="2584"/>
            <ac:spMk id="18" creationId="{95102C61-9B29-2BD2-B6C4-4B607DDFB9D9}"/>
          </ac:spMkLst>
        </pc:spChg>
        <pc:spChg chg="del">
          <ac:chgData name="Aurelien Domont" userId="6da7715ce44349b3" providerId="LiveId" clId="{8E2F06EB-BABF-4502-A8C6-B9F342B7D723}" dt="2023-11-02T05:12:23.853" v="1790" actId="478"/>
          <ac:spMkLst>
            <pc:docMk/>
            <pc:sldMk cId="1659185181" sldId="2584"/>
            <ac:spMk id="21" creationId="{CD7FE249-C1D9-B98E-927D-7E2EEF2D5D63}"/>
          </ac:spMkLst>
        </pc:spChg>
        <pc:spChg chg="del">
          <ac:chgData name="Aurelien Domont" userId="6da7715ce44349b3" providerId="LiveId" clId="{8E2F06EB-BABF-4502-A8C6-B9F342B7D723}" dt="2023-11-02T05:12:23.853" v="1790" actId="478"/>
          <ac:spMkLst>
            <pc:docMk/>
            <pc:sldMk cId="1659185181" sldId="2584"/>
            <ac:spMk id="22" creationId="{6E0B175F-B5DA-73D1-3022-D9A7785C9D95}"/>
          </ac:spMkLst>
        </pc:spChg>
        <pc:spChg chg="del">
          <ac:chgData name="Aurelien Domont" userId="6da7715ce44349b3" providerId="LiveId" clId="{8E2F06EB-BABF-4502-A8C6-B9F342B7D723}" dt="2023-11-02T05:12:23.853" v="1790" actId="478"/>
          <ac:spMkLst>
            <pc:docMk/>
            <pc:sldMk cId="1659185181" sldId="2584"/>
            <ac:spMk id="23" creationId="{99F86642-F40A-8AE7-7413-C09EE558FE24}"/>
          </ac:spMkLst>
        </pc:spChg>
        <pc:spChg chg="del">
          <ac:chgData name="Aurelien Domont" userId="6da7715ce44349b3" providerId="LiveId" clId="{8E2F06EB-BABF-4502-A8C6-B9F342B7D723}" dt="2023-11-02T05:12:23.853" v="1790" actId="478"/>
          <ac:spMkLst>
            <pc:docMk/>
            <pc:sldMk cId="1659185181" sldId="2584"/>
            <ac:spMk id="24" creationId="{13924987-6EBC-4A84-05F1-DA538C58714C}"/>
          </ac:spMkLst>
        </pc:spChg>
        <pc:spChg chg="mod">
          <ac:chgData name="Aurelien Domont" userId="6da7715ce44349b3" providerId="LiveId" clId="{8E2F06EB-BABF-4502-A8C6-B9F342B7D723}" dt="2023-11-02T05:12:21.215" v="1789" actId="20577"/>
          <ac:spMkLst>
            <pc:docMk/>
            <pc:sldMk cId="1659185181" sldId="2584"/>
            <ac:spMk id="25" creationId="{3FC112ED-67F2-A835-E5E8-34BE1FE8E8A3}"/>
          </ac:spMkLst>
        </pc:spChg>
        <pc:spChg chg="del">
          <ac:chgData name="Aurelien Domont" userId="6da7715ce44349b3" providerId="LiveId" clId="{8E2F06EB-BABF-4502-A8C6-B9F342B7D723}" dt="2023-11-02T05:12:23.853" v="1790" actId="478"/>
          <ac:spMkLst>
            <pc:docMk/>
            <pc:sldMk cId="1659185181" sldId="2584"/>
            <ac:spMk id="26" creationId="{4146FA64-D594-47E0-2D7D-D3B3699569AA}"/>
          </ac:spMkLst>
        </pc:spChg>
        <pc:spChg chg="del">
          <ac:chgData name="Aurelien Domont" userId="6da7715ce44349b3" providerId="LiveId" clId="{8E2F06EB-BABF-4502-A8C6-B9F342B7D723}" dt="2023-11-02T05:12:23.853" v="1790" actId="478"/>
          <ac:spMkLst>
            <pc:docMk/>
            <pc:sldMk cId="1659185181" sldId="2584"/>
            <ac:spMk id="27" creationId="{47303E7F-6FB5-9C08-2425-11D892308459}"/>
          </ac:spMkLst>
        </pc:spChg>
        <pc:cxnChg chg="del">
          <ac:chgData name="Aurelien Domont" userId="6da7715ce44349b3" providerId="LiveId" clId="{8E2F06EB-BABF-4502-A8C6-B9F342B7D723}" dt="2023-11-02T05:12:23.853" v="1790" actId="478"/>
          <ac:cxnSpMkLst>
            <pc:docMk/>
            <pc:sldMk cId="1659185181" sldId="2584"/>
            <ac:cxnSpMk id="7" creationId="{285ACAF9-9B78-3C64-C206-DA5EC75DCFF9}"/>
          </ac:cxnSpMkLst>
        </pc:cxnChg>
        <pc:cxnChg chg="del">
          <ac:chgData name="Aurelien Domont" userId="6da7715ce44349b3" providerId="LiveId" clId="{8E2F06EB-BABF-4502-A8C6-B9F342B7D723}" dt="2023-11-02T05:12:23.853" v="1790" actId="478"/>
          <ac:cxnSpMkLst>
            <pc:docMk/>
            <pc:sldMk cId="1659185181" sldId="2584"/>
            <ac:cxnSpMk id="9" creationId="{680FD101-3E41-8822-D905-95F389AD4C15}"/>
          </ac:cxnSpMkLst>
        </pc:cxnChg>
        <pc:cxnChg chg="add mod">
          <ac:chgData name="Aurelien Domont" userId="6da7715ce44349b3" providerId="LiveId" clId="{8E2F06EB-BABF-4502-A8C6-B9F342B7D723}" dt="2023-11-02T05:12:28.250" v="1791"/>
          <ac:cxnSpMkLst>
            <pc:docMk/>
            <pc:sldMk cId="1659185181" sldId="2584"/>
            <ac:cxnSpMk id="14" creationId="{4E547DEF-A037-F1AD-7A19-F4C9A044763E}"/>
          </ac:cxnSpMkLst>
        </pc:cxnChg>
        <pc:cxnChg chg="add mod">
          <ac:chgData name="Aurelien Domont" userId="6da7715ce44349b3" providerId="LiveId" clId="{8E2F06EB-BABF-4502-A8C6-B9F342B7D723}" dt="2023-11-02T05:12:28.250" v="1791"/>
          <ac:cxnSpMkLst>
            <pc:docMk/>
            <pc:sldMk cId="1659185181" sldId="2584"/>
            <ac:cxnSpMk id="15" creationId="{80F59535-B4BC-311D-6F14-90793051FAC7}"/>
          </ac:cxnSpMkLst>
        </pc:cxnChg>
      </pc:sldChg>
      <pc:sldChg chg="addSp delSp modSp add mod">
        <pc:chgData name="Aurelien Domont" userId="6da7715ce44349b3" providerId="LiveId" clId="{8E2F06EB-BABF-4502-A8C6-B9F342B7D723}" dt="2023-11-02T05:15:39.991" v="1890" actId="207"/>
        <pc:sldMkLst>
          <pc:docMk/>
          <pc:sldMk cId="779593192" sldId="2585"/>
        </pc:sldMkLst>
        <pc:spChg chg="mod ord">
          <ac:chgData name="Aurelien Domont" userId="6da7715ce44349b3" providerId="LiveId" clId="{8E2F06EB-BABF-4502-A8C6-B9F342B7D723}" dt="2023-11-02T05:15:10.711" v="1852"/>
          <ac:spMkLst>
            <pc:docMk/>
            <pc:sldMk cId="779593192" sldId="2585"/>
            <ac:spMk id="2" creationId="{1AA45297-01DD-7BAA-BC2B-C1A071177C62}"/>
          </ac:spMkLst>
        </pc:spChg>
        <pc:spChg chg="mod ord">
          <ac:chgData name="Aurelien Domont" userId="6da7715ce44349b3" providerId="LiveId" clId="{8E2F06EB-BABF-4502-A8C6-B9F342B7D723}" dt="2023-11-02T05:15:10.711" v="1854"/>
          <ac:spMkLst>
            <pc:docMk/>
            <pc:sldMk cId="779593192" sldId="2585"/>
            <ac:spMk id="3" creationId="{455C4CB7-3A6E-1C6D-A5DC-85FF1DBEEFBE}"/>
          </ac:spMkLst>
        </pc:spChg>
        <pc:spChg chg="mod ord">
          <ac:chgData name="Aurelien Domont" userId="6da7715ce44349b3" providerId="LiveId" clId="{8E2F06EB-BABF-4502-A8C6-B9F342B7D723}" dt="2023-11-02T05:15:10.711" v="1856"/>
          <ac:spMkLst>
            <pc:docMk/>
            <pc:sldMk cId="779593192" sldId="2585"/>
            <ac:spMk id="4" creationId="{45F72233-3239-AC16-5E4B-9AFA74C33C01}"/>
          </ac:spMkLst>
        </pc:spChg>
        <pc:spChg chg="del">
          <ac:chgData name="Aurelien Domont" userId="6da7715ce44349b3" providerId="LiveId" clId="{8E2F06EB-BABF-4502-A8C6-B9F342B7D723}" dt="2023-11-02T05:12:47.909" v="1796" actId="478"/>
          <ac:spMkLst>
            <pc:docMk/>
            <pc:sldMk cId="779593192" sldId="2585"/>
            <ac:spMk id="5" creationId="{A4CB2208-0469-9EEF-B7A3-A60F5D660F05}"/>
          </ac:spMkLst>
        </pc:spChg>
        <pc:spChg chg="add mod ord">
          <ac:chgData name="Aurelien Domont" userId="6da7715ce44349b3" providerId="LiveId" clId="{8E2F06EB-BABF-4502-A8C6-B9F342B7D723}" dt="2023-11-02T05:15:10.711" v="1862"/>
          <ac:spMkLst>
            <pc:docMk/>
            <pc:sldMk cId="779593192" sldId="2585"/>
            <ac:spMk id="7" creationId="{DC95875F-6BE9-4FEE-C1FF-E482FBE296B1}"/>
          </ac:spMkLst>
        </pc:spChg>
        <pc:spChg chg="del">
          <ac:chgData name="Aurelien Domont" userId="6da7715ce44349b3" providerId="LiveId" clId="{8E2F06EB-BABF-4502-A8C6-B9F342B7D723}" dt="2023-11-02T05:12:47.909" v="1796" actId="478"/>
          <ac:spMkLst>
            <pc:docMk/>
            <pc:sldMk cId="779593192" sldId="2585"/>
            <ac:spMk id="8" creationId="{CAC63474-BF61-E377-2E79-A74C3A9F033B}"/>
          </ac:spMkLst>
        </pc:spChg>
        <pc:spChg chg="add mod ord">
          <ac:chgData name="Aurelien Domont" userId="6da7715ce44349b3" providerId="LiveId" clId="{8E2F06EB-BABF-4502-A8C6-B9F342B7D723}" dt="2023-11-02T05:15:10.711" v="1864"/>
          <ac:spMkLst>
            <pc:docMk/>
            <pc:sldMk cId="779593192" sldId="2585"/>
            <ac:spMk id="9" creationId="{4F3B7B55-5FBC-1E02-3DC4-A5C4678DAEEB}"/>
          </ac:spMkLst>
        </pc:spChg>
        <pc:spChg chg="del">
          <ac:chgData name="Aurelien Domont" userId="6da7715ce44349b3" providerId="LiveId" clId="{8E2F06EB-BABF-4502-A8C6-B9F342B7D723}" dt="2023-11-02T05:12:47.909" v="1796" actId="478"/>
          <ac:spMkLst>
            <pc:docMk/>
            <pc:sldMk cId="779593192" sldId="2585"/>
            <ac:spMk id="10" creationId="{9867D1B3-68CD-4EB8-1966-4E2650A08401}"/>
          </ac:spMkLst>
        </pc:spChg>
        <pc:spChg chg="add mod ord">
          <ac:chgData name="Aurelien Domont" userId="6da7715ce44349b3" providerId="LiveId" clId="{8E2F06EB-BABF-4502-A8C6-B9F342B7D723}" dt="2023-11-02T05:15:10.711" v="1866"/>
          <ac:spMkLst>
            <pc:docMk/>
            <pc:sldMk cId="779593192" sldId="2585"/>
            <ac:spMk id="11" creationId="{F9F2A230-E365-9762-7542-514E74F2831F}"/>
          </ac:spMkLst>
        </pc:spChg>
        <pc:spChg chg="del">
          <ac:chgData name="Aurelien Domont" userId="6da7715ce44349b3" providerId="LiveId" clId="{8E2F06EB-BABF-4502-A8C6-B9F342B7D723}" dt="2023-11-02T05:12:47.909" v="1796" actId="478"/>
          <ac:spMkLst>
            <pc:docMk/>
            <pc:sldMk cId="779593192" sldId="2585"/>
            <ac:spMk id="16" creationId="{309B3FC6-5501-97FA-0532-DEE7B823B95D}"/>
          </ac:spMkLst>
        </pc:spChg>
        <pc:spChg chg="del">
          <ac:chgData name="Aurelien Domont" userId="6da7715ce44349b3" providerId="LiveId" clId="{8E2F06EB-BABF-4502-A8C6-B9F342B7D723}" dt="2023-11-02T05:12:47.909" v="1796" actId="478"/>
          <ac:spMkLst>
            <pc:docMk/>
            <pc:sldMk cId="779593192" sldId="2585"/>
            <ac:spMk id="17" creationId="{94BBA31E-A9CA-F21C-FE31-5AF3C0E5263D}"/>
          </ac:spMkLst>
        </pc:spChg>
        <pc:spChg chg="del">
          <ac:chgData name="Aurelien Domont" userId="6da7715ce44349b3" providerId="LiveId" clId="{8E2F06EB-BABF-4502-A8C6-B9F342B7D723}" dt="2023-11-02T05:12:47.909" v="1796" actId="478"/>
          <ac:spMkLst>
            <pc:docMk/>
            <pc:sldMk cId="779593192" sldId="2585"/>
            <ac:spMk id="18" creationId="{95102C61-9B29-2BD2-B6C4-4B607DDFB9D9}"/>
          </ac:spMkLst>
        </pc:spChg>
        <pc:spChg chg="add mod ord">
          <ac:chgData name="Aurelien Domont" userId="6da7715ce44349b3" providerId="LiveId" clId="{8E2F06EB-BABF-4502-A8C6-B9F342B7D723}" dt="2023-11-02T05:15:34.591" v="1888" actId="207"/>
          <ac:spMkLst>
            <pc:docMk/>
            <pc:sldMk cId="779593192" sldId="2585"/>
            <ac:spMk id="19" creationId="{8DFB796A-9485-BA49-2787-DDE462DEBAE9}"/>
          </ac:spMkLst>
        </pc:spChg>
        <pc:spChg chg="del mod ord">
          <ac:chgData name="Aurelien Domont" userId="6da7715ce44349b3" providerId="LiveId" clId="{8E2F06EB-BABF-4502-A8C6-B9F342B7D723}" dt="2023-11-02T05:15:31.183" v="1886" actId="478"/>
          <ac:spMkLst>
            <pc:docMk/>
            <pc:sldMk cId="779593192" sldId="2585"/>
            <ac:spMk id="20" creationId="{C3339BBC-E5A9-CEBF-B27A-55700D832CBF}"/>
          </ac:spMkLst>
        </pc:spChg>
        <pc:spChg chg="add mod ord">
          <ac:chgData name="Aurelien Domont" userId="6da7715ce44349b3" providerId="LiveId" clId="{8E2F06EB-BABF-4502-A8C6-B9F342B7D723}" dt="2023-11-02T05:15:37.093" v="1889" actId="207"/>
          <ac:spMkLst>
            <pc:docMk/>
            <pc:sldMk cId="779593192" sldId="2585"/>
            <ac:spMk id="21" creationId="{A93B2AB4-3A96-ECA3-012A-BC39D4E146E1}"/>
          </ac:spMkLst>
        </pc:spChg>
        <pc:spChg chg="add mod ord">
          <ac:chgData name="Aurelien Domont" userId="6da7715ce44349b3" providerId="LiveId" clId="{8E2F06EB-BABF-4502-A8C6-B9F342B7D723}" dt="2023-11-02T05:15:39.991" v="1890" actId="207"/>
          <ac:spMkLst>
            <pc:docMk/>
            <pc:sldMk cId="779593192" sldId="2585"/>
            <ac:spMk id="22" creationId="{4684D2D0-FFE0-7F73-CFD7-92B53AE3EFA9}"/>
          </ac:spMkLst>
        </pc:spChg>
        <pc:spChg chg="add del mod ord">
          <ac:chgData name="Aurelien Domont" userId="6da7715ce44349b3" providerId="LiveId" clId="{8E2F06EB-BABF-4502-A8C6-B9F342B7D723}" dt="2023-11-02T05:15:22.564" v="1884" actId="478"/>
          <ac:spMkLst>
            <pc:docMk/>
            <pc:sldMk cId="779593192" sldId="2585"/>
            <ac:spMk id="23" creationId="{872D4FDC-C072-8561-18DC-AF18A0CCB3A5}"/>
          </ac:spMkLst>
        </pc:spChg>
        <pc:spChg chg="add del mod modVis">
          <ac:chgData name="Aurelien Domont" userId="6da7715ce44349b3" providerId="LiveId" clId="{8E2F06EB-BABF-4502-A8C6-B9F342B7D723}" dt="2023-11-02T05:15:10.731" v="1880"/>
          <ac:spMkLst>
            <pc:docMk/>
            <pc:sldMk cId="779593192" sldId="2585"/>
            <ac:spMk id="24" creationId="{68D43CCB-970C-D199-04CC-C7223F8677C2}"/>
          </ac:spMkLst>
        </pc:spChg>
        <pc:spChg chg="mod ord">
          <ac:chgData name="Aurelien Domont" userId="6da7715ce44349b3" providerId="LiveId" clId="{8E2F06EB-BABF-4502-A8C6-B9F342B7D723}" dt="2023-11-02T05:15:10.711" v="1858"/>
          <ac:spMkLst>
            <pc:docMk/>
            <pc:sldMk cId="779593192" sldId="2585"/>
            <ac:spMk id="25" creationId="{3FC112ED-67F2-A835-E5E8-34BE1FE8E8A3}"/>
          </ac:spMkLst>
        </pc:spChg>
        <pc:spChg chg="add del mod">
          <ac:chgData name="Aurelien Domont" userId="6da7715ce44349b3" providerId="LiveId" clId="{8E2F06EB-BABF-4502-A8C6-B9F342B7D723}" dt="2023-11-02T05:15:31.183" v="1886" actId="478"/>
          <ac:spMkLst>
            <pc:docMk/>
            <pc:sldMk cId="779593192" sldId="2585"/>
            <ac:spMk id="26" creationId="{0F69AE73-8F7C-B9B2-A2E6-7B746CA372A8}"/>
          </ac:spMkLst>
        </pc:spChg>
        <pc:spChg chg="add mod">
          <ac:chgData name="Aurelien Domont" userId="6da7715ce44349b3" providerId="LiveId" clId="{8E2F06EB-BABF-4502-A8C6-B9F342B7D723}" dt="2023-11-02T05:15:31.580" v="1887"/>
          <ac:spMkLst>
            <pc:docMk/>
            <pc:sldMk cId="779593192" sldId="2585"/>
            <ac:spMk id="27" creationId="{7CB545CD-E5BB-B0E1-B6BC-CD3B288C2F72}"/>
          </ac:spMkLst>
        </pc:spChg>
        <pc:graphicFrameChg chg="mod">
          <ac:chgData name="Aurelien Domont" userId="6da7715ce44349b3" providerId="LiveId" clId="{8E2F06EB-BABF-4502-A8C6-B9F342B7D723}" dt="2023-11-02T05:15:10.731" v="1882"/>
          <ac:graphicFrameMkLst>
            <pc:docMk/>
            <pc:sldMk cId="779593192" sldId="2585"/>
            <ac:graphicFrameMk id="6" creationId="{CF81000D-C6FE-7066-A8C3-543AC9C1F4A6}"/>
          </ac:graphicFrameMkLst>
        </pc:graphicFrameChg>
        <pc:cxnChg chg="add mod ord">
          <ac:chgData name="Aurelien Domont" userId="6da7715ce44349b3" providerId="LiveId" clId="{8E2F06EB-BABF-4502-A8C6-B9F342B7D723}" dt="2023-11-02T05:15:10.711" v="1868"/>
          <ac:cxnSpMkLst>
            <pc:docMk/>
            <pc:sldMk cId="779593192" sldId="2585"/>
            <ac:cxnSpMk id="12" creationId="{ACF792CD-C14E-4623-0764-7AC98FEC9B7A}"/>
          </ac:cxnSpMkLst>
        </pc:cxnChg>
        <pc:cxnChg chg="add mod ord">
          <ac:chgData name="Aurelien Domont" userId="6da7715ce44349b3" providerId="LiveId" clId="{8E2F06EB-BABF-4502-A8C6-B9F342B7D723}" dt="2023-11-02T05:15:10.727" v="1870"/>
          <ac:cxnSpMkLst>
            <pc:docMk/>
            <pc:sldMk cId="779593192" sldId="2585"/>
            <ac:cxnSpMk id="13" creationId="{FB2DDD11-2980-348D-5402-6F8CE28C4BC7}"/>
          </ac:cxnSpMkLst>
        </pc:cxnChg>
        <pc:cxnChg chg="del">
          <ac:chgData name="Aurelien Domont" userId="6da7715ce44349b3" providerId="LiveId" clId="{8E2F06EB-BABF-4502-A8C6-B9F342B7D723}" dt="2023-11-02T05:12:47.909" v="1796" actId="478"/>
          <ac:cxnSpMkLst>
            <pc:docMk/>
            <pc:sldMk cId="779593192" sldId="2585"/>
            <ac:cxnSpMk id="14" creationId="{4E547DEF-A037-F1AD-7A19-F4C9A044763E}"/>
          </ac:cxnSpMkLst>
        </pc:cxnChg>
        <pc:cxnChg chg="del">
          <ac:chgData name="Aurelien Domont" userId="6da7715ce44349b3" providerId="LiveId" clId="{8E2F06EB-BABF-4502-A8C6-B9F342B7D723}" dt="2023-11-02T05:12:47.909" v="1796" actId="478"/>
          <ac:cxnSpMkLst>
            <pc:docMk/>
            <pc:sldMk cId="779593192" sldId="2585"/>
            <ac:cxnSpMk id="15" creationId="{80F59535-B4BC-311D-6F14-90793051FAC7}"/>
          </ac:cxnSpMkLst>
        </pc:cxnChg>
      </pc:sldChg>
    </pc:docChg>
  </pc:docChgLst>
  <pc:docChgLst>
    <pc:chgData name="Aurelien Domont" userId="6da7715ce44349b3" providerId="LiveId" clId="{131BB8E8-1659-49D0-9117-5008174AAE79}"/>
    <pc:docChg chg="undo custSel addSld delSld modSld sldOrd addSection modSection replTag">
      <pc:chgData name="Aurelien Domont" userId="6da7715ce44349b3" providerId="LiveId" clId="{131BB8E8-1659-49D0-9117-5008174AAE79}" dt="2023-12-06T03:50:02.184" v="7531" actId="2"/>
      <pc:docMkLst>
        <pc:docMk/>
      </pc:docMkLst>
      <pc:sldChg chg="modSp mod">
        <pc:chgData name="Aurelien Domont" userId="6da7715ce44349b3" providerId="LiveId" clId="{131BB8E8-1659-49D0-9117-5008174AAE79}" dt="2023-12-04T23:59:52.792" v="1456" actId="20577"/>
        <pc:sldMkLst>
          <pc:docMk/>
          <pc:sldMk cId="3956982643" sldId="526"/>
        </pc:sldMkLst>
        <pc:spChg chg="mod">
          <ac:chgData name="Aurelien Domont" userId="6da7715ce44349b3" providerId="LiveId" clId="{131BB8E8-1659-49D0-9117-5008174AAE79}" dt="2023-12-04T23:59:52.792" v="1456" actId="20577"/>
          <ac:spMkLst>
            <pc:docMk/>
            <pc:sldMk cId="3956982643" sldId="526"/>
            <ac:spMk id="2" creationId="{F431BC18-A461-9459-FF13-870ACCC7D4F5}"/>
          </ac:spMkLst>
        </pc:spChg>
      </pc:sldChg>
      <pc:sldChg chg="addSp delSp modSp mod">
        <pc:chgData name="Aurelien Domont" userId="6da7715ce44349b3" providerId="LiveId" clId="{131BB8E8-1659-49D0-9117-5008174AAE79}" dt="2023-12-06T03:34:20.563" v="7481" actId="478"/>
        <pc:sldMkLst>
          <pc:docMk/>
          <pc:sldMk cId="3272444503" sldId="2162"/>
        </pc:sldMkLst>
        <pc:spChg chg="del">
          <ac:chgData name="Aurelien Domont" userId="6da7715ce44349b3" providerId="LiveId" clId="{131BB8E8-1659-49D0-9117-5008174AAE79}" dt="2023-12-06T03:34:20.563" v="7481" actId="478"/>
          <ac:spMkLst>
            <pc:docMk/>
            <pc:sldMk cId="3272444503" sldId="2162"/>
            <ac:spMk id="2" creationId="{F10692F0-279B-30E4-10BC-9C653A3FD726}"/>
          </ac:spMkLst>
        </pc:spChg>
        <pc:spChg chg="add del mod">
          <ac:chgData name="Aurelien Domont" userId="6da7715ce44349b3" providerId="LiveId" clId="{131BB8E8-1659-49D0-9117-5008174AAE79}" dt="2023-12-06T03:22:31.562" v="7018" actId="478"/>
          <ac:spMkLst>
            <pc:docMk/>
            <pc:sldMk cId="3272444503" sldId="2162"/>
            <ac:spMk id="5" creationId="{4C5648DD-8607-84CD-2025-8C2F8090CE36}"/>
          </ac:spMkLst>
        </pc:spChg>
        <pc:spChg chg="mod">
          <ac:chgData name="Aurelien Domont" userId="6da7715ce44349b3" providerId="LiveId" clId="{131BB8E8-1659-49D0-9117-5008174AAE79}" dt="2023-12-06T03:33:49.340" v="7480" actId="113"/>
          <ac:spMkLst>
            <pc:docMk/>
            <pc:sldMk cId="3272444503" sldId="2162"/>
            <ac:spMk id="6" creationId="{22D27BA3-CC85-4DD2-AEDB-C22AC367D60A}"/>
          </ac:spMkLst>
        </pc:spChg>
        <pc:spChg chg="add del mod">
          <ac:chgData name="Aurelien Domont" userId="6da7715ce44349b3" providerId="LiveId" clId="{131BB8E8-1659-49D0-9117-5008174AAE79}" dt="2023-12-06T03:25:52.442" v="7111" actId="478"/>
          <ac:spMkLst>
            <pc:docMk/>
            <pc:sldMk cId="3272444503" sldId="2162"/>
            <ac:spMk id="7" creationId="{BEDC7225-7F94-E054-6911-749C96881F92}"/>
          </ac:spMkLst>
        </pc:spChg>
        <pc:spChg chg="add del mod">
          <ac:chgData name="Aurelien Domont" userId="6da7715ce44349b3" providerId="LiveId" clId="{131BB8E8-1659-49D0-9117-5008174AAE79}" dt="2023-12-06T03:28:16.919" v="7202" actId="478"/>
          <ac:spMkLst>
            <pc:docMk/>
            <pc:sldMk cId="3272444503" sldId="2162"/>
            <ac:spMk id="8" creationId="{0F368135-93C8-7489-189F-2F529AA7DE7A}"/>
          </ac:spMkLst>
        </pc:spChg>
        <pc:spChg chg="add del mod">
          <ac:chgData name="Aurelien Domont" userId="6da7715ce44349b3" providerId="LiveId" clId="{131BB8E8-1659-49D0-9117-5008174AAE79}" dt="2023-12-06T03:30:26.114" v="7297" actId="478"/>
          <ac:spMkLst>
            <pc:docMk/>
            <pc:sldMk cId="3272444503" sldId="2162"/>
            <ac:spMk id="9" creationId="{6A451098-08F9-1FA8-713C-A95D5782627B}"/>
          </ac:spMkLst>
        </pc:spChg>
      </pc:sldChg>
      <pc:sldChg chg="modSp mod">
        <pc:chgData name="Aurelien Domont" userId="6da7715ce44349b3" providerId="LiveId" clId="{131BB8E8-1659-49D0-9117-5008174AAE79}" dt="2023-12-06T03:50:02.184" v="7531" actId="2"/>
        <pc:sldMkLst>
          <pc:docMk/>
          <pc:sldMk cId="1209091634" sldId="2338"/>
        </pc:sldMkLst>
        <pc:spChg chg="mod">
          <ac:chgData name="Aurelien Domont" userId="6da7715ce44349b3" providerId="LiveId" clId="{131BB8E8-1659-49D0-9117-5008174AAE79}" dt="2023-12-06T03:45:40.102" v="7519" actId="20577"/>
          <ac:spMkLst>
            <pc:docMk/>
            <pc:sldMk cId="1209091634" sldId="2338"/>
            <ac:spMk id="14" creationId="{4A437ECF-467E-1AD6-2C2E-4087FF953203}"/>
          </ac:spMkLst>
        </pc:spChg>
        <pc:spChg chg="mod">
          <ac:chgData name="Aurelien Domont" userId="6da7715ce44349b3" providerId="LiveId" clId="{131BB8E8-1659-49D0-9117-5008174AAE79}" dt="2023-12-06T03:45:42.787" v="7521" actId="20577"/>
          <ac:spMkLst>
            <pc:docMk/>
            <pc:sldMk cId="1209091634" sldId="2338"/>
            <ac:spMk id="15" creationId="{777600B6-F58C-3E6A-BB6D-D47C974412BF}"/>
          </ac:spMkLst>
        </pc:spChg>
        <pc:spChg chg="mod">
          <ac:chgData name="Aurelien Domont" userId="6da7715ce44349b3" providerId="LiveId" clId="{131BB8E8-1659-49D0-9117-5008174AAE79}" dt="2023-12-06T03:35:51.248" v="7489" actId="20577"/>
          <ac:spMkLst>
            <pc:docMk/>
            <pc:sldMk cId="1209091634" sldId="2338"/>
            <ac:spMk id="17" creationId="{FE597C27-D46E-623C-682B-08389CD25348}"/>
          </ac:spMkLst>
        </pc:spChg>
        <pc:spChg chg="mod">
          <ac:chgData name="Aurelien Domont" userId="6da7715ce44349b3" providerId="LiveId" clId="{131BB8E8-1659-49D0-9117-5008174AAE79}" dt="2023-12-06T03:50:01.131" v="7530" actId="2"/>
          <ac:spMkLst>
            <pc:docMk/>
            <pc:sldMk cId="1209091634" sldId="2338"/>
            <ac:spMk id="18" creationId="{4D320F2E-6201-9947-D452-66AFE8B758E1}"/>
          </ac:spMkLst>
        </pc:spChg>
        <pc:spChg chg="mod">
          <ac:chgData name="Aurelien Domont" userId="6da7715ce44349b3" providerId="LiveId" clId="{131BB8E8-1659-49D0-9117-5008174AAE79}" dt="2023-12-06T03:50:02.184" v="7531" actId="2"/>
          <ac:spMkLst>
            <pc:docMk/>
            <pc:sldMk cId="1209091634" sldId="2338"/>
            <ac:spMk id="24" creationId="{BAA9348D-3B76-CAB3-5A04-7493B1BF62D0}"/>
          </ac:spMkLst>
        </pc:spChg>
      </pc:sldChg>
      <pc:sldChg chg="add del">
        <pc:chgData name="Aurelien Domont" userId="6da7715ce44349b3" providerId="LiveId" clId="{131BB8E8-1659-49D0-9117-5008174AAE79}" dt="2023-12-06T03:11:19.292" v="6741"/>
        <pc:sldMkLst>
          <pc:docMk/>
          <pc:sldMk cId="2695188363" sldId="2416"/>
        </pc:sldMkLst>
      </pc:sldChg>
      <pc:sldChg chg="del">
        <pc:chgData name="Aurelien Domont" userId="6da7715ce44349b3" providerId="LiveId" clId="{131BB8E8-1659-49D0-9117-5008174AAE79}" dt="2023-12-06T03:14:46.543" v="6886" actId="47"/>
        <pc:sldMkLst>
          <pc:docMk/>
          <pc:sldMk cId="4078591124" sldId="2557"/>
        </pc:sldMkLst>
      </pc:sldChg>
      <pc:sldChg chg="del">
        <pc:chgData name="Aurelien Domont" userId="6da7715ce44349b3" providerId="LiveId" clId="{131BB8E8-1659-49D0-9117-5008174AAE79}" dt="2023-12-06T03:14:46.543" v="6886" actId="47"/>
        <pc:sldMkLst>
          <pc:docMk/>
          <pc:sldMk cId="2304312946" sldId="2558"/>
        </pc:sldMkLst>
      </pc:sldChg>
      <pc:sldChg chg="addSp delSp modSp mod">
        <pc:chgData name="Aurelien Domont" userId="6da7715ce44349b3" providerId="LiveId" clId="{131BB8E8-1659-49D0-9117-5008174AAE79}" dt="2023-12-06T02:40:47.968" v="5962" actId="20577"/>
        <pc:sldMkLst>
          <pc:docMk/>
          <pc:sldMk cId="862292938" sldId="2560"/>
        </pc:sldMkLst>
        <pc:spChg chg="mod">
          <ac:chgData name="Aurelien Domont" userId="6da7715ce44349b3" providerId="LiveId" clId="{131BB8E8-1659-49D0-9117-5008174AAE79}" dt="2023-12-06T02:25:50.038" v="4177" actId="948"/>
          <ac:spMkLst>
            <pc:docMk/>
            <pc:sldMk cId="862292938" sldId="2560"/>
            <ac:spMk id="2" creationId="{F7C4AEFD-F24A-61C6-413F-137EBECACF93}"/>
          </ac:spMkLst>
        </pc:spChg>
        <pc:spChg chg="add del mod modVis">
          <ac:chgData name="Aurelien Domont" userId="6da7715ce44349b3" providerId="LiveId" clId="{131BB8E8-1659-49D0-9117-5008174AAE79}" dt="2023-12-06T02:25:11.029" v="3875"/>
          <ac:spMkLst>
            <pc:docMk/>
            <pc:sldMk cId="862292938" sldId="2560"/>
            <ac:spMk id="3" creationId="{7C68CD31-3E81-2D34-721B-8F5AE66A950C}"/>
          </ac:spMkLst>
        </pc:spChg>
        <pc:spChg chg="add del mod modVis">
          <ac:chgData name="Aurelien Domont" userId="6da7715ce44349b3" providerId="LiveId" clId="{131BB8E8-1659-49D0-9117-5008174AAE79}" dt="2023-12-06T02:25:12.398" v="3913"/>
          <ac:spMkLst>
            <pc:docMk/>
            <pc:sldMk cId="862292938" sldId="2560"/>
            <ac:spMk id="4" creationId="{6E3C44D8-6581-B4BA-9455-CC9D649197A0}"/>
          </ac:spMkLst>
        </pc:spChg>
        <pc:spChg chg="add del mod modVis">
          <ac:chgData name="Aurelien Domont" userId="6da7715ce44349b3" providerId="LiveId" clId="{131BB8E8-1659-49D0-9117-5008174AAE79}" dt="2023-12-06T02:25:13.091" v="3949"/>
          <ac:spMkLst>
            <pc:docMk/>
            <pc:sldMk cId="862292938" sldId="2560"/>
            <ac:spMk id="5" creationId="{D7F64B9F-C230-948A-A6AF-A582604A6EC9}"/>
          </ac:spMkLst>
        </pc:spChg>
        <pc:spChg chg="add del mod modVis">
          <ac:chgData name="Aurelien Domont" userId="6da7715ce44349b3" providerId="LiveId" clId="{131BB8E8-1659-49D0-9117-5008174AAE79}" dt="2023-12-06T02:25:31.655" v="3988"/>
          <ac:spMkLst>
            <pc:docMk/>
            <pc:sldMk cId="862292938" sldId="2560"/>
            <ac:spMk id="7" creationId="{01F26765-293E-0BE1-71E0-2B37F1658D45}"/>
          </ac:spMkLst>
        </pc:spChg>
        <pc:spChg chg="add del mod modVis">
          <ac:chgData name="Aurelien Domont" userId="6da7715ce44349b3" providerId="LiveId" clId="{131BB8E8-1659-49D0-9117-5008174AAE79}" dt="2023-12-06T02:25:36.309" v="4025"/>
          <ac:spMkLst>
            <pc:docMk/>
            <pc:sldMk cId="862292938" sldId="2560"/>
            <ac:spMk id="8" creationId="{77496DDB-029A-C3B7-798F-1E5008EBD176}"/>
          </ac:spMkLst>
        </pc:spChg>
        <pc:spChg chg="add del mod modVis">
          <ac:chgData name="Aurelien Domont" userId="6da7715ce44349b3" providerId="LiveId" clId="{131BB8E8-1659-49D0-9117-5008174AAE79}" dt="2023-12-06T02:25:37.001" v="4061"/>
          <ac:spMkLst>
            <pc:docMk/>
            <pc:sldMk cId="862292938" sldId="2560"/>
            <ac:spMk id="9" creationId="{7BE9D46E-853C-36D8-4B49-0BAA46B32749}"/>
          </ac:spMkLst>
        </pc:spChg>
        <pc:spChg chg="add del mod modVis">
          <ac:chgData name="Aurelien Domont" userId="6da7715ce44349b3" providerId="LiveId" clId="{131BB8E8-1659-49D0-9117-5008174AAE79}" dt="2023-12-06T02:25:41.393" v="4099"/>
          <ac:spMkLst>
            <pc:docMk/>
            <pc:sldMk cId="862292938" sldId="2560"/>
            <ac:spMk id="10" creationId="{3D9CD0BF-593F-6990-353B-E129CE752C7A}"/>
          </ac:spMkLst>
        </pc:spChg>
        <pc:spChg chg="add del mod modVis">
          <ac:chgData name="Aurelien Domont" userId="6da7715ce44349b3" providerId="LiveId" clId="{131BB8E8-1659-49D0-9117-5008174AAE79}" dt="2023-12-06T02:25:42.651" v="4136"/>
          <ac:spMkLst>
            <pc:docMk/>
            <pc:sldMk cId="862292938" sldId="2560"/>
            <ac:spMk id="11" creationId="{6905316A-7915-A11A-6643-4F014CA42DD6}"/>
          </ac:spMkLst>
        </pc:spChg>
        <pc:spChg chg="add del mod modVis">
          <ac:chgData name="Aurelien Domont" userId="6da7715ce44349b3" providerId="LiveId" clId="{131BB8E8-1659-49D0-9117-5008174AAE79}" dt="2023-12-06T02:25:43.342" v="4172"/>
          <ac:spMkLst>
            <pc:docMk/>
            <pc:sldMk cId="862292938" sldId="2560"/>
            <ac:spMk id="12" creationId="{4FCA2B0C-05A2-8CFF-0459-461EDF6506D4}"/>
          </ac:spMkLst>
        </pc:spChg>
        <pc:spChg chg="add del mod modVis">
          <ac:chgData name="Aurelien Domont" userId="6da7715ce44349b3" providerId="LiveId" clId="{131BB8E8-1659-49D0-9117-5008174AAE79}" dt="2023-12-06T02:25:50.084" v="4209"/>
          <ac:spMkLst>
            <pc:docMk/>
            <pc:sldMk cId="862292938" sldId="2560"/>
            <ac:spMk id="18" creationId="{0FE317FA-7374-0749-7459-ECE28CE9D2E1}"/>
          </ac:spMkLst>
        </pc:spChg>
        <pc:spChg chg="mod">
          <ac:chgData name="Aurelien Domont" userId="6da7715ce44349b3" providerId="LiveId" clId="{131BB8E8-1659-49D0-9117-5008174AAE79}" dt="2023-12-06T02:40:47.968" v="5962" actId="20577"/>
          <ac:spMkLst>
            <pc:docMk/>
            <pc:sldMk cId="862292938" sldId="2560"/>
            <ac:spMk id="68" creationId="{6EF07348-B887-1E63-314E-8D5065886A79}"/>
          </ac:spMkLst>
        </pc:spChg>
        <pc:graphicFrameChg chg="mod">
          <ac:chgData name="Aurelien Domont" userId="6da7715ce44349b3" providerId="LiveId" clId="{131BB8E8-1659-49D0-9117-5008174AAE79}" dt="2023-12-06T02:25:50.084" v="4211"/>
          <ac:graphicFrameMkLst>
            <pc:docMk/>
            <pc:sldMk cId="862292938" sldId="2560"/>
            <ac:graphicFrameMk id="6" creationId="{C74B90F8-16E2-149E-13EF-2AEEB8172E8E}"/>
          </ac:graphicFrameMkLst>
        </pc:graphicFrameChg>
      </pc:sldChg>
      <pc:sldChg chg="del">
        <pc:chgData name="Aurelien Domont" userId="6da7715ce44349b3" providerId="LiveId" clId="{131BB8E8-1659-49D0-9117-5008174AAE79}" dt="2023-12-06T03:15:09.089" v="6887" actId="47"/>
        <pc:sldMkLst>
          <pc:docMk/>
          <pc:sldMk cId="416818066" sldId="3284"/>
        </pc:sldMkLst>
      </pc:sldChg>
      <pc:sldChg chg="del">
        <pc:chgData name="Aurelien Domont" userId="6da7715ce44349b3" providerId="LiveId" clId="{131BB8E8-1659-49D0-9117-5008174AAE79}" dt="2023-12-06T03:15:09.089" v="6887" actId="47"/>
        <pc:sldMkLst>
          <pc:docMk/>
          <pc:sldMk cId="498457531" sldId="3285"/>
        </pc:sldMkLst>
      </pc:sldChg>
      <pc:sldChg chg="del">
        <pc:chgData name="Aurelien Domont" userId="6da7715ce44349b3" providerId="LiveId" clId="{131BB8E8-1659-49D0-9117-5008174AAE79}" dt="2023-12-06T03:15:09.089" v="6887" actId="47"/>
        <pc:sldMkLst>
          <pc:docMk/>
          <pc:sldMk cId="2716070288" sldId="3286"/>
        </pc:sldMkLst>
      </pc:sldChg>
      <pc:sldChg chg="del">
        <pc:chgData name="Aurelien Domont" userId="6da7715ce44349b3" providerId="LiveId" clId="{131BB8E8-1659-49D0-9117-5008174AAE79}" dt="2023-12-06T03:15:09.089" v="6887" actId="47"/>
        <pc:sldMkLst>
          <pc:docMk/>
          <pc:sldMk cId="4113459810" sldId="3287"/>
        </pc:sldMkLst>
      </pc:sldChg>
      <pc:sldChg chg="modSp mod">
        <pc:chgData name="Aurelien Domont" userId="6da7715ce44349b3" providerId="LiveId" clId="{131BB8E8-1659-49D0-9117-5008174AAE79}" dt="2023-12-06T02:43:09.617" v="6029" actId="20577"/>
        <pc:sldMkLst>
          <pc:docMk/>
          <pc:sldMk cId="2246164536" sldId="3289"/>
        </pc:sldMkLst>
        <pc:spChg chg="mod">
          <ac:chgData name="Aurelien Domont" userId="6da7715ce44349b3" providerId="LiveId" clId="{131BB8E8-1659-49D0-9117-5008174AAE79}" dt="2023-12-06T02:43:09.617" v="6029" actId="20577"/>
          <ac:spMkLst>
            <pc:docMk/>
            <pc:sldMk cId="2246164536" sldId="3289"/>
            <ac:spMk id="5" creationId="{DC054480-D828-7B59-3328-48D130C91ED1}"/>
          </ac:spMkLst>
        </pc:spChg>
      </pc:sldChg>
      <pc:sldChg chg="del">
        <pc:chgData name="Aurelien Domont" userId="6da7715ce44349b3" providerId="LiveId" clId="{131BB8E8-1659-49D0-9117-5008174AAE79}" dt="2023-12-06T03:14:46.543" v="6886" actId="47"/>
        <pc:sldMkLst>
          <pc:docMk/>
          <pc:sldMk cId="3022929388" sldId="3290"/>
        </pc:sldMkLst>
      </pc:sldChg>
      <pc:sldChg chg="del">
        <pc:chgData name="Aurelien Domont" userId="6da7715ce44349b3" providerId="LiveId" clId="{131BB8E8-1659-49D0-9117-5008174AAE79}" dt="2023-12-06T03:14:46.543" v="6886" actId="47"/>
        <pc:sldMkLst>
          <pc:docMk/>
          <pc:sldMk cId="3033454792" sldId="3291"/>
        </pc:sldMkLst>
      </pc:sldChg>
      <pc:sldChg chg="del">
        <pc:chgData name="Aurelien Domont" userId="6da7715ce44349b3" providerId="LiveId" clId="{131BB8E8-1659-49D0-9117-5008174AAE79}" dt="2023-12-06T03:15:12.103" v="6888" actId="47"/>
        <pc:sldMkLst>
          <pc:docMk/>
          <pc:sldMk cId="3005508325" sldId="3292"/>
        </pc:sldMkLst>
      </pc:sldChg>
      <pc:sldChg chg="del">
        <pc:chgData name="Aurelien Domont" userId="6da7715ce44349b3" providerId="LiveId" clId="{131BB8E8-1659-49D0-9117-5008174AAE79}" dt="2023-12-06T02:24:51.479" v="3839" actId="47"/>
        <pc:sldMkLst>
          <pc:docMk/>
          <pc:sldMk cId="2839640228" sldId="3294"/>
        </pc:sldMkLst>
      </pc:sldChg>
      <pc:sldChg chg="addSp delSp modSp del mod">
        <pc:chgData name="Aurelien Domont" userId="6da7715ce44349b3" providerId="LiveId" clId="{131BB8E8-1659-49D0-9117-5008174AAE79}" dt="2023-12-05T04:37:14.092" v="2411" actId="47"/>
        <pc:sldMkLst>
          <pc:docMk/>
          <pc:sldMk cId="4290400277" sldId="3296"/>
        </pc:sldMkLst>
        <pc:spChg chg="mod">
          <ac:chgData name="Aurelien Domont" userId="6da7715ce44349b3" providerId="LiveId" clId="{131BB8E8-1659-49D0-9117-5008174AAE79}" dt="2023-12-05T03:54:37.978" v="2408" actId="6549"/>
          <ac:spMkLst>
            <pc:docMk/>
            <pc:sldMk cId="4290400277" sldId="3296"/>
            <ac:spMk id="26" creationId="{F8D08909-F9C5-66B9-DBE5-21AF395F294F}"/>
          </ac:spMkLst>
        </pc:spChg>
        <pc:picChg chg="add del mod">
          <ac:chgData name="Aurelien Domont" userId="6da7715ce44349b3" providerId="LiveId" clId="{131BB8E8-1659-49D0-9117-5008174AAE79}" dt="2023-11-29T04:31:04.503" v="78" actId="21"/>
          <ac:picMkLst>
            <pc:docMk/>
            <pc:sldMk cId="4290400277" sldId="3296"/>
            <ac:picMk id="13" creationId="{A0C38418-DD43-9029-8DFE-287E3C02FC42}"/>
          </ac:picMkLst>
        </pc:picChg>
      </pc:sldChg>
      <pc:sldChg chg="addSp delSp modSp del mod">
        <pc:chgData name="Aurelien Domont" userId="6da7715ce44349b3" providerId="LiveId" clId="{131BB8E8-1659-49D0-9117-5008174AAE79}" dt="2023-11-30T02:16:07.089" v="1201" actId="47"/>
        <pc:sldMkLst>
          <pc:docMk/>
          <pc:sldMk cId="937810425" sldId="3297"/>
        </pc:sldMkLst>
        <pc:spChg chg="mod">
          <ac:chgData name="Aurelien Domont" userId="6da7715ce44349b3" providerId="LiveId" clId="{131BB8E8-1659-49D0-9117-5008174AAE79}" dt="2023-11-30T02:12:24.355" v="1121" actId="948"/>
          <ac:spMkLst>
            <pc:docMk/>
            <pc:sldMk cId="937810425" sldId="3297"/>
            <ac:spMk id="2" creationId="{12009DA8-0966-101B-E219-F283F194BD59}"/>
          </ac:spMkLst>
        </pc:spChg>
        <pc:spChg chg="add mod">
          <ac:chgData name="Aurelien Domont" userId="6da7715ce44349b3" providerId="LiveId" clId="{131BB8E8-1659-49D0-9117-5008174AAE79}" dt="2023-11-30T01:09:32.575" v="1004" actId="255"/>
          <ac:spMkLst>
            <pc:docMk/>
            <pc:sldMk cId="937810425" sldId="3297"/>
            <ac:spMk id="3" creationId="{1344A6CB-05DF-7EFE-6A4F-5326960A4224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3" creationId="{A9AD3861-6FA4-B3F4-F334-05F47222B5A4}"/>
          </ac:spMkLst>
        </pc:spChg>
        <pc:spChg chg="add del mod modVis">
          <ac:chgData name="Aurelien Domont" userId="6da7715ce44349b3" providerId="LiveId" clId="{131BB8E8-1659-49D0-9117-5008174AAE79}" dt="2023-11-30T00:51:26.913" v="729"/>
          <ac:spMkLst>
            <pc:docMk/>
            <pc:sldMk cId="937810425" sldId="3297"/>
            <ac:spMk id="4" creationId="{59BD82BC-35EA-5DE2-5F1D-5A5F9AA8C42F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4" creationId="{B2CAF000-1C65-ED69-7914-DC9BE4ABCFAB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5" creationId="{736E5DD6-0DCB-801F-5229-3552AFBAD71D}"/>
          </ac:spMkLst>
        </pc:spChg>
        <pc:spChg chg="add del mod modVis">
          <ac:chgData name="Aurelien Domont" userId="6da7715ce44349b3" providerId="LiveId" clId="{131BB8E8-1659-49D0-9117-5008174AAE79}" dt="2023-11-30T00:51:27.525" v="757"/>
          <ac:spMkLst>
            <pc:docMk/>
            <pc:sldMk cId="937810425" sldId="3297"/>
            <ac:spMk id="5" creationId="{8B78FA95-57BF-E358-5EA4-6DB965E94F9E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7" creationId="{51CEF7F3-3EA5-A7E9-CD47-74CEF1CBD3AA}"/>
          </ac:spMkLst>
        </pc:spChg>
        <pc:spChg chg="add mod">
          <ac:chgData name="Aurelien Domont" userId="6da7715ce44349b3" providerId="LiveId" clId="{131BB8E8-1659-49D0-9117-5008174AAE79}" dt="2023-11-30T01:10:06.492" v="1007" actId="1036"/>
          <ac:spMkLst>
            <pc:docMk/>
            <pc:sldMk cId="937810425" sldId="3297"/>
            <ac:spMk id="7" creationId="{FE3FDD9B-75FF-A85A-B583-5989E754BAD2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10" creationId="{9D924D83-E0FB-A14F-5F7E-459DC94AF895}"/>
          </ac:spMkLst>
        </pc:spChg>
        <pc:spChg chg="add del mod modVis">
          <ac:chgData name="Aurelien Domont" userId="6da7715ce44349b3" providerId="LiveId" clId="{131BB8E8-1659-49D0-9117-5008174AAE79}" dt="2023-11-29T04:26:48.869" v="30"/>
          <ac:spMkLst>
            <pc:docMk/>
            <pc:sldMk cId="937810425" sldId="3297"/>
            <ac:spMk id="11" creationId="{77CF4C43-6C0C-F90C-E588-93557601440B}"/>
          </ac:spMkLst>
        </pc:spChg>
        <pc:spChg chg="del">
          <ac:chgData name="Aurelien Domont" userId="6da7715ce44349b3" providerId="LiveId" clId="{131BB8E8-1659-49D0-9117-5008174AAE79}" dt="2023-11-29T04:26:14.376" v="0" actId="478"/>
          <ac:spMkLst>
            <pc:docMk/>
            <pc:sldMk cId="937810425" sldId="3297"/>
            <ac:spMk id="11" creationId="{BA82A173-8BCA-BA5A-6933-A4F2A01A68DC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12" creationId="{6CC29B79-EDF7-DA56-0AC2-AAC81EDFD10A}"/>
          </ac:spMkLst>
        </pc:spChg>
        <pc:spChg chg="add mod">
          <ac:chgData name="Aurelien Domont" userId="6da7715ce44349b3" providerId="LiveId" clId="{131BB8E8-1659-49D0-9117-5008174AAE79}" dt="2023-11-30T00:54:14.769" v="845" actId="571"/>
          <ac:spMkLst>
            <pc:docMk/>
            <pc:sldMk cId="937810425" sldId="3297"/>
            <ac:spMk id="12" creationId="{BC51187C-3FC3-BEBD-AE39-0085ECF7D6DD}"/>
          </ac:spMkLst>
        </pc:spChg>
        <pc:spChg chg="add mod">
          <ac:chgData name="Aurelien Domont" userId="6da7715ce44349b3" providerId="LiveId" clId="{131BB8E8-1659-49D0-9117-5008174AAE79}" dt="2023-11-30T00:54:23.347" v="848" actId="20577"/>
          <ac:spMkLst>
            <pc:docMk/>
            <pc:sldMk cId="937810425" sldId="3297"/>
            <ac:spMk id="13" creationId="{62EEBFBC-83B8-7DAD-6B14-D3BE025CACEE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13" creationId="{B0B67E99-DDD5-B3B0-8358-C2D579D3C6D1}"/>
          </ac:spMkLst>
        </pc:spChg>
        <pc:spChg chg="add del mod">
          <ac:chgData name="Aurelien Domont" userId="6da7715ce44349b3" providerId="LiveId" clId="{131BB8E8-1659-49D0-9117-5008174AAE79}" dt="2023-11-29T04:27:23.602" v="37" actId="478"/>
          <ac:spMkLst>
            <pc:docMk/>
            <pc:sldMk cId="937810425" sldId="3297"/>
            <ac:spMk id="14" creationId="{4ACDA195-DF74-EDD2-FA14-986AA14031C6}"/>
          </ac:spMkLst>
        </pc:spChg>
        <pc:spChg chg="add del mod">
          <ac:chgData name="Aurelien Domont" userId="6da7715ce44349b3" providerId="LiveId" clId="{131BB8E8-1659-49D0-9117-5008174AAE79}" dt="2023-11-30T00:54:20.671" v="847" actId="478"/>
          <ac:spMkLst>
            <pc:docMk/>
            <pc:sldMk cId="937810425" sldId="3297"/>
            <ac:spMk id="14" creationId="{C127AFC6-F393-E9C3-D159-9CFD8A31897C}"/>
          </ac:spMkLst>
        </pc:spChg>
        <pc:spChg chg="add mod">
          <ac:chgData name="Aurelien Domont" userId="6da7715ce44349b3" providerId="LiveId" clId="{131BB8E8-1659-49D0-9117-5008174AAE79}" dt="2023-11-30T01:09:32.575" v="1004" actId="255"/>
          <ac:spMkLst>
            <pc:docMk/>
            <pc:sldMk cId="937810425" sldId="3297"/>
            <ac:spMk id="15" creationId="{F95D053A-FBA3-610B-9BD1-F145684E3208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16" creationId="{388553C4-D6EA-A8A7-B651-E82BA0DB0480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21" creationId="{09C86D38-0597-742B-C33D-8F244E1CF2C7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22" creationId="{012BA78B-FA3C-012F-F9A9-78B59FE7FA64}"/>
          </ac:spMkLst>
        </pc:spChg>
        <pc:spChg chg="add mod">
          <ac:chgData name="Aurelien Domont" userId="6da7715ce44349b3" providerId="LiveId" clId="{131BB8E8-1659-49D0-9117-5008174AAE79}" dt="2023-11-30T02:14:07.070" v="1177" actId="14100"/>
          <ac:spMkLst>
            <pc:docMk/>
            <pc:sldMk cId="937810425" sldId="3297"/>
            <ac:spMk id="24" creationId="{2E819BAE-2B69-C19A-C55F-0E02F7BE605E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24" creationId="{F037AC9E-1ED9-DEF0-F514-3E9F432FEF26}"/>
          </ac:spMkLst>
        </pc:spChg>
        <pc:spChg chg="add mod">
          <ac:chgData name="Aurelien Domont" userId="6da7715ce44349b3" providerId="LiveId" clId="{131BB8E8-1659-49D0-9117-5008174AAE79}" dt="2023-11-30T02:14:07.070" v="1177" actId="14100"/>
          <ac:spMkLst>
            <pc:docMk/>
            <pc:sldMk cId="937810425" sldId="3297"/>
            <ac:spMk id="25" creationId="{494F9D9A-9C7B-4039-5508-73CF09BD236E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25" creationId="{AC2EE0FE-7F2E-7FC2-1816-49176A3E26E1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26" creationId="{F8D08909-F9C5-66B9-DBE5-21AF395F294F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27" creationId="{E76FFC16-84F0-0AD9-5B09-C2EBCFB94C77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28" creationId="{BBC89092-1176-2B8C-0694-1252D6EC5BB8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29" creationId="{CAA519A6-F8B8-612B-8DEC-2C1A98832D6D}"/>
          </ac:spMkLst>
        </pc:spChg>
        <pc:spChg chg="add del mod modVis">
          <ac:chgData name="Aurelien Domont" userId="6da7715ce44349b3" providerId="LiveId" clId="{131BB8E8-1659-49D0-9117-5008174AAE79}" dt="2023-11-30T02:12:24.387" v="1145"/>
          <ac:spMkLst>
            <pc:docMk/>
            <pc:sldMk cId="937810425" sldId="3297"/>
            <ac:spMk id="29" creationId="{E551CBD3-2ED6-1C3D-B6B4-FCF29ECE35E6}"/>
          </ac:spMkLst>
        </pc:spChg>
        <pc:spChg chg="add mod">
          <ac:chgData name="Aurelien Domont" userId="6da7715ce44349b3" providerId="LiveId" clId="{131BB8E8-1659-49D0-9117-5008174AAE79}" dt="2023-11-30T02:14:21.355" v="1195" actId="1037"/>
          <ac:spMkLst>
            <pc:docMk/>
            <pc:sldMk cId="937810425" sldId="3297"/>
            <ac:spMk id="30" creationId="{3142A629-52C8-BC84-0159-47E3BA371663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30" creationId="{C1F9CCFD-18AB-188E-7DD7-ABE2BE75DBE7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31" creationId="{1AC81146-0B13-8BA0-615D-4F2970937EC0}"/>
          </ac:spMkLst>
        </pc:spChg>
        <pc:spChg chg="add mod">
          <ac:chgData name="Aurelien Domont" userId="6da7715ce44349b3" providerId="LiveId" clId="{131BB8E8-1659-49D0-9117-5008174AAE79}" dt="2023-11-30T02:14:21.355" v="1195" actId="1037"/>
          <ac:spMkLst>
            <pc:docMk/>
            <pc:sldMk cId="937810425" sldId="3297"/>
            <ac:spMk id="31" creationId="{E1978435-C540-2E60-80ED-5F61F834CA95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32" creationId="{0B568A61-60CB-105A-C975-F0A6785BA5E7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38" creationId="{242492B8-FCBB-3640-C0E5-BBE2D6EA634B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40" creationId="{C71F5E4B-A265-CD5B-9011-6417C628431E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41" creationId="{6A2738C6-A615-733B-B594-EE20B9CD6746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42" creationId="{72BBCDC9-C214-08F4-C81B-E13DCBE9F6FE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43" creationId="{AA421F85-19F6-9C35-A2B1-57E421C18C7B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44" creationId="{1DDDCA4A-2B6F-BA1F-8278-26F3AADC1750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45" creationId="{772776BA-6100-A528-72EA-3B777185EB2E}"/>
          </ac:spMkLst>
        </pc:spChg>
        <pc:spChg chg="del">
          <ac:chgData name="Aurelien Domont" userId="6da7715ce44349b3" providerId="LiveId" clId="{131BB8E8-1659-49D0-9117-5008174AAE79}" dt="2023-11-29T04:26:52.150" v="33" actId="478"/>
          <ac:spMkLst>
            <pc:docMk/>
            <pc:sldMk cId="937810425" sldId="3297"/>
            <ac:spMk id="46" creationId="{31AA689B-8955-ED5A-4B2D-E38A169F1CCC}"/>
          </ac:spMkLst>
        </pc:spChg>
        <pc:spChg chg="add mod">
          <ac:chgData name="Aurelien Domont" userId="6da7715ce44349b3" providerId="LiveId" clId="{131BB8E8-1659-49D0-9117-5008174AAE79}" dt="2023-11-30T01:09:32.575" v="1004" actId="255"/>
          <ac:spMkLst>
            <pc:docMk/>
            <pc:sldMk cId="937810425" sldId="3297"/>
            <ac:spMk id="47" creationId="{9E4A6680-5025-FB6B-DA1A-B4A028F45B79}"/>
          </ac:spMkLst>
        </pc:spChg>
        <pc:spChg chg="add mod">
          <ac:chgData name="Aurelien Domont" userId="6da7715ce44349b3" providerId="LiveId" clId="{131BB8E8-1659-49D0-9117-5008174AAE79}" dt="2023-11-30T01:10:06.492" v="1007" actId="1036"/>
          <ac:spMkLst>
            <pc:docMk/>
            <pc:sldMk cId="937810425" sldId="3297"/>
            <ac:spMk id="48" creationId="{6E5CA747-2D26-66DD-BB96-9AAA8CC980AB}"/>
          </ac:spMkLst>
        </pc:spChg>
        <pc:spChg chg="add mod">
          <ac:chgData name="Aurelien Domont" userId="6da7715ce44349b3" providerId="LiveId" clId="{131BB8E8-1659-49D0-9117-5008174AAE79}" dt="2023-11-30T01:12:39.499" v="1008" actId="20577"/>
          <ac:spMkLst>
            <pc:docMk/>
            <pc:sldMk cId="937810425" sldId="3297"/>
            <ac:spMk id="49" creationId="{D000125F-0088-751F-E3A3-3ECDEF236824}"/>
          </ac:spMkLst>
        </pc:spChg>
        <pc:spChg chg="add mod">
          <ac:chgData name="Aurelien Domont" userId="6da7715ce44349b3" providerId="LiveId" clId="{131BB8E8-1659-49D0-9117-5008174AAE79}" dt="2023-11-30T02:11:23.203" v="1098" actId="20577"/>
          <ac:spMkLst>
            <pc:docMk/>
            <pc:sldMk cId="937810425" sldId="3297"/>
            <ac:spMk id="50" creationId="{F160A322-898E-E49B-D5D2-C8EE5E71D010}"/>
          </ac:spMkLst>
        </pc:spChg>
        <pc:spChg chg="add mod">
          <ac:chgData name="Aurelien Domont" userId="6da7715ce44349b3" providerId="LiveId" clId="{131BB8E8-1659-49D0-9117-5008174AAE79}" dt="2023-11-30T01:09:32.575" v="1004" actId="255"/>
          <ac:spMkLst>
            <pc:docMk/>
            <pc:sldMk cId="937810425" sldId="3297"/>
            <ac:spMk id="56" creationId="{485737D5-0CF3-9082-DA25-E5ED8220601A}"/>
          </ac:spMkLst>
        </pc:spChg>
        <pc:spChg chg="add mod">
          <ac:chgData name="Aurelien Domont" userId="6da7715ce44349b3" providerId="LiveId" clId="{131BB8E8-1659-49D0-9117-5008174AAE79}" dt="2023-11-29T04:28:45.958" v="65"/>
          <ac:spMkLst>
            <pc:docMk/>
            <pc:sldMk cId="937810425" sldId="3297"/>
            <ac:spMk id="57" creationId="{C2C15A32-7D55-DAB2-41C0-EA9AC96ADED7}"/>
          </ac:spMkLst>
        </pc:spChg>
        <pc:spChg chg="add mod">
          <ac:chgData name="Aurelien Domont" userId="6da7715ce44349b3" providerId="LiveId" clId="{131BB8E8-1659-49D0-9117-5008174AAE79}" dt="2023-11-30T00:54:10.357" v="844" actId="1037"/>
          <ac:spMkLst>
            <pc:docMk/>
            <pc:sldMk cId="937810425" sldId="3297"/>
            <ac:spMk id="58" creationId="{7D152806-36A5-C9F4-81D1-0916B910C26E}"/>
          </ac:spMkLst>
        </pc:spChg>
        <pc:spChg chg="add del mod">
          <ac:chgData name="Aurelien Domont" userId="6da7715ce44349b3" providerId="LiveId" clId="{131BB8E8-1659-49D0-9117-5008174AAE79}" dt="2023-11-30T00:54:20.671" v="847" actId="478"/>
          <ac:spMkLst>
            <pc:docMk/>
            <pc:sldMk cId="937810425" sldId="3297"/>
            <ac:spMk id="59" creationId="{8005E33B-18B7-EE9D-DB08-DF422E4EF15C}"/>
          </ac:spMkLst>
        </pc:spChg>
        <pc:spChg chg="add mod">
          <ac:chgData name="Aurelien Domont" userId="6da7715ce44349b3" providerId="LiveId" clId="{131BB8E8-1659-49D0-9117-5008174AAE79}" dt="2023-11-29T04:36:31.583" v="227" actId="20577"/>
          <ac:spMkLst>
            <pc:docMk/>
            <pc:sldMk cId="937810425" sldId="3297"/>
            <ac:spMk id="63" creationId="{56CA0631-D48F-0410-048A-A27C77996061}"/>
          </ac:spMkLst>
        </pc:spChg>
        <pc:spChg chg="add del mod">
          <ac:chgData name="Aurelien Domont" userId="6da7715ce44349b3" providerId="LiveId" clId="{131BB8E8-1659-49D0-9117-5008174AAE79}" dt="2023-11-30T00:17:30.793" v="561" actId="21"/>
          <ac:spMkLst>
            <pc:docMk/>
            <pc:sldMk cId="937810425" sldId="3297"/>
            <ac:spMk id="64" creationId="{B0DF4F71-4195-C3A8-096B-50488C887F6C}"/>
          </ac:spMkLst>
        </pc:spChg>
        <pc:graphicFrameChg chg="mod">
          <ac:chgData name="Aurelien Domont" userId="6da7715ce44349b3" providerId="LiveId" clId="{131BB8E8-1659-49D0-9117-5008174AAE79}" dt="2023-11-30T02:12:24.402" v="1147"/>
          <ac:graphicFrameMkLst>
            <pc:docMk/>
            <pc:sldMk cId="937810425" sldId="3297"/>
            <ac:graphicFrameMk id="6" creationId="{F5887244-1866-E102-5FD5-79FA1304146D}"/>
          </ac:graphicFrameMkLst>
        </pc:graphicFrameChg>
        <pc:picChg chg="add del mod">
          <ac:chgData name="Aurelien Domont" userId="6da7715ce44349b3" providerId="LiveId" clId="{131BB8E8-1659-49D0-9117-5008174AAE79}" dt="2023-11-30T00:57:05.036" v="929" actId="478"/>
          <ac:picMkLst>
            <pc:docMk/>
            <pc:sldMk cId="937810425" sldId="3297"/>
            <ac:picMk id="17" creationId="{059B9049-A7DA-11D9-B15E-3354B8E9576A}"/>
          </ac:picMkLst>
        </pc:picChg>
        <pc:picChg chg="add mod">
          <ac:chgData name="Aurelien Domont" userId="6da7715ce44349b3" providerId="LiveId" clId="{131BB8E8-1659-49D0-9117-5008174AAE79}" dt="2023-11-30T00:57:34.399" v="937" actId="1076"/>
          <ac:picMkLst>
            <pc:docMk/>
            <pc:sldMk cId="937810425" sldId="3297"/>
            <ac:picMk id="19" creationId="{C8886E1B-B14D-243A-7D11-F0877C3A3078}"/>
          </ac:picMkLst>
        </pc:picChg>
        <pc:picChg chg="add del mod">
          <ac:chgData name="Aurelien Domont" userId="6da7715ce44349b3" providerId="LiveId" clId="{131BB8E8-1659-49D0-9117-5008174AAE79}" dt="2023-11-30T01:01:38.826" v="954" actId="478"/>
          <ac:picMkLst>
            <pc:docMk/>
            <pc:sldMk cId="937810425" sldId="3297"/>
            <ac:picMk id="21" creationId="{637E1BE6-B308-3F7B-FDB7-FC45CDA286EF}"/>
          </ac:picMkLst>
        </pc:picChg>
        <pc:picChg chg="add mod">
          <ac:chgData name="Aurelien Domont" userId="6da7715ce44349b3" providerId="LiveId" clId="{131BB8E8-1659-49D0-9117-5008174AAE79}" dt="2023-11-30T01:01:50.237" v="960" actId="1037"/>
          <ac:picMkLst>
            <pc:docMk/>
            <pc:sldMk cId="937810425" sldId="3297"/>
            <ac:picMk id="23" creationId="{F4BE74C8-642A-9D42-4C6C-711AF7FF1C1C}"/>
          </ac:picMkLst>
        </pc:picChg>
        <pc:picChg chg="del">
          <ac:chgData name="Aurelien Domont" userId="6da7715ce44349b3" providerId="LiveId" clId="{131BB8E8-1659-49D0-9117-5008174AAE79}" dt="2023-11-29T04:26:52.150" v="33" actId="478"/>
          <ac:picMkLst>
            <pc:docMk/>
            <pc:sldMk cId="937810425" sldId="3297"/>
            <ac:picMk id="33" creationId="{DF0C8681-5664-343F-E57E-55EBFDD011FA}"/>
          </ac:picMkLst>
        </pc:picChg>
        <pc:picChg chg="del">
          <ac:chgData name="Aurelien Domont" userId="6da7715ce44349b3" providerId="LiveId" clId="{131BB8E8-1659-49D0-9117-5008174AAE79}" dt="2023-11-29T04:26:52.150" v="33" actId="478"/>
          <ac:picMkLst>
            <pc:docMk/>
            <pc:sldMk cId="937810425" sldId="3297"/>
            <ac:picMk id="34" creationId="{6A9E2613-5D3A-EF9E-6E81-7A3C9A9E8218}"/>
          </ac:picMkLst>
        </pc:picChg>
        <pc:picChg chg="del">
          <ac:chgData name="Aurelien Domont" userId="6da7715ce44349b3" providerId="LiveId" clId="{131BB8E8-1659-49D0-9117-5008174AAE79}" dt="2023-11-29T04:26:52.150" v="33" actId="478"/>
          <ac:picMkLst>
            <pc:docMk/>
            <pc:sldMk cId="937810425" sldId="3297"/>
            <ac:picMk id="35" creationId="{8009742A-D2C3-8E9D-C38C-62AE67074638}"/>
          </ac:picMkLst>
        </pc:picChg>
        <pc:picChg chg="del">
          <ac:chgData name="Aurelien Domont" userId="6da7715ce44349b3" providerId="LiveId" clId="{131BB8E8-1659-49D0-9117-5008174AAE79}" dt="2023-11-29T04:26:52.150" v="33" actId="478"/>
          <ac:picMkLst>
            <pc:docMk/>
            <pc:sldMk cId="937810425" sldId="3297"/>
            <ac:picMk id="36" creationId="{6A87401D-A304-27FE-BD74-EEB89412129F}"/>
          </ac:picMkLst>
        </pc:picChg>
        <pc:picChg chg="del">
          <ac:chgData name="Aurelien Domont" userId="6da7715ce44349b3" providerId="LiveId" clId="{131BB8E8-1659-49D0-9117-5008174AAE79}" dt="2023-11-29T04:26:52.150" v="33" actId="478"/>
          <ac:picMkLst>
            <pc:docMk/>
            <pc:sldMk cId="937810425" sldId="3297"/>
            <ac:picMk id="37" creationId="{0C1B899D-2DFE-AE2B-A925-494CA67290A9}"/>
          </ac:picMkLst>
        </pc:picChg>
        <pc:picChg chg="del">
          <ac:chgData name="Aurelien Domont" userId="6da7715ce44349b3" providerId="LiveId" clId="{131BB8E8-1659-49D0-9117-5008174AAE79}" dt="2023-11-29T04:26:52.150" v="33" actId="478"/>
          <ac:picMkLst>
            <pc:docMk/>
            <pc:sldMk cId="937810425" sldId="3297"/>
            <ac:picMk id="39" creationId="{9E0B16A8-256E-E36A-0A8F-5B9855658360}"/>
          </ac:picMkLst>
        </pc:picChg>
        <pc:picChg chg="add del mod">
          <ac:chgData name="Aurelien Domont" userId="6da7715ce44349b3" providerId="LiveId" clId="{131BB8E8-1659-49D0-9117-5008174AAE79}" dt="2023-11-29T04:29:45.569" v="71" actId="478"/>
          <ac:picMkLst>
            <pc:docMk/>
            <pc:sldMk cId="937810425" sldId="3297"/>
            <ac:picMk id="53" creationId="{F552CC44-E787-AA19-7310-95C3CE37D80A}"/>
          </ac:picMkLst>
        </pc:picChg>
        <pc:picChg chg="add del mod">
          <ac:chgData name="Aurelien Domont" userId="6da7715ce44349b3" providerId="LiveId" clId="{131BB8E8-1659-49D0-9117-5008174AAE79}" dt="2023-11-29T04:29:52.761" v="75" actId="478"/>
          <ac:picMkLst>
            <pc:docMk/>
            <pc:sldMk cId="937810425" sldId="3297"/>
            <ac:picMk id="54" creationId="{AA1CE99B-361B-E0D7-EB12-FE7AE3290EB8}"/>
          </ac:picMkLst>
        </pc:picChg>
        <pc:picChg chg="add del mod">
          <ac:chgData name="Aurelien Domont" userId="6da7715ce44349b3" providerId="LiveId" clId="{131BB8E8-1659-49D0-9117-5008174AAE79}" dt="2023-11-29T04:29:47.573" v="72" actId="478"/>
          <ac:picMkLst>
            <pc:docMk/>
            <pc:sldMk cId="937810425" sldId="3297"/>
            <ac:picMk id="55" creationId="{4C3BA224-2FCC-354A-0DF9-9FB08ADEA60F}"/>
          </ac:picMkLst>
        </pc:picChg>
        <pc:picChg chg="add del mod">
          <ac:chgData name="Aurelien Domont" userId="6da7715ce44349b3" providerId="LiveId" clId="{131BB8E8-1659-49D0-9117-5008174AAE79}" dt="2023-11-30T00:57:29.563" v="935" actId="478"/>
          <ac:picMkLst>
            <pc:docMk/>
            <pc:sldMk cId="937810425" sldId="3297"/>
            <ac:picMk id="60" creationId="{0AF0AE20-CE5F-5701-4DA7-AF408DC53909}"/>
          </ac:picMkLst>
        </pc:picChg>
        <pc:picChg chg="add mod">
          <ac:chgData name="Aurelien Domont" userId="6da7715ce44349b3" providerId="LiveId" clId="{131BB8E8-1659-49D0-9117-5008174AAE79}" dt="2023-11-30T00:54:39.518" v="872" actId="1038"/>
          <ac:picMkLst>
            <pc:docMk/>
            <pc:sldMk cId="937810425" sldId="3297"/>
            <ac:picMk id="61" creationId="{BF03350A-9CE3-0200-256C-4D32F5DBC7D5}"/>
          </ac:picMkLst>
        </pc:picChg>
        <pc:picChg chg="add mod">
          <ac:chgData name="Aurelien Domont" userId="6da7715ce44349b3" providerId="LiveId" clId="{131BB8E8-1659-49D0-9117-5008174AAE79}" dt="2023-11-30T01:02:00.775" v="962" actId="14100"/>
          <ac:picMkLst>
            <pc:docMk/>
            <pc:sldMk cId="937810425" sldId="3297"/>
            <ac:picMk id="62" creationId="{33B3FA32-E02D-E69B-C5A7-17CA4AFD190F}"/>
          </ac:picMkLst>
        </pc:picChg>
        <pc:cxnChg chg="add del mod">
          <ac:chgData name="Aurelien Domont" userId="6da7715ce44349b3" providerId="LiveId" clId="{131BB8E8-1659-49D0-9117-5008174AAE79}" dt="2023-11-30T02:12:14.230" v="1115" actId="478"/>
          <ac:cxnSpMkLst>
            <pc:docMk/>
            <pc:sldMk cId="937810425" sldId="3297"/>
            <ac:cxnSpMk id="10" creationId="{24F2F57A-5AF6-6D1B-E9AD-C9B911037277}"/>
          </ac:cxnSpMkLst>
        </pc:cxnChg>
        <pc:cxnChg chg="add del mod">
          <ac:chgData name="Aurelien Domont" userId="6da7715ce44349b3" providerId="LiveId" clId="{131BB8E8-1659-49D0-9117-5008174AAE79}" dt="2023-11-30T02:12:15.187" v="1116" actId="478"/>
          <ac:cxnSpMkLst>
            <pc:docMk/>
            <pc:sldMk cId="937810425" sldId="3297"/>
            <ac:cxnSpMk id="11" creationId="{1AD9F67B-D519-0F9A-A0A1-030BC01D49CC}"/>
          </ac:cxnSpMkLst>
        </pc:cxnChg>
        <pc:cxnChg chg="del">
          <ac:chgData name="Aurelien Domont" userId="6da7715ce44349b3" providerId="LiveId" clId="{131BB8E8-1659-49D0-9117-5008174AAE79}" dt="2023-11-29T04:26:52.150" v="33" actId="478"/>
          <ac:cxnSpMkLst>
            <pc:docMk/>
            <pc:sldMk cId="937810425" sldId="3297"/>
            <ac:cxnSpMk id="17" creationId="{D133D4C6-3F08-8AFC-9CCF-AE3A535CDF20}"/>
          </ac:cxnSpMkLst>
        </pc:cxnChg>
        <pc:cxnChg chg="del">
          <ac:chgData name="Aurelien Domont" userId="6da7715ce44349b3" providerId="LiveId" clId="{131BB8E8-1659-49D0-9117-5008174AAE79}" dt="2023-11-29T04:26:52.150" v="33" actId="478"/>
          <ac:cxnSpMkLst>
            <pc:docMk/>
            <pc:sldMk cId="937810425" sldId="3297"/>
            <ac:cxnSpMk id="18" creationId="{2C30C521-61FD-44C6-3FE2-9F7D0440BF98}"/>
          </ac:cxnSpMkLst>
        </pc:cxnChg>
        <pc:cxnChg chg="del">
          <ac:chgData name="Aurelien Domont" userId="6da7715ce44349b3" providerId="LiveId" clId="{131BB8E8-1659-49D0-9117-5008174AAE79}" dt="2023-11-29T04:26:52.150" v="33" actId="478"/>
          <ac:cxnSpMkLst>
            <pc:docMk/>
            <pc:sldMk cId="937810425" sldId="3297"/>
            <ac:cxnSpMk id="19" creationId="{D8FF09F6-FC9D-118E-2BE9-8FA80AD42AC4}"/>
          </ac:cxnSpMkLst>
        </pc:cxnChg>
        <pc:cxnChg chg="del">
          <ac:chgData name="Aurelien Domont" userId="6da7715ce44349b3" providerId="LiveId" clId="{131BB8E8-1659-49D0-9117-5008174AAE79}" dt="2023-11-29T04:26:52.150" v="33" actId="478"/>
          <ac:cxnSpMkLst>
            <pc:docMk/>
            <pc:sldMk cId="937810425" sldId="3297"/>
            <ac:cxnSpMk id="20" creationId="{21420269-1FD9-2098-9AF3-FF2DE59AD89E}"/>
          </ac:cxnSpMkLst>
        </pc:cxnChg>
        <pc:cxnChg chg="del">
          <ac:chgData name="Aurelien Domont" userId="6da7715ce44349b3" providerId="LiveId" clId="{131BB8E8-1659-49D0-9117-5008174AAE79}" dt="2023-11-29T04:26:52.150" v="33" actId="478"/>
          <ac:cxnSpMkLst>
            <pc:docMk/>
            <pc:sldMk cId="937810425" sldId="3297"/>
            <ac:cxnSpMk id="23" creationId="{5C852D80-58BB-FD8F-BBDE-109FBF9575C2}"/>
          </ac:cxnSpMkLst>
        </pc:cxnChg>
        <pc:cxnChg chg="add mod">
          <ac:chgData name="Aurelien Domont" userId="6da7715ce44349b3" providerId="LiveId" clId="{131BB8E8-1659-49D0-9117-5008174AAE79}" dt="2023-11-30T02:12:18.452" v="1117" actId="571"/>
          <ac:cxnSpMkLst>
            <pc:docMk/>
            <pc:sldMk cId="937810425" sldId="3297"/>
            <ac:cxnSpMk id="27" creationId="{2108756B-174F-8EFD-07B5-50872BD21D41}"/>
          </ac:cxnSpMkLst>
        </pc:cxnChg>
        <pc:cxnChg chg="add mod">
          <ac:chgData name="Aurelien Domont" userId="6da7715ce44349b3" providerId="LiveId" clId="{131BB8E8-1659-49D0-9117-5008174AAE79}" dt="2023-11-30T02:12:21.060" v="1118" actId="571"/>
          <ac:cxnSpMkLst>
            <pc:docMk/>
            <pc:sldMk cId="937810425" sldId="3297"/>
            <ac:cxnSpMk id="28" creationId="{39185B50-34FE-59C7-03F5-51D3254B2C05}"/>
          </ac:cxnSpMkLst>
        </pc:cxnChg>
        <pc:cxnChg chg="add mod">
          <ac:chgData name="Aurelien Domont" userId="6da7715ce44349b3" providerId="LiveId" clId="{131BB8E8-1659-49D0-9117-5008174AAE79}" dt="2023-11-30T02:12:11.751" v="1114" actId="14100"/>
          <ac:cxnSpMkLst>
            <pc:docMk/>
            <pc:sldMk cId="937810425" sldId="3297"/>
            <ac:cxnSpMk id="51" creationId="{7F02FA42-B1F8-3D81-77BD-EF05DBAEB874}"/>
          </ac:cxnSpMkLst>
        </pc:cxnChg>
        <pc:cxnChg chg="add del mod">
          <ac:chgData name="Aurelien Domont" userId="6da7715ce44349b3" providerId="LiveId" clId="{131BB8E8-1659-49D0-9117-5008174AAE79}" dt="2023-11-30T00:52:34.980" v="770" actId="478"/>
          <ac:cxnSpMkLst>
            <pc:docMk/>
            <pc:sldMk cId="937810425" sldId="3297"/>
            <ac:cxnSpMk id="52" creationId="{1CCD60E5-FCC2-21F5-6C81-CA01764F8DAD}"/>
          </ac:cxnSpMkLst>
        </pc:cxnChg>
      </pc:sldChg>
      <pc:sldChg chg="new add del">
        <pc:chgData name="Aurelien Domont" userId="6da7715ce44349b3" providerId="LiveId" clId="{131BB8E8-1659-49D0-9117-5008174AAE79}" dt="2023-11-29T04:26:43.689" v="3" actId="47"/>
        <pc:sldMkLst>
          <pc:docMk/>
          <pc:sldMk cId="1875403106" sldId="3298"/>
        </pc:sldMkLst>
      </pc:sldChg>
      <pc:sldChg chg="add del">
        <pc:chgData name="Aurelien Domont" userId="6da7715ce44349b3" providerId="LiveId" clId="{131BB8E8-1659-49D0-9117-5008174AAE79}" dt="2023-12-04T23:49:46.880" v="1312" actId="47"/>
        <pc:sldMkLst>
          <pc:docMk/>
          <pc:sldMk cId="2879702699" sldId="3298"/>
        </pc:sldMkLst>
      </pc:sldChg>
      <pc:sldChg chg="addSp delSp modSp add del mod">
        <pc:chgData name="Aurelien Domont" userId="6da7715ce44349b3" providerId="LiveId" clId="{131BB8E8-1659-49D0-9117-5008174AAE79}" dt="2023-12-04T23:49:44.130" v="1311" actId="47"/>
        <pc:sldMkLst>
          <pc:docMk/>
          <pc:sldMk cId="2969891217" sldId="3299"/>
        </pc:sldMkLst>
        <pc:spChg chg="add del mod">
          <ac:chgData name="Aurelien Domont" userId="6da7715ce44349b3" providerId="LiveId" clId="{131BB8E8-1659-49D0-9117-5008174AAE79}" dt="2023-12-04T23:49:32.462" v="1306" actId="21"/>
          <ac:spMkLst>
            <pc:docMk/>
            <pc:sldMk cId="2969891217" sldId="3299"/>
            <ac:spMk id="3" creationId="{DF4D81E3-9670-A6AA-629D-77185B5206AC}"/>
          </ac:spMkLst>
        </pc:spChg>
        <pc:spChg chg="del">
          <ac:chgData name="Aurelien Domont" userId="6da7715ce44349b3" providerId="LiveId" clId="{131BB8E8-1659-49D0-9117-5008174AAE79}" dt="2023-11-30T00:17:27.278" v="560" actId="478"/>
          <ac:spMkLst>
            <pc:docMk/>
            <pc:sldMk cId="2969891217" sldId="3299"/>
            <ac:spMk id="63" creationId="{56CA0631-D48F-0410-048A-A27C77996061}"/>
          </ac:spMkLst>
        </pc:spChg>
        <pc:spChg chg="del">
          <ac:chgData name="Aurelien Domont" userId="6da7715ce44349b3" providerId="LiveId" clId="{131BB8E8-1659-49D0-9117-5008174AAE79}" dt="2023-11-30T00:17:27.278" v="560" actId="478"/>
          <ac:spMkLst>
            <pc:docMk/>
            <pc:sldMk cId="2969891217" sldId="3299"/>
            <ac:spMk id="64" creationId="{B0DF4F71-4195-C3A8-096B-50488C887F6C}"/>
          </ac:spMkLst>
        </pc:spChg>
      </pc:sldChg>
      <pc:sldChg chg="add del">
        <pc:chgData name="Aurelien Domont" userId="6da7715ce44349b3" providerId="LiveId" clId="{131BB8E8-1659-49D0-9117-5008174AAE79}" dt="2023-12-04T23:49:21.852" v="1305" actId="47"/>
        <pc:sldMkLst>
          <pc:docMk/>
          <pc:sldMk cId="2689967887" sldId="3300"/>
        </pc:sldMkLst>
      </pc:sldChg>
      <pc:sldChg chg="addSp delSp modSp add mod ord">
        <pc:chgData name="Aurelien Domont" userId="6da7715ce44349b3" providerId="LiveId" clId="{131BB8E8-1659-49D0-9117-5008174AAE79}" dt="2023-12-06T02:41:56.237" v="6023"/>
        <pc:sldMkLst>
          <pc:docMk/>
          <pc:sldMk cId="2392440094" sldId="3301"/>
        </pc:sldMkLst>
        <pc:spChg chg="mod">
          <ac:chgData name="Aurelien Domont" userId="6da7715ce44349b3" providerId="LiveId" clId="{131BB8E8-1659-49D0-9117-5008174AAE79}" dt="2023-12-06T02:41:56.190" v="5997" actId="948"/>
          <ac:spMkLst>
            <pc:docMk/>
            <pc:sldMk cId="2392440094" sldId="3301"/>
            <ac:spMk id="2" creationId="{12009DA8-0966-101B-E219-F283F194BD59}"/>
          </ac:spMkLst>
        </pc:spChg>
        <pc:spChg chg="add del mod">
          <ac:chgData name="Aurelien Domont" userId="6da7715ce44349b3" providerId="LiveId" clId="{131BB8E8-1659-49D0-9117-5008174AAE79}" dt="2023-12-05T00:08:05.177" v="2369" actId="478"/>
          <ac:spMkLst>
            <pc:docMk/>
            <pc:sldMk cId="2392440094" sldId="3301"/>
            <ac:spMk id="4" creationId="{8B0E0C1E-8389-E7ED-2E3A-1E65F7BFD593}"/>
          </ac:spMkLst>
        </pc:spChg>
        <pc:spChg chg="add del mod modVis">
          <ac:chgData name="Aurelien Domont" userId="6da7715ce44349b3" providerId="LiveId" clId="{131BB8E8-1659-49D0-9117-5008174AAE79}" dt="2023-12-06T02:41:56.221" v="6021"/>
          <ac:spMkLst>
            <pc:docMk/>
            <pc:sldMk cId="2392440094" sldId="3301"/>
            <ac:spMk id="4" creationId="{987D4E2C-555F-B16A-0294-176B2C37E434}"/>
          </ac:spMkLst>
        </pc:spChg>
        <pc:spChg chg="mod">
          <ac:chgData name="Aurelien Domont" userId="6da7715ce44349b3" providerId="LiveId" clId="{131BB8E8-1659-49D0-9117-5008174AAE79}" dt="2023-12-04T23:52:06.086" v="1375" actId="1076"/>
          <ac:spMkLst>
            <pc:docMk/>
            <pc:sldMk cId="2392440094" sldId="3301"/>
            <ac:spMk id="7" creationId="{FE3FDD9B-75FF-A85A-B583-5989E754BAD2}"/>
          </ac:spMkLst>
        </pc:spChg>
        <pc:spChg chg="mod">
          <ac:chgData name="Aurelien Domont" userId="6da7715ce44349b3" providerId="LiveId" clId="{131BB8E8-1659-49D0-9117-5008174AAE79}" dt="2023-12-01T04:18:21.479" v="1217" actId="1036"/>
          <ac:spMkLst>
            <pc:docMk/>
            <pc:sldMk cId="2392440094" sldId="3301"/>
            <ac:spMk id="24" creationId="{2E819BAE-2B69-C19A-C55F-0E02F7BE605E}"/>
          </ac:spMkLst>
        </pc:spChg>
        <pc:spChg chg="mod">
          <ac:chgData name="Aurelien Domont" userId="6da7715ce44349b3" providerId="LiveId" clId="{131BB8E8-1659-49D0-9117-5008174AAE79}" dt="2023-12-01T04:18:21.479" v="1217" actId="1036"/>
          <ac:spMkLst>
            <pc:docMk/>
            <pc:sldMk cId="2392440094" sldId="3301"/>
            <ac:spMk id="25" creationId="{494F9D9A-9C7B-4039-5508-73CF09BD236E}"/>
          </ac:spMkLst>
        </pc:spChg>
        <pc:spChg chg="mod">
          <ac:chgData name="Aurelien Domont" userId="6da7715ce44349b3" providerId="LiveId" clId="{131BB8E8-1659-49D0-9117-5008174AAE79}" dt="2023-12-01T04:18:21.479" v="1217" actId="1036"/>
          <ac:spMkLst>
            <pc:docMk/>
            <pc:sldMk cId="2392440094" sldId="3301"/>
            <ac:spMk id="30" creationId="{3142A629-52C8-BC84-0159-47E3BA371663}"/>
          </ac:spMkLst>
        </pc:spChg>
        <pc:spChg chg="mod">
          <ac:chgData name="Aurelien Domont" userId="6da7715ce44349b3" providerId="LiveId" clId="{131BB8E8-1659-49D0-9117-5008174AAE79}" dt="2023-12-01T04:18:21.479" v="1217" actId="1036"/>
          <ac:spMkLst>
            <pc:docMk/>
            <pc:sldMk cId="2392440094" sldId="3301"/>
            <ac:spMk id="31" creationId="{E1978435-C540-2E60-80ED-5F61F834CA95}"/>
          </ac:spMkLst>
        </pc:spChg>
        <pc:spChg chg="mod">
          <ac:chgData name="Aurelien Domont" userId="6da7715ce44349b3" providerId="LiveId" clId="{131BB8E8-1659-49D0-9117-5008174AAE79}" dt="2023-12-05T04:37:19.277" v="2412" actId="207"/>
          <ac:spMkLst>
            <pc:docMk/>
            <pc:sldMk cId="2392440094" sldId="3301"/>
            <ac:spMk id="48" creationId="{6E5CA747-2D26-66DD-BB96-9AAA8CC980AB}"/>
          </ac:spMkLst>
        </pc:spChg>
        <pc:spChg chg="mod">
          <ac:chgData name="Aurelien Domont" userId="6da7715ce44349b3" providerId="LiveId" clId="{131BB8E8-1659-49D0-9117-5008174AAE79}" dt="2023-12-05T04:38:49.702" v="2475" actId="20577"/>
          <ac:spMkLst>
            <pc:docMk/>
            <pc:sldMk cId="2392440094" sldId="3301"/>
            <ac:spMk id="49" creationId="{D000125F-0088-751F-E3A3-3ECDEF236824}"/>
          </ac:spMkLst>
        </pc:spChg>
        <pc:spChg chg="mod">
          <ac:chgData name="Aurelien Domont" userId="6da7715ce44349b3" providerId="LiveId" clId="{131BB8E8-1659-49D0-9117-5008174AAE79}" dt="2023-12-05T01:45:15.138" v="2406" actId="20577"/>
          <ac:spMkLst>
            <pc:docMk/>
            <pc:sldMk cId="2392440094" sldId="3301"/>
            <ac:spMk id="50" creationId="{F160A322-898E-E49B-D5D2-C8EE5E71D010}"/>
          </ac:spMkLst>
        </pc:spChg>
        <pc:spChg chg="mod">
          <ac:chgData name="Aurelien Domont" userId="6da7715ce44349b3" providerId="LiveId" clId="{131BB8E8-1659-49D0-9117-5008174AAE79}" dt="2023-12-01T04:18:26.286" v="1222" actId="20577"/>
          <ac:spMkLst>
            <pc:docMk/>
            <pc:sldMk cId="2392440094" sldId="3301"/>
            <ac:spMk id="56" creationId="{485737D5-0CF3-9082-DA25-E5ED8220601A}"/>
          </ac:spMkLst>
        </pc:spChg>
        <pc:spChg chg="del">
          <ac:chgData name="Aurelien Domont" userId="6da7715ce44349b3" providerId="LiveId" clId="{131BB8E8-1659-49D0-9117-5008174AAE79}" dt="2023-12-05T04:46:22.503" v="2476" actId="478"/>
          <ac:spMkLst>
            <pc:docMk/>
            <pc:sldMk cId="2392440094" sldId="3301"/>
            <ac:spMk id="63" creationId="{56CA0631-D48F-0410-048A-A27C77996061}"/>
          </ac:spMkLst>
        </pc:spChg>
        <pc:graphicFrameChg chg="mod">
          <ac:chgData name="Aurelien Domont" userId="6da7715ce44349b3" providerId="LiveId" clId="{131BB8E8-1659-49D0-9117-5008174AAE79}" dt="2023-12-06T02:41:56.237" v="6023"/>
          <ac:graphicFrameMkLst>
            <pc:docMk/>
            <pc:sldMk cId="2392440094" sldId="3301"/>
            <ac:graphicFrameMk id="6" creationId="{F5887244-1866-E102-5FD5-79FA1304146D}"/>
          </ac:graphicFrameMkLst>
        </pc:graphicFrameChg>
        <pc:picChg chg="mod">
          <ac:chgData name="Aurelien Domont" userId="6da7715ce44349b3" providerId="LiveId" clId="{131BB8E8-1659-49D0-9117-5008174AAE79}" dt="2023-12-05T01:43:20.133" v="2402" actId="1035"/>
          <ac:picMkLst>
            <pc:docMk/>
            <pc:sldMk cId="2392440094" sldId="3301"/>
            <ac:picMk id="61" creationId="{BF03350A-9CE3-0200-256C-4D32F5DBC7D5}"/>
          </ac:picMkLst>
        </pc:picChg>
        <pc:cxnChg chg="mod">
          <ac:chgData name="Aurelien Domont" userId="6da7715ce44349b3" providerId="LiveId" clId="{131BB8E8-1659-49D0-9117-5008174AAE79}" dt="2023-11-30T02:14:46.590" v="1198" actId="1035"/>
          <ac:cxnSpMkLst>
            <pc:docMk/>
            <pc:sldMk cId="2392440094" sldId="3301"/>
            <ac:cxnSpMk id="27" creationId="{2108756B-174F-8EFD-07B5-50872BD21D41}"/>
          </ac:cxnSpMkLst>
        </pc:cxnChg>
        <pc:cxnChg chg="mod">
          <ac:chgData name="Aurelien Domont" userId="6da7715ce44349b3" providerId="LiveId" clId="{131BB8E8-1659-49D0-9117-5008174AAE79}" dt="2023-11-30T02:14:46.590" v="1198" actId="1035"/>
          <ac:cxnSpMkLst>
            <pc:docMk/>
            <pc:sldMk cId="2392440094" sldId="3301"/>
            <ac:cxnSpMk id="28" creationId="{39185B50-34FE-59C7-03F5-51D3254B2C05}"/>
          </ac:cxnSpMkLst>
        </pc:cxnChg>
        <pc:cxnChg chg="mod">
          <ac:chgData name="Aurelien Domont" userId="6da7715ce44349b3" providerId="LiveId" clId="{131BB8E8-1659-49D0-9117-5008174AAE79}" dt="2023-11-30T02:14:46.590" v="1198" actId="1035"/>
          <ac:cxnSpMkLst>
            <pc:docMk/>
            <pc:sldMk cId="2392440094" sldId="3301"/>
            <ac:cxnSpMk id="51" creationId="{7F02FA42-B1F8-3D81-77BD-EF05DBAEB874}"/>
          </ac:cxnSpMkLst>
        </pc:cxnChg>
      </pc:sldChg>
      <pc:sldChg chg="add del">
        <pc:chgData name="Aurelien Domont" userId="6da7715ce44349b3" providerId="LiveId" clId="{131BB8E8-1659-49D0-9117-5008174AAE79}" dt="2023-12-04T23:58:07.152" v="1452" actId="47"/>
        <pc:sldMkLst>
          <pc:docMk/>
          <pc:sldMk cId="649289581" sldId="3302"/>
        </pc:sldMkLst>
      </pc:sldChg>
      <pc:sldChg chg="addSp delSp modSp new add mod">
        <pc:chgData name="Aurelien Domont" userId="6da7715ce44349b3" providerId="LiveId" clId="{131BB8E8-1659-49D0-9117-5008174AAE79}" dt="2023-12-06T02:40:03.347" v="5947"/>
        <pc:sldMkLst>
          <pc:docMk/>
          <pc:sldMk cId="1393908417" sldId="3302"/>
        </pc:sldMkLst>
        <pc:spChg chg="mod ord">
          <ac:chgData name="Aurelien Domont" userId="6da7715ce44349b3" providerId="LiveId" clId="{131BB8E8-1659-49D0-9117-5008174AAE79}" dt="2023-12-06T02:40:03.316" v="5921" actId="948"/>
          <ac:spMkLst>
            <pc:docMk/>
            <pc:sldMk cId="1393908417" sldId="3302"/>
            <ac:spMk id="2" creationId="{0C8D96AE-3B87-BB1A-13CC-08803680CEE2}"/>
          </ac:spMkLst>
        </pc:spChg>
        <pc:spChg chg="mod ord">
          <ac:chgData name="Aurelien Domont" userId="6da7715ce44349b3" providerId="LiveId" clId="{131BB8E8-1659-49D0-9117-5008174AAE79}" dt="2023-12-06T02:24:22.096" v="3818"/>
          <ac:spMkLst>
            <pc:docMk/>
            <pc:sldMk cId="1393908417" sldId="3302"/>
            <ac:spMk id="3" creationId="{EC4AFD38-70B5-443B-12BD-3288697E00D8}"/>
          </ac:spMkLst>
        </pc:spChg>
        <pc:spChg chg="mod ord">
          <ac:chgData name="Aurelien Domont" userId="6da7715ce44349b3" providerId="LiveId" clId="{131BB8E8-1659-49D0-9117-5008174AAE79}" dt="2023-12-06T02:24:22.096" v="3820"/>
          <ac:spMkLst>
            <pc:docMk/>
            <pc:sldMk cId="1393908417" sldId="3302"/>
            <ac:spMk id="4" creationId="{31FD0418-5CEA-CBF7-2C79-84B29FE46A6C}"/>
          </ac:spMkLst>
        </pc:spChg>
        <pc:spChg chg="mod">
          <ac:chgData name="Aurelien Domont" userId="6da7715ce44349b3" providerId="LiveId" clId="{131BB8E8-1659-49D0-9117-5008174AAE79}" dt="2023-12-06T02:18:41.936" v="2481"/>
          <ac:spMkLst>
            <pc:docMk/>
            <pc:sldMk cId="1393908417" sldId="3302"/>
            <ac:spMk id="7" creationId="{C02B9222-5CB1-3B84-6E21-D911BAAE741F}"/>
          </ac:spMkLst>
        </pc:spChg>
        <pc:spChg chg="mod">
          <ac:chgData name="Aurelien Domont" userId="6da7715ce44349b3" providerId="LiveId" clId="{131BB8E8-1659-49D0-9117-5008174AAE79}" dt="2023-12-06T02:23:28.126" v="3779" actId="20577"/>
          <ac:spMkLst>
            <pc:docMk/>
            <pc:sldMk cId="1393908417" sldId="3302"/>
            <ac:spMk id="10" creationId="{ACB9C308-1B6C-C036-ABD5-4933853DB3D6}"/>
          </ac:spMkLst>
        </pc:spChg>
        <pc:spChg chg="add mod replST">
          <ac:chgData name="Aurelien Domont" userId="6da7715ce44349b3" providerId="LiveId" clId="{131BB8E8-1659-49D0-9117-5008174AAE79}" dt="2023-12-06T02:24:22.096" v="3827"/>
          <ac:spMkLst>
            <pc:docMk/>
            <pc:sldMk cId="1393908417" sldId="3302"/>
            <ac:spMk id="12" creationId="{685B27CA-FD1D-573B-76DD-CF807315C6BE}"/>
          </ac:spMkLst>
        </pc:spChg>
        <pc:spChg chg="add mod replST">
          <ac:chgData name="Aurelien Domont" userId="6da7715ce44349b3" providerId="LiveId" clId="{131BB8E8-1659-49D0-9117-5008174AAE79}" dt="2023-12-06T02:24:22.096" v="3828"/>
          <ac:spMkLst>
            <pc:docMk/>
            <pc:sldMk cId="1393908417" sldId="3302"/>
            <ac:spMk id="13" creationId="{5417CBAA-CB2E-C307-17E4-3D03BB742EF8}"/>
          </ac:spMkLst>
        </pc:spChg>
        <pc:spChg chg="add del mod modVis">
          <ac:chgData name="Aurelien Domont" userId="6da7715ce44349b3" providerId="LiveId" clId="{131BB8E8-1659-49D0-9117-5008174AAE79}" dt="2023-12-06T02:18:46.303" v="2581"/>
          <ac:spMkLst>
            <pc:docMk/>
            <pc:sldMk cId="1393908417" sldId="3302"/>
            <ac:spMk id="14" creationId="{6D6D25DC-0162-DB21-D7B2-E1F79EF83ED5}"/>
          </ac:spMkLst>
        </pc:spChg>
        <pc:spChg chg="add del mod modVis">
          <ac:chgData name="Aurelien Domont" userId="6da7715ce44349b3" providerId="LiveId" clId="{131BB8E8-1659-49D0-9117-5008174AAE79}" dt="2023-12-06T02:19:02.557" v="2718"/>
          <ac:spMkLst>
            <pc:docMk/>
            <pc:sldMk cId="1393908417" sldId="3302"/>
            <ac:spMk id="20" creationId="{AAD9ECD6-4D5D-C355-FE83-AB15E3260208}"/>
          </ac:spMkLst>
        </pc:spChg>
        <pc:spChg chg="add del mod modVis">
          <ac:chgData name="Aurelien Domont" userId="6da7715ce44349b3" providerId="LiveId" clId="{131BB8E8-1659-49D0-9117-5008174AAE79}" dt="2023-12-06T02:19:05.964" v="2746"/>
          <ac:spMkLst>
            <pc:docMk/>
            <pc:sldMk cId="1393908417" sldId="3302"/>
            <ac:spMk id="21" creationId="{CE504E0E-E26B-D2C4-C526-EC733B3DAF24}"/>
          </ac:spMkLst>
        </pc:spChg>
        <pc:spChg chg="add mod replST">
          <ac:chgData name="Aurelien Domont" userId="6da7715ce44349b3" providerId="LiveId" clId="{131BB8E8-1659-49D0-9117-5008174AAE79}" dt="2023-12-06T02:24:22.111" v="3831"/>
          <ac:spMkLst>
            <pc:docMk/>
            <pc:sldMk cId="1393908417" sldId="3302"/>
            <ac:spMk id="23" creationId="{B569F797-3226-BA33-BF8C-22327040D1D6}"/>
          </ac:spMkLst>
        </pc:spChg>
        <pc:spChg chg="add mod replST">
          <ac:chgData name="Aurelien Domont" userId="6da7715ce44349b3" providerId="LiveId" clId="{131BB8E8-1659-49D0-9117-5008174AAE79}" dt="2023-12-06T02:24:22.111" v="3832"/>
          <ac:spMkLst>
            <pc:docMk/>
            <pc:sldMk cId="1393908417" sldId="3302"/>
            <ac:spMk id="24" creationId="{7231813A-6307-0A95-E972-6C124DD26365}"/>
          </ac:spMkLst>
        </pc:spChg>
        <pc:spChg chg="add del mod modVis">
          <ac:chgData name="Aurelien Domont" userId="6da7715ce44349b3" providerId="LiveId" clId="{131BB8E8-1659-49D0-9117-5008174AAE79}" dt="2023-12-06T02:20:09.711" v="2861"/>
          <ac:spMkLst>
            <pc:docMk/>
            <pc:sldMk cId="1393908417" sldId="3302"/>
            <ac:spMk id="25" creationId="{D51B91EA-4062-49CA-FC93-F313B64CB340}"/>
          </ac:spMkLst>
        </pc:spChg>
        <pc:spChg chg="add del mod modVis">
          <ac:chgData name="Aurelien Domont" userId="6da7715ce44349b3" providerId="LiveId" clId="{131BB8E8-1659-49D0-9117-5008174AAE79}" dt="2023-12-06T02:21:16.952" v="2968"/>
          <ac:spMkLst>
            <pc:docMk/>
            <pc:sldMk cId="1393908417" sldId="3302"/>
            <ac:spMk id="28" creationId="{DE929503-4522-C08B-6FA4-73D3F49D63DD}"/>
          </ac:spMkLst>
        </pc:spChg>
        <pc:spChg chg="add del mod modVis">
          <ac:chgData name="Aurelien Domont" userId="6da7715ce44349b3" providerId="LiveId" clId="{131BB8E8-1659-49D0-9117-5008174AAE79}" dt="2023-12-06T02:21:20.031" v="3049"/>
          <ac:spMkLst>
            <pc:docMk/>
            <pc:sldMk cId="1393908417" sldId="3302"/>
            <ac:spMk id="30" creationId="{11BC282A-7CEE-578B-55A5-D83832D507E7}"/>
          </ac:spMkLst>
        </pc:spChg>
        <pc:spChg chg="add mod replST">
          <ac:chgData name="Aurelien Domont" userId="6da7715ce44349b3" providerId="LiveId" clId="{131BB8E8-1659-49D0-9117-5008174AAE79}" dt="2023-12-06T02:24:22.111" v="3833"/>
          <ac:spMkLst>
            <pc:docMk/>
            <pc:sldMk cId="1393908417" sldId="3302"/>
            <ac:spMk id="32" creationId="{F1EAC2A1-60CC-5D88-F44F-9E24C4E66F56}"/>
          </ac:spMkLst>
        </pc:spChg>
        <pc:spChg chg="add del mod modVis">
          <ac:chgData name="Aurelien Domont" userId="6da7715ce44349b3" providerId="LiveId" clId="{131BB8E8-1659-49D0-9117-5008174AAE79}" dt="2023-12-06T02:21:22.578" v="3138"/>
          <ac:spMkLst>
            <pc:docMk/>
            <pc:sldMk cId="1393908417" sldId="3302"/>
            <ac:spMk id="33" creationId="{F19C777F-98CC-400D-61FC-D2549BFB0277}"/>
          </ac:spMkLst>
        </pc:spChg>
        <pc:spChg chg="add mod replST">
          <ac:chgData name="Aurelien Domont" userId="6da7715ce44349b3" providerId="LiveId" clId="{131BB8E8-1659-49D0-9117-5008174AAE79}" dt="2023-12-06T02:24:22.111" v="3834"/>
          <ac:spMkLst>
            <pc:docMk/>
            <pc:sldMk cId="1393908417" sldId="3302"/>
            <ac:spMk id="35" creationId="{178216EB-BA0A-672E-82E5-C727BD51ABC4}"/>
          </ac:spMkLst>
        </pc:spChg>
        <pc:spChg chg="add del mod modVis">
          <ac:chgData name="Aurelien Domont" userId="6da7715ce44349b3" providerId="LiveId" clId="{131BB8E8-1659-49D0-9117-5008174AAE79}" dt="2023-12-06T02:21:25.517" v="3233"/>
          <ac:spMkLst>
            <pc:docMk/>
            <pc:sldMk cId="1393908417" sldId="3302"/>
            <ac:spMk id="36" creationId="{1915FF13-D632-9053-763F-F99025183F2A}"/>
          </ac:spMkLst>
        </pc:spChg>
        <pc:spChg chg="add del mod modVis">
          <ac:chgData name="Aurelien Domont" userId="6da7715ce44349b3" providerId="LiveId" clId="{131BB8E8-1659-49D0-9117-5008174AAE79}" dt="2023-12-06T02:21:50.324" v="3297"/>
          <ac:spMkLst>
            <pc:docMk/>
            <pc:sldMk cId="1393908417" sldId="3302"/>
            <ac:spMk id="38" creationId="{EC6B6F9D-E676-13AD-D417-932798A84800}"/>
          </ac:spMkLst>
        </pc:spChg>
        <pc:spChg chg="add del mod modVis">
          <ac:chgData name="Aurelien Domont" userId="6da7715ce44349b3" providerId="LiveId" clId="{131BB8E8-1659-49D0-9117-5008174AAE79}" dt="2023-12-06T02:21:52.585" v="3356"/>
          <ac:spMkLst>
            <pc:docMk/>
            <pc:sldMk cId="1393908417" sldId="3302"/>
            <ac:spMk id="40" creationId="{DB88A2A5-EEB7-3F51-3910-8D8C630FA58D}"/>
          </ac:spMkLst>
        </pc:spChg>
        <pc:spChg chg="add del mod modVis">
          <ac:chgData name="Aurelien Domont" userId="6da7715ce44349b3" providerId="LiveId" clId="{131BB8E8-1659-49D0-9117-5008174AAE79}" dt="2023-12-06T02:21:54.044" v="3415"/>
          <ac:spMkLst>
            <pc:docMk/>
            <pc:sldMk cId="1393908417" sldId="3302"/>
            <ac:spMk id="42" creationId="{EF68FAAE-3416-6870-0CE8-B8B00E289368}"/>
          </ac:spMkLst>
        </pc:spChg>
        <pc:spChg chg="add del mod modVis">
          <ac:chgData name="Aurelien Domont" userId="6da7715ce44349b3" providerId="LiveId" clId="{131BB8E8-1659-49D0-9117-5008174AAE79}" dt="2023-12-06T02:21:55.223" v="3474"/>
          <ac:spMkLst>
            <pc:docMk/>
            <pc:sldMk cId="1393908417" sldId="3302"/>
            <ac:spMk id="44" creationId="{2E146CED-C74F-BC36-7095-4AC6DBF39A4A}"/>
          </ac:spMkLst>
        </pc:spChg>
        <pc:spChg chg="add del mod modVis">
          <ac:chgData name="Aurelien Domont" userId="6da7715ce44349b3" providerId="LiveId" clId="{131BB8E8-1659-49D0-9117-5008174AAE79}" dt="2023-12-06T02:21:57.403" v="3535"/>
          <ac:spMkLst>
            <pc:docMk/>
            <pc:sldMk cId="1393908417" sldId="3302"/>
            <ac:spMk id="46" creationId="{10F2B141-90AF-2546-A1BC-45355ED04363}"/>
          </ac:spMkLst>
        </pc:spChg>
        <pc:spChg chg="add del mod modVis">
          <ac:chgData name="Aurelien Domont" userId="6da7715ce44349b3" providerId="LiveId" clId="{131BB8E8-1659-49D0-9117-5008174AAE79}" dt="2023-12-06T02:22:00.078" v="3594"/>
          <ac:spMkLst>
            <pc:docMk/>
            <pc:sldMk cId="1393908417" sldId="3302"/>
            <ac:spMk id="48" creationId="{3A8BA4B2-45CE-F1B2-280A-6DB60A323D5A}"/>
          </ac:spMkLst>
        </pc:spChg>
        <pc:spChg chg="add del mod modVis">
          <ac:chgData name="Aurelien Domont" userId="6da7715ce44349b3" providerId="LiveId" clId="{131BB8E8-1659-49D0-9117-5008174AAE79}" dt="2023-12-06T02:22:03.094" v="3653"/>
          <ac:spMkLst>
            <pc:docMk/>
            <pc:sldMk cId="1393908417" sldId="3302"/>
            <ac:spMk id="50" creationId="{9328B83D-E9C7-CDB5-4A53-D4A3C64ADB69}"/>
          </ac:spMkLst>
        </pc:spChg>
        <pc:spChg chg="add del mod modVis">
          <ac:chgData name="Aurelien Domont" userId="6da7715ce44349b3" providerId="LiveId" clId="{131BB8E8-1659-49D0-9117-5008174AAE79}" dt="2023-12-06T02:36:49.604" v="4430" actId="962"/>
          <ac:spMkLst>
            <pc:docMk/>
            <pc:sldMk cId="1393908417" sldId="3302"/>
            <ac:spMk id="57" creationId="{2486BCC2-2CDE-C884-047E-41531700321E}"/>
          </ac:spMkLst>
        </pc:spChg>
        <pc:spChg chg="add del mod modVis">
          <ac:chgData name="Aurelien Domont" userId="6da7715ce44349b3" providerId="LiveId" clId="{131BB8E8-1659-49D0-9117-5008174AAE79}" dt="2023-12-06T02:36:48.883" v="4403" actId="962"/>
          <ac:spMkLst>
            <pc:docMk/>
            <pc:sldMk cId="1393908417" sldId="3302"/>
            <ac:spMk id="58" creationId="{877D4D98-ED46-F413-6710-F03325733445}"/>
          </ac:spMkLst>
        </pc:spChg>
        <pc:spChg chg="add del mod modVis">
          <ac:chgData name="Aurelien Domont" userId="6da7715ce44349b3" providerId="LiveId" clId="{131BB8E8-1659-49D0-9117-5008174AAE79}" dt="2023-12-06T02:36:48.128" v="4376" actId="962"/>
          <ac:spMkLst>
            <pc:docMk/>
            <pc:sldMk cId="1393908417" sldId="3302"/>
            <ac:spMk id="59" creationId="{FBA8DA5A-CF96-8371-8650-184FACD1207B}"/>
          </ac:spMkLst>
        </pc:spChg>
        <pc:spChg chg="add del mod modVis">
          <ac:chgData name="Aurelien Domont" userId="6da7715ce44349b3" providerId="LiveId" clId="{131BB8E8-1659-49D0-9117-5008174AAE79}" dt="2023-12-06T02:36:46.714" v="4348" actId="962"/>
          <ac:spMkLst>
            <pc:docMk/>
            <pc:sldMk cId="1393908417" sldId="3302"/>
            <ac:spMk id="60" creationId="{DDAEB29D-88D5-F1E7-44E3-C2127B9E63A1}"/>
          </ac:spMkLst>
        </pc:spChg>
        <pc:spChg chg="add del mod modVis">
          <ac:chgData name="Aurelien Domont" userId="6da7715ce44349b3" providerId="LiveId" clId="{131BB8E8-1659-49D0-9117-5008174AAE79}" dt="2023-12-06T02:37:07.176" v="4471"/>
          <ac:spMkLst>
            <pc:docMk/>
            <pc:sldMk cId="1393908417" sldId="3302"/>
            <ac:spMk id="61" creationId="{1E1E7E3F-938F-DBFE-50D4-A1CC37DD32A2}"/>
          </ac:spMkLst>
        </pc:spChg>
        <pc:spChg chg="add del mod modVis">
          <ac:chgData name="Aurelien Domont" userId="6da7715ce44349b3" providerId="LiveId" clId="{131BB8E8-1659-49D0-9117-5008174AAE79}" dt="2023-12-06T02:37:08.497" v="4503"/>
          <ac:spMkLst>
            <pc:docMk/>
            <pc:sldMk cId="1393908417" sldId="3302"/>
            <ac:spMk id="62" creationId="{2A02A437-9AFF-B1F9-E637-41C7F3D96914}"/>
          </ac:spMkLst>
        </pc:spChg>
        <pc:spChg chg="add del mod modVis">
          <ac:chgData name="Aurelien Domont" userId="6da7715ce44349b3" providerId="LiveId" clId="{131BB8E8-1659-49D0-9117-5008174AAE79}" dt="2023-12-06T02:37:11.357" v="4535"/>
          <ac:spMkLst>
            <pc:docMk/>
            <pc:sldMk cId="1393908417" sldId="3302"/>
            <ac:spMk id="63" creationId="{6B1CD5D5-F1FA-662D-2CE5-ABEB498F8943}"/>
          </ac:spMkLst>
        </pc:spChg>
        <pc:spChg chg="add del mod modVis">
          <ac:chgData name="Aurelien Domont" userId="6da7715ce44349b3" providerId="LiveId" clId="{131BB8E8-1659-49D0-9117-5008174AAE79}" dt="2023-12-06T02:37:37.648" v="4578"/>
          <ac:spMkLst>
            <pc:docMk/>
            <pc:sldMk cId="1393908417" sldId="3302"/>
            <ac:spMk id="64" creationId="{7BE09845-24B6-33C7-0630-EC8B4F406031}"/>
          </ac:spMkLst>
        </pc:spChg>
        <pc:spChg chg="add del mod modVis">
          <ac:chgData name="Aurelien Domont" userId="6da7715ce44349b3" providerId="LiveId" clId="{131BB8E8-1659-49D0-9117-5008174AAE79}" dt="2023-12-06T02:37:38.432" v="4606"/>
          <ac:spMkLst>
            <pc:docMk/>
            <pc:sldMk cId="1393908417" sldId="3302"/>
            <ac:spMk id="65" creationId="{03935E60-08B0-DBF7-EC9C-D5F480B9FCA6}"/>
          </ac:spMkLst>
        </pc:spChg>
        <pc:spChg chg="add del mod modVis">
          <ac:chgData name="Aurelien Domont" userId="6da7715ce44349b3" providerId="LiveId" clId="{131BB8E8-1659-49D0-9117-5008174AAE79}" dt="2023-12-06T02:37:39.191" v="4634"/>
          <ac:spMkLst>
            <pc:docMk/>
            <pc:sldMk cId="1393908417" sldId="3302"/>
            <ac:spMk id="66" creationId="{4E4784C4-DD35-6531-03A6-2AE3042972C3}"/>
          </ac:spMkLst>
        </pc:spChg>
        <pc:spChg chg="add del mod modVis">
          <ac:chgData name="Aurelien Domont" userId="6da7715ce44349b3" providerId="LiveId" clId="{131BB8E8-1659-49D0-9117-5008174AAE79}" dt="2023-12-06T02:37:41.810" v="4665"/>
          <ac:spMkLst>
            <pc:docMk/>
            <pc:sldMk cId="1393908417" sldId="3302"/>
            <ac:spMk id="67" creationId="{D0837262-A697-9178-5FC8-3989226864DB}"/>
          </ac:spMkLst>
        </pc:spChg>
        <pc:spChg chg="add del mod modVis">
          <ac:chgData name="Aurelien Domont" userId="6da7715ce44349b3" providerId="LiveId" clId="{131BB8E8-1659-49D0-9117-5008174AAE79}" dt="2023-12-06T02:37:42.532" v="4693"/>
          <ac:spMkLst>
            <pc:docMk/>
            <pc:sldMk cId="1393908417" sldId="3302"/>
            <ac:spMk id="68" creationId="{20A39E99-9C0F-5923-D61E-EA043E2EABBE}"/>
          </ac:spMkLst>
        </pc:spChg>
        <pc:spChg chg="add del mod modVis">
          <ac:chgData name="Aurelien Domont" userId="6da7715ce44349b3" providerId="LiveId" clId="{131BB8E8-1659-49D0-9117-5008174AAE79}" dt="2023-12-06T02:37:46.790" v="4739"/>
          <ac:spMkLst>
            <pc:docMk/>
            <pc:sldMk cId="1393908417" sldId="3302"/>
            <ac:spMk id="69" creationId="{1FB6DCCF-572A-A684-BD2E-BE52CFA1F146}"/>
          </ac:spMkLst>
        </pc:spChg>
        <pc:spChg chg="add del mod modVis">
          <ac:chgData name="Aurelien Domont" userId="6da7715ce44349b3" providerId="LiveId" clId="{131BB8E8-1659-49D0-9117-5008174AAE79}" dt="2023-12-06T02:38:02.097" v="4768"/>
          <ac:spMkLst>
            <pc:docMk/>
            <pc:sldMk cId="1393908417" sldId="3302"/>
            <ac:spMk id="70" creationId="{AB857620-3096-D6E9-EEB2-A4479FD0689D}"/>
          </ac:spMkLst>
        </pc:spChg>
        <pc:spChg chg="add del mod modVis">
          <ac:chgData name="Aurelien Domont" userId="6da7715ce44349b3" providerId="LiveId" clId="{131BB8E8-1659-49D0-9117-5008174AAE79}" dt="2023-12-06T02:38:04.627" v="4803"/>
          <ac:spMkLst>
            <pc:docMk/>
            <pc:sldMk cId="1393908417" sldId="3302"/>
            <ac:spMk id="71" creationId="{7679055E-409C-97D9-AF00-6598677852BE}"/>
          </ac:spMkLst>
        </pc:spChg>
        <pc:spChg chg="add del mod modVis">
          <ac:chgData name="Aurelien Domont" userId="6da7715ce44349b3" providerId="LiveId" clId="{131BB8E8-1659-49D0-9117-5008174AAE79}" dt="2023-12-06T02:38:05.366" v="4831"/>
          <ac:spMkLst>
            <pc:docMk/>
            <pc:sldMk cId="1393908417" sldId="3302"/>
            <ac:spMk id="72" creationId="{0E1E9DEE-40A7-5988-5A1C-15A00F97EAC2}"/>
          </ac:spMkLst>
        </pc:spChg>
        <pc:spChg chg="add del mod modVis">
          <ac:chgData name="Aurelien Domont" userId="6da7715ce44349b3" providerId="LiveId" clId="{131BB8E8-1659-49D0-9117-5008174AAE79}" dt="2023-12-06T02:38:07.409" v="4866"/>
          <ac:spMkLst>
            <pc:docMk/>
            <pc:sldMk cId="1393908417" sldId="3302"/>
            <ac:spMk id="73" creationId="{FF1084B8-5158-A20D-4D35-D006E71CAFEA}"/>
          </ac:spMkLst>
        </pc:spChg>
        <pc:spChg chg="add del mod modVis">
          <ac:chgData name="Aurelien Domont" userId="6da7715ce44349b3" providerId="LiveId" clId="{131BB8E8-1659-49D0-9117-5008174AAE79}" dt="2023-12-06T02:38:09.075" v="4900"/>
          <ac:spMkLst>
            <pc:docMk/>
            <pc:sldMk cId="1393908417" sldId="3302"/>
            <ac:spMk id="74" creationId="{8BA7658A-9C20-9F30-6F83-C02CDDF266EB}"/>
          </ac:spMkLst>
        </pc:spChg>
        <pc:spChg chg="add del mod modVis">
          <ac:chgData name="Aurelien Domont" userId="6da7715ce44349b3" providerId="LiveId" clId="{131BB8E8-1659-49D0-9117-5008174AAE79}" dt="2023-12-06T02:38:10.080" v="4928"/>
          <ac:spMkLst>
            <pc:docMk/>
            <pc:sldMk cId="1393908417" sldId="3302"/>
            <ac:spMk id="75" creationId="{553293E4-6438-C1A7-A1B7-06E90B581075}"/>
          </ac:spMkLst>
        </pc:spChg>
        <pc:spChg chg="add del mod modVis">
          <ac:chgData name="Aurelien Domont" userId="6da7715ce44349b3" providerId="LiveId" clId="{131BB8E8-1659-49D0-9117-5008174AAE79}" dt="2023-12-06T02:38:11.461" v="4961"/>
          <ac:spMkLst>
            <pc:docMk/>
            <pc:sldMk cId="1393908417" sldId="3302"/>
            <ac:spMk id="76" creationId="{D7D78A78-BB8A-C94A-D8AE-CBF272D82016}"/>
          </ac:spMkLst>
        </pc:spChg>
        <pc:spChg chg="add del mod modVis">
          <ac:chgData name="Aurelien Domont" userId="6da7715ce44349b3" providerId="LiveId" clId="{131BB8E8-1659-49D0-9117-5008174AAE79}" dt="2023-12-06T02:38:12.120" v="4992"/>
          <ac:spMkLst>
            <pc:docMk/>
            <pc:sldMk cId="1393908417" sldId="3302"/>
            <ac:spMk id="77" creationId="{EC5A8A91-78A3-9B67-4D58-0BDD2907C974}"/>
          </ac:spMkLst>
        </pc:spChg>
        <pc:spChg chg="add del mod modVis">
          <ac:chgData name="Aurelien Domont" userId="6da7715ce44349b3" providerId="LiveId" clId="{131BB8E8-1659-49D0-9117-5008174AAE79}" dt="2023-12-06T02:38:15.184" v="5037"/>
          <ac:spMkLst>
            <pc:docMk/>
            <pc:sldMk cId="1393908417" sldId="3302"/>
            <ac:spMk id="78" creationId="{385720C1-0A75-715E-F723-79652F55B302}"/>
          </ac:spMkLst>
        </pc:spChg>
        <pc:spChg chg="add del mod modVis">
          <ac:chgData name="Aurelien Domont" userId="6da7715ce44349b3" providerId="LiveId" clId="{131BB8E8-1659-49D0-9117-5008174AAE79}" dt="2023-12-06T02:38:17.472" v="5075"/>
          <ac:spMkLst>
            <pc:docMk/>
            <pc:sldMk cId="1393908417" sldId="3302"/>
            <ac:spMk id="79" creationId="{D940BCAB-27B5-4DB1-66A9-3CF9E8DFB28C}"/>
          </ac:spMkLst>
        </pc:spChg>
        <pc:spChg chg="add del mod modVis">
          <ac:chgData name="Aurelien Domont" userId="6da7715ce44349b3" providerId="LiveId" clId="{131BB8E8-1659-49D0-9117-5008174AAE79}" dt="2023-12-06T02:38:18.403" v="5105"/>
          <ac:spMkLst>
            <pc:docMk/>
            <pc:sldMk cId="1393908417" sldId="3302"/>
            <ac:spMk id="80" creationId="{5D86358E-385C-E1D1-2940-30D2261D2239}"/>
          </ac:spMkLst>
        </pc:spChg>
        <pc:spChg chg="add del mod modVis">
          <ac:chgData name="Aurelien Domont" userId="6da7715ce44349b3" providerId="LiveId" clId="{131BB8E8-1659-49D0-9117-5008174AAE79}" dt="2023-12-06T02:38:20.478" v="5135"/>
          <ac:spMkLst>
            <pc:docMk/>
            <pc:sldMk cId="1393908417" sldId="3302"/>
            <ac:spMk id="81" creationId="{2612EAA7-EA83-E23E-1B55-C509F5231ED3}"/>
          </ac:spMkLst>
        </pc:spChg>
        <pc:spChg chg="add del mod modVis">
          <ac:chgData name="Aurelien Domont" userId="6da7715ce44349b3" providerId="LiveId" clId="{131BB8E8-1659-49D0-9117-5008174AAE79}" dt="2023-12-06T02:38:21.545" v="5165"/>
          <ac:spMkLst>
            <pc:docMk/>
            <pc:sldMk cId="1393908417" sldId="3302"/>
            <ac:spMk id="82" creationId="{8B5F3F03-709B-D824-1F6C-0791F33CBF78}"/>
          </ac:spMkLst>
        </pc:spChg>
        <pc:spChg chg="add del mod modVis">
          <ac:chgData name="Aurelien Domont" userId="6da7715ce44349b3" providerId="LiveId" clId="{131BB8E8-1659-49D0-9117-5008174AAE79}" dt="2023-12-06T02:38:23.810" v="5195"/>
          <ac:spMkLst>
            <pc:docMk/>
            <pc:sldMk cId="1393908417" sldId="3302"/>
            <ac:spMk id="83" creationId="{4F8B478D-3565-55FE-E0A3-3351D959F90D}"/>
          </ac:spMkLst>
        </pc:spChg>
        <pc:spChg chg="add del mod modVis">
          <ac:chgData name="Aurelien Domont" userId="6da7715ce44349b3" providerId="LiveId" clId="{131BB8E8-1659-49D0-9117-5008174AAE79}" dt="2023-12-06T02:38:24.672" v="5225"/>
          <ac:spMkLst>
            <pc:docMk/>
            <pc:sldMk cId="1393908417" sldId="3302"/>
            <ac:spMk id="84" creationId="{FAB3A1FC-DE79-280F-C4AB-77A3460E0F9C}"/>
          </ac:spMkLst>
        </pc:spChg>
        <pc:spChg chg="add del mod modVis">
          <ac:chgData name="Aurelien Domont" userId="6da7715ce44349b3" providerId="LiveId" clId="{131BB8E8-1659-49D0-9117-5008174AAE79}" dt="2023-12-06T02:38:26.258" v="5253"/>
          <ac:spMkLst>
            <pc:docMk/>
            <pc:sldMk cId="1393908417" sldId="3302"/>
            <ac:spMk id="85" creationId="{A817C62A-08ED-E81B-F233-222C5429CB10}"/>
          </ac:spMkLst>
        </pc:spChg>
        <pc:spChg chg="add del mod modVis">
          <ac:chgData name="Aurelien Domont" userId="6da7715ce44349b3" providerId="LiveId" clId="{131BB8E8-1659-49D0-9117-5008174AAE79}" dt="2023-12-06T02:38:29.199" v="5282"/>
          <ac:spMkLst>
            <pc:docMk/>
            <pc:sldMk cId="1393908417" sldId="3302"/>
            <ac:spMk id="86" creationId="{AFE740CB-EAAD-29CC-F681-B0C791A46C3D}"/>
          </ac:spMkLst>
        </pc:spChg>
        <pc:spChg chg="add del mod modVis">
          <ac:chgData name="Aurelien Domont" userId="6da7715ce44349b3" providerId="LiveId" clId="{131BB8E8-1659-49D0-9117-5008174AAE79}" dt="2023-12-06T02:38:36.163" v="5314"/>
          <ac:spMkLst>
            <pc:docMk/>
            <pc:sldMk cId="1393908417" sldId="3302"/>
            <ac:spMk id="87" creationId="{C77D10A2-D1DB-B6E6-5232-7B4BF06DC95D}"/>
          </ac:spMkLst>
        </pc:spChg>
        <pc:spChg chg="add del mod modVis">
          <ac:chgData name="Aurelien Domont" userId="6da7715ce44349b3" providerId="LiveId" clId="{131BB8E8-1659-49D0-9117-5008174AAE79}" dt="2023-12-06T02:38:36.775" v="5342"/>
          <ac:spMkLst>
            <pc:docMk/>
            <pc:sldMk cId="1393908417" sldId="3302"/>
            <ac:spMk id="88" creationId="{C7A0191E-D758-810D-9A3B-852688A5BEF7}"/>
          </ac:spMkLst>
        </pc:spChg>
        <pc:spChg chg="add del mod modVis">
          <ac:chgData name="Aurelien Domont" userId="6da7715ce44349b3" providerId="LiveId" clId="{131BB8E8-1659-49D0-9117-5008174AAE79}" dt="2023-12-06T02:38:39.024" v="5380"/>
          <ac:spMkLst>
            <pc:docMk/>
            <pc:sldMk cId="1393908417" sldId="3302"/>
            <ac:spMk id="89" creationId="{8047D674-16F2-192A-7225-0A5EAA20BE5E}"/>
          </ac:spMkLst>
        </pc:spChg>
        <pc:spChg chg="add del mod modVis">
          <ac:chgData name="Aurelien Domont" userId="6da7715ce44349b3" providerId="LiveId" clId="{131BB8E8-1659-49D0-9117-5008174AAE79}" dt="2023-12-06T02:38:40.511" v="5410"/>
          <ac:spMkLst>
            <pc:docMk/>
            <pc:sldMk cId="1393908417" sldId="3302"/>
            <ac:spMk id="90" creationId="{960FF1A8-9C9C-EDF7-66CE-DB1309B0696D}"/>
          </ac:spMkLst>
        </pc:spChg>
        <pc:spChg chg="add del mod modVis">
          <ac:chgData name="Aurelien Domont" userId="6da7715ce44349b3" providerId="LiveId" clId="{131BB8E8-1659-49D0-9117-5008174AAE79}" dt="2023-12-06T02:38:41.282" v="5439"/>
          <ac:spMkLst>
            <pc:docMk/>
            <pc:sldMk cId="1393908417" sldId="3302"/>
            <ac:spMk id="91" creationId="{BB17557F-338B-1A75-EFC8-04313E7D926A}"/>
          </ac:spMkLst>
        </pc:spChg>
        <pc:spChg chg="add del mod modVis">
          <ac:chgData name="Aurelien Domont" userId="6da7715ce44349b3" providerId="LiveId" clId="{131BB8E8-1659-49D0-9117-5008174AAE79}" dt="2023-12-06T02:38:46.714" v="5467"/>
          <ac:spMkLst>
            <pc:docMk/>
            <pc:sldMk cId="1393908417" sldId="3302"/>
            <ac:spMk id="92" creationId="{5827080F-09B3-2AAA-23F1-C5571599AFD2}"/>
          </ac:spMkLst>
        </pc:spChg>
        <pc:spChg chg="add del mod modVis">
          <ac:chgData name="Aurelien Domont" userId="6da7715ce44349b3" providerId="LiveId" clId="{131BB8E8-1659-49D0-9117-5008174AAE79}" dt="2023-12-06T02:38:50.816" v="5496"/>
          <ac:spMkLst>
            <pc:docMk/>
            <pc:sldMk cId="1393908417" sldId="3302"/>
            <ac:spMk id="93" creationId="{209BF0DD-0904-10C5-4A99-A1AAD95F62FB}"/>
          </ac:spMkLst>
        </pc:spChg>
        <pc:spChg chg="add del mod modVis">
          <ac:chgData name="Aurelien Domont" userId="6da7715ce44349b3" providerId="LiveId" clId="{131BB8E8-1659-49D0-9117-5008174AAE79}" dt="2023-12-06T02:39:27.121" v="5531"/>
          <ac:spMkLst>
            <pc:docMk/>
            <pc:sldMk cId="1393908417" sldId="3302"/>
            <ac:spMk id="94" creationId="{F746C165-FBAE-00A5-D008-64A4DB1A3408}"/>
          </ac:spMkLst>
        </pc:spChg>
        <pc:spChg chg="add del mod modVis">
          <ac:chgData name="Aurelien Domont" userId="6da7715ce44349b3" providerId="LiveId" clId="{131BB8E8-1659-49D0-9117-5008174AAE79}" dt="2023-12-06T02:39:29.088" v="5566"/>
          <ac:spMkLst>
            <pc:docMk/>
            <pc:sldMk cId="1393908417" sldId="3302"/>
            <ac:spMk id="95" creationId="{D9B1271A-D21F-2D43-29DC-FB7C26844C30}"/>
          </ac:spMkLst>
        </pc:spChg>
        <pc:spChg chg="add del mod modVis">
          <ac:chgData name="Aurelien Domont" userId="6da7715ce44349b3" providerId="LiveId" clId="{131BB8E8-1659-49D0-9117-5008174AAE79}" dt="2023-12-06T02:39:30.594" v="5599"/>
          <ac:spMkLst>
            <pc:docMk/>
            <pc:sldMk cId="1393908417" sldId="3302"/>
            <ac:spMk id="96" creationId="{32567DA8-1229-AFDC-0E49-42FD8899B174}"/>
          </ac:spMkLst>
        </pc:spChg>
        <pc:spChg chg="add del mod modVis">
          <ac:chgData name="Aurelien Domont" userId="6da7715ce44349b3" providerId="LiveId" clId="{131BB8E8-1659-49D0-9117-5008174AAE79}" dt="2023-12-06T02:39:33.719" v="5645"/>
          <ac:spMkLst>
            <pc:docMk/>
            <pc:sldMk cId="1393908417" sldId="3302"/>
            <ac:spMk id="97" creationId="{FEC6D48E-8331-BEB6-6F69-BACA3C78D9C3}"/>
          </ac:spMkLst>
        </pc:spChg>
        <pc:spChg chg="add del mod modVis">
          <ac:chgData name="Aurelien Domont" userId="6da7715ce44349b3" providerId="LiveId" clId="{131BB8E8-1659-49D0-9117-5008174AAE79}" dt="2023-12-06T02:39:34.395" v="5673"/>
          <ac:spMkLst>
            <pc:docMk/>
            <pc:sldMk cId="1393908417" sldId="3302"/>
            <ac:spMk id="98" creationId="{7BA57B67-5566-2A3C-A98F-E67785B1DEE2}"/>
          </ac:spMkLst>
        </pc:spChg>
        <pc:spChg chg="add del mod modVis">
          <ac:chgData name="Aurelien Domont" userId="6da7715ce44349b3" providerId="LiveId" clId="{131BB8E8-1659-49D0-9117-5008174AAE79}" dt="2023-12-06T02:39:35.480" v="5702"/>
          <ac:spMkLst>
            <pc:docMk/>
            <pc:sldMk cId="1393908417" sldId="3302"/>
            <ac:spMk id="99" creationId="{414EADB1-D618-B752-3EDA-9D24C5FB954A}"/>
          </ac:spMkLst>
        </pc:spChg>
        <pc:spChg chg="add del mod modVis">
          <ac:chgData name="Aurelien Domont" userId="6da7715ce44349b3" providerId="LiveId" clId="{131BB8E8-1659-49D0-9117-5008174AAE79}" dt="2023-12-06T02:39:36.441" v="5732"/>
          <ac:spMkLst>
            <pc:docMk/>
            <pc:sldMk cId="1393908417" sldId="3302"/>
            <ac:spMk id="100" creationId="{B886953A-D999-8B48-5CE8-6AED8E119DAF}"/>
          </ac:spMkLst>
        </pc:spChg>
        <pc:spChg chg="add del mod modVis">
          <ac:chgData name="Aurelien Domont" userId="6da7715ce44349b3" providerId="LiveId" clId="{131BB8E8-1659-49D0-9117-5008174AAE79}" dt="2023-12-06T02:39:37.843" v="5760"/>
          <ac:spMkLst>
            <pc:docMk/>
            <pc:sldMk cId="1393908417" sldId="3302"/>
            <ac:spMk id="101" creationId="{96457C0E-4CE6-64C5-C8D7-E99FF162F465}"/>
          </ac:spMkLst>
        </pc:spChg>
        <pc:spChg chg="add del mod modVis">
          <ac:chgData name="Aurelien Domont" userId="6da7715ce44349b3" providerId="LiveId" clId="{131BB8E8-1659-49D0-9117-5008174AAE79}" dt="2023-12-06T02:39:40.398" v="5798"/>
          <ac:spMkLst>
            <pc:docMk/>
            <pc:sldMk cId="1393908417" sldId="3302"/>
            <ac:spMk id="102" creationId="{0749D9ED-EE1C-D592-DCD4-7E664AE3E436}"/>
          </ac:spMkLst>
        </pc:spChg>
        <pc:spChg chg="add del mod modVis">
          <ac:chgData name="Aurelien Domont" userId="6da7715ce44349b3" providerId="LiveId" clId="{131BB8E8-1659-49D0-9117-5008174AAE79}" dt="2023-12-06T02:39:41.954" v="5832"/>
          <ac:spMkLst>
            <pc:docMk/>
            <pc:sldMk cId="1393908417" sldId="3302"/>
            <ac:spMk id="103" creationId="{7A540645-AB31-A8E1-F6BA-2107BBC50737}"/>
          </ac:spMkLst>
        </pc:spChg>
        <pc:spChg chg="add del mod modVis">
          <ac:chgData name="Aurelien Domont" userId="6da7715ce44349b3" providerId="LiveId" clId="{131BB8E8-1659-49D0-9117-5008174AAE79}" dt="2023-12-06T02:39:44.121" v="5861"/>
          <ac:spMkLst>
            <pc:docMk/>
            <pc:sldMk cId="1393908417" sldId="3302"/>
            <ac:spMk id="104" creationId="{46E59388-BC11-5CC5-EC7B-7905E8A6E32A}"/>
          </ac:spMkLst>
        </pc:spChg>
        <pc:spChg chg="add del mod modVis">
          <ac:chgData name="Aurelien Domont" userId="6da7715ce44349b3" providerId="LiveId" clId="{131BB8E8-1659-49D0-9117-5008174AAE79}" dt="2023-12-06T02:39:47.339" v="5889"/>
          <ac:spMkLst>
            <pc:docMk/>
            <pc:sldMk cId="1393908417" sldId="3302"/>
            <ac:spMk id="105" creationId="{88777714-9E9F-D6D8-3EF2-0BC9A9BA805D}"/>
          </ac:spMkLst>
        </pc:spChg>
        <pc:spChg chg="add del mod modVis">
          <ac:chgData name="Aurelien Domont" userId="6da7715ce44349b3" providerId="LiveId" clId="{131BB8E8-1659-49D0-9117-5008174AAE79}" dt="2023-12-06T02:39:49.914" v="5917"/>
          <ac:spMkLst>
            <pc:docMk/>
            <pc:sldMk cId="1393908417" sldId="3302"/>
            <ac:spMk id="106" creationId="{D184B663-9A73-7642-E9A8-E9417A74621D}"/>
          </ac:spMkLst>
        </pc:spChg>
        <pc:spChg chg="add del mod modVis">
          <ac:chgData name="Aurelien Domont" userId="6da7715ce44349b3" providerId="LiveId" clId="{131BB8E8-1659-49D0-9117-5008174AAE79}" dt="2023-12-06T02:40:03.347" v="5945"/>
          <ac:spMkLst>
            <pc:docMk/>
            <pc:sldMk cId="1393908417" sldId="3302"/>
            <ac:spMk id="107" creationId="{B7894000-AF88-4751-1BEF-D0C740A16591}"/>
          </ac:spMkLst>
        </pc:spChg>
        <pc:grpChg chg="add mod ord">
          <ac:chgData name="Aurelien Domont" userId="6da7715ce44349b3" providerId="LiveId" clId="{131BB8E8-1659-49D0-9117-5008174AAE79}" dt="2023-12-06T02:24:22.096" v="3822"/>
          <ac:grpSpMkLst>
            <pc:docMk/>
            <pc:sldMk cId="1393908417" sldId="3302"/>
            <ac:grpSpMk id="5" creationId="{FFD140FC-D4EB-098F-094C-EB282360BAF1}"/>
          </ac:grpSpMkLst>
        </pc:grpChg>
        <pc:grpChg chg="add mod ord">
          <ac:chgData name="Aurelien Domont" userId="6da7715ce44349b3" providerId="LiveId" clId="{131BB8E8-1659-49D0-9117-5008174AAE79}" dt="2023-12-06T02:24:22.096" v="3824"/>
          <ac:grpSpMkLst>
            <pc:docMk/>
            <pc:sldMk cId="1393908417" sldId="3302"/>
            <ac:grpSpMk id="8" creationId="{9BB6EC18-FF6A-B910-8161-459A436075B6}"/>
          </ac:grpSpMkLst>
        </pc:grpChg>
        <pc:graphicFrameChg chg="add del mod replST">
          <ac:chgData name="Aurelien Domont" userId="6da7715ce44349b3" providerId="LiveId" clId="{131BB8E8-1659-49D0-9117-5008174AAE79}" dt="2023-12-06T02:18:46.272" v="2557"/>
          <ac:graphicFrameMkLst>
            <pc:docMk/>
            <pc:sldMk cId="1393908417" sldId="3302"/>
            <ac:graphicFrameMk id="11" creationId="{1052E7F0-8A1C-800C-FAD3-7DDFF1844322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18:48.442" v="2604"/>
          <ac:graphicFrameMkLst>
            <pc:docMk/>
            <pc:sldMk cId="1393908417" sldId="3302"/>
            <ac:graphicFrameMk id="15" creationId="{97F2A1A5-47A1-DDB4-D369-91B8717B3D7E}"/>
          </ac:graphicFrameMkLst>
        </pc:graphicFrameChg>
        <pc:graphicFrameChg chg="add mod ord modVis replST">
          <ac:chgData name="Aurelien Domont" userId="6da7715ce44349b3" providerId="LiveId" clId="{131BB8E8-1659-49D0-9117-5008174AAE79}" dt="2023-12-06T02:40:03.347" v="5947"/>
          <ac:graphicFrameMkLst>
            <pc:docMk/>
            <pc:sldMk cId="1393908417" sldId="3302"/>
            <ac:graphicFrameMk id="16" creationId="{6A0928A2-5679-39E5-8050-3FF70F110818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18:50.359" v="2636"/>
          <ac:graphicFrameMkLst>
            <pc:docMk/>
            <pc:sldMk cId="1393908417" sldId="3302"/>
            <ac:graphicFrameMk id="17" creationId="{03F2AE17-AAEF-3CC4-6AD7-A01F16D747F8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18:54.379" v="2668"/>
          <ac:graphicFrameMkLst>
            <pc:docMk/>
            <pc:sldMk cId="1393908417" sldId="3302"/>
            <ac:graphicFrameMk id="18" creationId="{1E4C0AE6-D1EC-6E68-E2C3-20FAA1FBA60A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4:22.049" v="3788"/>
          <ac:graphicFrameMkLst>
            <pc:docMk/>
            <pc:sldMk cId="1393908417" sldId="3302"/>
            <ac:graphicFrameMk id="19" creationId="{0CFB3386-03C5-9A90-DCD1-D81E0D632D95}"/>
          </ac:graphicFrameMkLst>
        </pc:graphicFrameChg>
        <pc:graphicFrameChg chg="add del mod replST">
          <ac:chgData name="Aurelien Domont" userId="6da7715ce44349b3" providerId="LiveId" clId="{131BB8E8-1659-49D0-9117-5008174AAE79}" dt="2023-12-06T02:20:09.679" v="2833"/>
          <ac:graphicFrameMkLst>
            <pc:docMk/>
            <pc:sldMk cId="1393908417" sldId="3302"/>
            <ac:graphicFrameMk id="22" creationId="{EFE1AE85-2FB2-3A7F-32A8-8487419DCFBB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1:12.175" v="2868"/>
          <ac:graphicFrameMkLst>
            <pc:docMk/>
            <pc:sldMk cId="1393908417" sldId="3302"/>
            <ac:graphicFrameMk id="26" creationId="{77697F9B-AFE0-45DF-158F-C9BEBE0D17C9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1:16.904" v="2940"/>
          <ac:graphicFrameMkLst>
            <pc:docMk/>
            <pc:sldMk cId="1393908417" sldId="3302"/>
            <ac:graphicFrameMk id="27" creationId="{25D4637F-686E-A8F7-C030-8EC9D8A2BE0F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1:19.984" v="3021"/>
          <ac:graphicFrameMkLst>
            <pc:docMk/>
            <pc:sldMk cId="1393908417" sldId="3302"/>
            <ac:graphicFrameMk id="29" creationId="{9646FCDD-3512-01CE-E780-1E95502B68E2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1:22.511" v="3109"/>
          <ac:graphicFrameMkLst>
            <pc:docMk/>
            <pc:sldMk cId="1393908417" sldId="3302"/>
            <ac:graphicFrameMk id="31" creationId="{3C70E65E-231F-A9FB-155D-7CBC5EE28FD9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1:25.470" v="3203"/>
          <ac:graphicFrameMkLst>
            <pc:docMk/>
            <pc:sldMk cId="1393908417" sldId="3302"/>
            <ac:graphicFrameMk id="34" creationId="{00E08CE7-13A9-CFCF-BF5E-2EE961B50F98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1:50.277" v="3267"/>
          <ac:graphicFrameMkLst>
            <pc:docMk/>
            <pc:sldMk cId="1393908417" sldId="3302"/>
            <ac:graphicFrameMk id="37" creationId="{103F7F4E-F102-0127-28A2-D80E314B4D41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1:52.538" v="3326"/>
          <ac:graphicFrameMkLst>
            <pc:docMk/>
            <pc:sldMk cId="1393908417" sldId="3302"/>
            <ac:graphicFrameMk id="39" creationId="{140DFF08-B39C-526A-183B-DEAE25EF7FED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1:53.996" v="3385"/>
          <ac:graphicFrameMkLst>
            <pc:docMk/>
            <pc:sldMk cId="1393908417" sldId="3302"/>
            <ac:graphicFrameMk id="41" creationId="{E757EDE3-D99B-AE73-DF0B-24A6072D6F48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1:55.160" v="3444"/>
          <ac:graphicFrameMkLst>
            <pc:docMk/>
            <pc:sldMk cId="1393908417" sldId="3302"/>
            <ac:graphicFrameMk id="43" creationId="{2B88013E-4503-C66E-CE0F-CAA524D025D6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1:57.356" v="3505"/>
          <ac:graphicFrameMkLst>
            <pc:docMk/>
            <pc:sldMk cId="1393908417" sldId="3302"/>
            <ac:graphicFrameMk id="45" creationId="{011E747C-AEFA-2492-163F-1E43B84A0CBA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2:00.015" v="3564"/>
          <ac:graphicFrameMkLst>
            <pc:docMk/>
            <pc:sldMk cId="1393908417" sldId="3302"/>
            <ac:graphicFrameMk id="47" creationId="{0953FDE2-96B3-C87B-8D21-E3274D062029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2:03.047" v="3623"/>
          <ac:graphicFrameMkLst>
            <pc:docMk/>
            <pc:sldMk cId="1393908417" sldId="3302"/>
            <ac:graphicFrameMk id="49" creationId="{59E24C4C-6079-1A1C-6D64-6A21000539B0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2:17.751" v="3662"/>
          <ac:graphicFrameMkLst>
            <pc:docMk/>
            <pc:sldMk cId="1393908417" sldId="3302"/>
            <ac:graphicFrameMk id="51" creationId="{BB86E96D-5F99-AA17-EDC0-A0BBAC08CA58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2:25.766" v="3699"/>
          <ac:graphicFrameMkLst>
            <pc:docMk/>
            <pc:sldMk cId="1393908417" sldId="3302"/>
            <ac:graphicFrameMk id="52" creationId="{7C98A54D-9BC4-91A3-2667-9DD0E112A7D0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3:06.918" v="3747"/>
          <ac:graphicFrameMkLst>
            <pc:docMk/>
            <pc:sldMk cId="1393908417" sldId="3302"/>
            <ac:graphicFrameMk id="53" creationId="{269D327B-CC4B-231D-AC62-78AEA71AA67D}"/>
          </ac:graphicFrameMkLst>
        </pc:graphicFrameChg>
        <pc:graphicFrameChg chg="add del mod ord replST">
          <ac:chgData name="Aurelien Domont" userId="6da7715ce44349b3" providerId="LiveId" clId="{131BB8E8-1659-49D0-9117-5008174AAE79}" dt="2023-12-06T02:24:22.080" v="3808"/>
          <ac:graphicFrameMkLst>
            <pc:docMk/>
            <pc:sldMk cId="1393908417" sldId="3302"/>
            <ac:graphicFrameMk id="54" creationId="{3C5B5F8E-0FC2-125A-E92B-A6DB08744653}"/>
          </ac:graphicFrameMkLst>
        </pc:graphicFrameChg>
        <pc:graphicFrameChg chg="add mod ord replST">
          <ac:chgData name="Aurelien Domont" userId="6da7715ce44349b3" providerId="LiveId" clId="{131BB8E8-1659-49D0-9117-5008174AAE79}" dt="2023-12-06T02:24:22.096" v="3826"/>
          <ac:graphicFrameMkLst>
            <pc:docMk/>
            <pc:sldMk cId="1393908417" sldId="3302"/>
            <ac:graphicFrameMk id="55" creationId="{B11C9326-8430-5C70-D042-B93A8A9A17C2}"/>
          </ac:graphicFrameMkLst>
        </pc:graphicFrameChg>
        <pc:graphicFrameChg chg="add mod ord replST">
          <ac:chgData name="Aurelien Domont" userId="6da7715ce44349b3" providerId="LiveId" clId="{131BB8E8-1659-49D0-9117-5008174AAE79}" dt="2023-12-06T02:24:22.096" v="3830"/>
          <ac:graphicFrameMkLst>
            <pc:docMk/>
            <pc:sldMk cId="1393908417" sldId="3302"/>
            <ac:graphicFrameMk id="56" creationId="{E002BDF1-EC7B-0E5A-53AA-9CE7499D4974}"/>
          </ac:graphicFrameMkLst>
        </pc:graphicFrameChg>
        <pc:cxnChg chg="mod">
          <ac:chgData name="Aurelien Domont" userId="6da7715ce44349b3" providerId="LiveId" clId="{131BB8E8-1659-49D0-9117-5008174AAE79}" dt="2023-12-06T02:18:27.713" v="2479"/>
          <ac:cxnSpMkLst>
            <pc:docMk/>
            <pc:sldMk cId="1393908417" sldId="3302"/>
            <ac:cxnSpMk id="6" creationId="{8A93B5C5-9FA9-F393-B949-25159AE84CD9}"/>
          </ac:cxnSpMkLst>
        </pc:cxnChg>
        <pc:cxnChg chg="mod">
          <ac:chgData name="Aurelien Domont" userId="6da7715ce44349b3" providerId="LiveId" clId="{131BB8E8-1659-49D0-9117-5008174AAE79}" dt="2023-12-06T02:18:27.713" v="2479"/>
          <ac:cxnSpMkLst>
            <pc:docMk/>
            <pc:sldMk cId="1393908417" sldId="3302"/>
            <ac:cxnSpMk id="9" creationId="{9B386F1F-9103-6CEC-9684-CC129590483A}"/>
          </ac:cxnSpMkLst>
        </pc:cxnChg>
      </pc:sldChg>
      <pc:sldChg chg="addSp delSp modSp add del mod">
        <pc:chgData name="Aurelien Domont" userId="6da7715ce44349b3" providerId="LiveId" clId="{131BB8E8-1659-49D0-9117-5008174AAE79}" dt="2023-12-05T00:04:04.215" v="2368" actId="47"/>
        <pc:sldMkLst>
          <pc:docMk/>
          <pc:sldMk cId="2745418366" sldId="3302"/>
        </pc:sldMkLst>
        <pc:spChg chg="mod">
          <ac:chgData name="Aurelien Domont" userId="6da7715ce44349b3" providerId="LiveId" clId="{131BB8E8-1659-49D0-9117-5008174AAE79}" dt="2023-12-05T00:02:29.514" v="2360" actId="948"/>
          <ac:spMkLst>
            <pc:docMk/>
            <pc:sldMk cId="2745418366" sldId="3302"/>
            <ac:spMk id="2" creationId="{34A2542B-43BB-B3BF-4169-708E55855120}"/>
          </ac:spMkLst>
        </pc:spChg>
        <pc:spChg chg="add del mod modVis">
          <ac:chgData name="Aurelien Domont" userId="6da7715ce44349b3" providerId="LiveId" clId="{131BB8E8-1659-49D0-9117-5008174AAE79}" dt="2023-12-05T00:00:22.601" v="1500"/>
          <ac:spMkLst>
            <pc:docMk/>
            <pc:sldMk cId="2745418366" sldId="3302"/>
            <ac:spMk id="3" creationId="{57C53F55-3B6F-268E-26B6-B3EDB2B24E1A}"/>
          </ac:spMkLst>
        </pc:spChg>
        <pc:spChg chg="del">
          <ac:chgData name="Aurelien Domont" userId="6da7715ce44349b3" providerId="LiveId" clId="{131BB8E8-1659-49D0-9117-5008174AAE79}" dt="2023-12-05T00:02:29.498" v="2357"/>
          <ac:spMkLst>
            <pc:docMk/>
            <pc:sldMk cId="2745418366" sldId="3302"/>
            <ac:spMk id="4" creationId="{82794C23-56FA-458F-B8C8-BCB8C0512CB9}"/>
          </ac:spMkLst>
        </pc:spChg>
        <pc:spChg chg="add del mod modVis">
          <ac:chgData name="Aurelien Domont" userId="6da7715ce44349b3" providerId="LiveId" clId="{131BB8E8-1659-49D0-9117-5008174AAE79}" dt="2023-12-05T00:00:24.821" v="1543"/>
          <ac:spMkLst>
            <pc:docMk/>
            <pc:sldMk cId="2745418366" sldId="3302"/>
            <ac:spMk id="5" creationId="{24F7EA04-E1B3-1A4A-BED9-F227A693382E}"/>
          </ac:spMkLst>
        </pc:spChg>
        <pc:spChg chg="add del mod modVis">
          <ac:chgData name="Aurelien Domont" userId="6da7715ce44349b3" providerId="LiveId" clId="{131BB8E8-1659-49D0-9117-5008174AAE79}" dt="2023-12-05T00:00:25.449" v="1575"/>
          <ac:spMkLst>
            <pc:docMk/>
            <pc:sldMk cId="2745418366" sldId="3302"/>
            <ac:spMk id="7" creationId="{8C13B785-FD50-7FEC-BB2F-A995D15CBE89}"/>
          </ac:spMkLst>
        </pc:spChg>
        <pc:spChg chg="add del mod modVis">
          <ac:chgData name="Aurelien Domont" userId="6da7715ce44349b3" providerId="LiveId" clId="{131BB8E8-1659-49D0-9117-5008174AAE79}" dt="2023-12-05T00:00:51.766" v="1622"/>
          <ac:spMkLst>
            <pc:docMk/>
            <pc:sldMk cId="2745418366" sldId="3302"/>
            <ac:spMk id="10" creationId="{70AD8882-879D-5440-7312-05C12F74703F}"/>
          </ac:spMkLst>
        </pc:spChg>
        <pc:spChg chg="add del mod modVis">
          <ac:chgData name="Aurelien Domont" userId="6da7715ce44349b3" providerId="LiveId" clId="{131BB8E8-1659-49D0-9117-5008174AAE79}" dt="2023-12-05T00:00:53.949" v="1665"/>
          <ac:spMkLst>
            <pc:docMk/>
            <pc:sldMk cId="2745418366" sldId="3302"/>
            <ac:spMk id="11" creationId="{2F0F9FE6-54D6-9D70-3DC8-909AFE4B6CDC}"/>
          </ac:spMkLst>
        </pc:spChg>
        <pc:spChg chg="add del mod modVis">
          <ac:chgData name="Aurelien Domont" userId="6da7715ce44349b3" providerId="LiveId" clId="{131BB8E8-1659-49D0-9117-5008174AAE79}" dt="2023-12-05T00:00:55.220" v="1702"/>
          <ac:spMkLst>
            <pc:docMk/>
            <pc:sldMk cId="2745418366" sldId="3302"/>
            <ac:spMk id="12" creationId="{FC02CF5A-6091-12EF-1286-B74C454101E6}"/>
          </ac:spMkLst>
        </pc:spChg>
        <pc:spChg chg="add del mod modVis">
          <ac:chgData name="Aurelien Domont" userId="6da7715ce44349b3" providerId="LiveId" clId="{131BB8E8-1659-49D0-9117-5008174AAE79}" dt="2023-12-05T00:00:57.682" v="1735"/>
          <ac:spMkLst>
            <pc:docMk/>
            <pc:sldMk cId="2745418366" sldId="3302"/>
            <ac:spMk id="13" creationId="{839C02C7-B18B-A865-82E4-1F45015FF592}"/>
          </ac:spMkLst>
        </pc:spChg>
        <pc:spChg chg="add del mod modVis">
          <ac:chgData name="Aurelien Domont" userId="6da7715ce44349b3" providerId="LiveId" clId="{131BB8E8-1659-49D0-9117-5008174AAE79}" dt="2023-12-05T00:01:01.204" v="1782"/>
          <ac:spMkLst>
            <pc:docMk/>
            <pc:sldMk cId="2745418366" sldId="3302"/>
            <ac:spMk id="14" creationId="{25A6987B-6893-300A-1132-FE20D8237B39}"/>
          </ac:spMkLst>
        </pc:spChg>
        <pc:spChg chg="add del mod modVis">
          <ac:chgData name="Aurelien Domont" userId="6da7715ce44349b3" providerId="LiveId" clId="{131BB8E8-1659-49D0-9117-5008174AAE79}" dt="2023-12-05T00:01:02.067" v="1816"/>
          <ac:spMkLst>
            <pc:docMk/>
            <pc:sldMk cId="2745418366" sldId="3302"/>
            <ac:spMk id="15" creationId="{9E2F2E23-4318-9A11-2432-E3CF93DF57BF}"/>
          </ac:spMkLst>
        </pc:spChg>
        <pc:spChg chg="add del mod modVis">
          <ac:chgData name="Aurelien Domont" userId="6da7715ce44349b3" providerId="LiveId" clId="{131BB8E8-1659-49D0-9117-5008174AAE79}" dt="2023-12-05T00:01:03.198" v="1849"/>
          <ac:spMkLst>
            <pc:docMk/>
            <pc:sldMk cId="2745418366" sldId="3302"/>
            <ac:spMk id="16" creationId="{5C480130-180E-8C2A-1BAB-583DD53E639E}"/>
          </ac:spMkLst>
        </pc:spChg>
        <pc:spChg chg="add del mod modVis">
          <ac:chgData name="Aurelien Domont" userId="6da7715ce44349b3" providerId="LiveId" clId="{131BB8E8-1659-49D0-9117-5008174AAE79}" dt="2023-12-05T00:01:07.215" v="1882"/>
          <ac:spMkLst>
            <pc:docMk/>
            <pc:sldMk cId="2745418366" sldId="3302"/>
            <ac:spMk id="17" creationId="{F70A7E41-45CA-A362-00AB-789C2FF90293}"/>
          </ac:spMkLst>
        </pc:spChg>
        <pc:spChg chg="add del mod modVis">
          <ac:chgData name="Aurelien Domont" userId="6da7715ce44349b3" providerId="LiveId" clId="{131BB8E8-1659-49D0-9117-5008174AAE79}" dt="2023-12-05T00:01:19.794" v="1921"/>
          <ac:spMkLst>
            <pc:docMk/>
            <pc:sldMk cId="2745418366" sldId="3302"/>
            <ac:spMk id="18" creationId="{0174602D-C971-C7E5-C1BB-3F1F91C72E45}"/>
          </ac:spMkLst>
        </pc:spChg>
        <pc:spChg chg="add del mod modVis">
          <ac:chgData name="Aurelien Domont" userId="6da7715ce44349b3" providerId="LiveId" clId="{131BB8E8-1659-49D0-9117-5008174AAE79}" dt="2023-12-05T00:01:20.863" v="1956"/>
          <ac:spMkLst>
            <pc:docMk/>
            <pc:sldMk cId="2745418366" sldId="3302"/>
            <ac:spMk id="19" creationId="{FC284785-F2A8-186E-D89C-C5284EA6E894}"/>
          </ac:spMkLst>
        </pc:spChg>
        <pc:spChg chg="del">
          <ac:chgData name="Aurelien Domont" userId="6da7715ce44349b3" providerId="LiveId" clId="{131BB8E8-1659-49D0-9117-5008174AAE79}" dt="2023-12-05T00:02:29.498" v="2353"/>
          <ac:spMkLst>
            <pc:docMk/>
            <pc:sldMk cId="2745418366" sldId="3302"/>
            <ac:spMk id="27" creationId="{11297F6C-D1F5-9B4A-D4A1-3C545BEDB932}"/>
          </ac:spMkLst>
        </pc:spChg>
        <pc:spChg chg="add del mod modVis">
          <ac:chgData name="Aurelien Domont" userId="6da7715ce44349b3" providerId="LiveId" clId="{131BB8E8-1659-49D0-9117-5008174AAE79}" dt="2023-12-05T00:01:26.528" v="1991"/>
          <ac:spMkLst>
            <pc:docMk/>
            <pc:sldMk cId="2745418366" sldId="3302"/>
            <ac:spMk id="28" creationId="{875FD125-8781-6112-C513-3BE004C2C1DB}"/>
          </ac:spMkLst>
        </pc:spChg>
        <pc:spChg chg="add del mod modVis">
          <ac:chgData name="Aurelien Domont" userId="6da7715ce44349b3" providerId="LiveId" clId="{131BB8E8-1659-49D0-9117-5008174AAE79}" dt="2023-12-05T00:02:03.506" v="2029"/>
          <ac:spMkLst>
            <pc:docMk/>
            <pc:sldMk cId="2745418366" sldId="3302"/>
            <ac:spMk id="29" creationId="{3202CFA8-A552-DB1E-AC0C-BA8FA64D2AA8}"/>
          </ac:spMkLst>
        </pc:spChg>
        <pc:spChg chg="del">
          <ac:chgData name="Aurelien Domont" userId="6da7715ce44349b3" providerId="LiveId" clId="{131BB8E8-1659-49D0-9117-5008174AAE79}" dt="2023-12-05T00:02:29.498" v="2356"/>
          <ac:spMkLst>
            <pc:docMk/>
            <pc:sldMk cId="2745418366" sldId="3302"/>
            <ac:spMk id="30" creationId="{071A5276-99D6-E0CC-A4AF-8B521BF45C37}"/>
          </ac:spMkLst>
        </pc:spChg>
        <pc:spChg chg="add del mod modVis">
          <ac:chgData name="Aurelien Domont" userId="6da7715ce44349b3" providerId="LiveId" clId="{131BB8E8-1659-49D0-9117-5008174AAE79}" dt="2023-12-05T00:02:04.445" v="2063"/>
          <ac:spMkLst>
            <pc:docMk/>
            <pc:sldMk cId="2745418366" sldId="3302"/>
            <ac:spMk id="31" creationId="{697F0FA6-C751-54F1-CCEC-4C7827871962}"/>
          </ac:spMkLst>
        </pc:spChg>
        <pc:spChg chg="add del mod modVis">
          <ac:chgData name="Aurelien Domont" userId="6da7715ce44349b3" providerId="LiveId" clId="{131BB8E8-1659-49D0-9117-5008174AAE79}" dt="2023-12-05T00:02:07.588" v="2103"/>
          <ac:spMkLst>
            <pc:docMk/>
            <pc:sldMk cId="2745418366" sldId="3302"/>
            <ac:spMk id="32" creationId="{E52E839B-E413-113E-1711-EB0CC2A68985}"/>
          </ac:spMkLst>
        </pc:spChg>
        <pc:spChg chg="add del mod modVis">
          <ac:chgData name="Aurelien Domont" userId="6da7715ce44349b3" providerId="LiveId" clId="{131BB8E8-1659-49D0-9117-5008174AAE79}" dt="2023-12-05T00:02:08.168" v="2135"/>
          <ac:spMkLst>
            <pc:docMk/>
            <pc:sldMk cId="2745418366" sldId="3302"/>
            <ac:spMk id="33" creationId="{93362BF4-4257-DB35-EBA9-4FE96549AE81}"/>
          </ac:spMkLst>
        </pc:spChg>
        <pc:spChg chg="add del mod modVis">
          <ac:chgData name="Aurelien Domont" userId="6da7715ce44349b3" providerId="LiveId" clId="{131BB8E8-1659-49D0-9117-5008174AAE79}" dt="2023-12-05T00:02:10.194" v="2174"/>
          <ac:spMkLst>
            <pc:docMk/>
            <pc:sldMk cId="2745418366" sldId="3302"/>
            <ac:spMk id="34" creationId="{32EA8972-65E6-A090-3349-53B15C6B7C52}"/>
          </ac:spMkLst>
        </pc:spChg>
        <pc:spChg chg="add del mod modVis">
          <ac:chgData name="Aurelien Domont" userId="6da7715ce44349b3" providerId="LiveId" clId="{131BB8E8-1659-49D0-9117-5008174AAE79}" dt="2023-12-05T00:02:10.900" v="2208"/>
          <ac:spMkLst>
            <pc:docMk/>
            <pc:sldMk cId="2745418366" sldId="3302"/>
            <ac:spMk id="35" creationId="{F2DB9072-E6DF-9406-FB24-65A5DB18D567}"/>
          </ac:spMkLst>
        </pc:spChg>
        <pc:spChg chg="add del mod modVis">
          <ac:chgData name="Aurelien Domont" userId="6da7715ce44349b3" providerId="LiveId" clId="{131BB8E8-1659-49D0-9117-5008174AAE79}" dt="2023-12-05T00:02:14.563" v="2256"/>
          <ac:spMkLst>
            <pc:docMk/>
            <pc:sldMk cId="2745418366" sldId="3302"/>
            <ac:spMk id="36" creationId="{97A46E6E-52CC-9909-5B0D-8E781A89822F}"/>
          </ac:spMkLst>
        </pc:spChg>
        <pc:spChg chg="add del mod modVis">
          <ac:chgData name="Aurelien Domont" userId="6da7715ce44349b3" providerId="LiveId" clId="{131BB8E8-1659-49D0-9117-5008174AAE79}" dt="2023-12-05T00:02:15.631" v="2288"/>
          <ac:spMkLst>
            <pc:docMk/>
            <pc:sldMk cId="2745418366" sldId="3302"/>
            <ac:spMk id="37" creationId="{93DDA2DC-FF72-158B-A9C9-0F114C2798AA}"/>
          </ac:spMkLst>
        </pc:spChg>
        <pc:spChg chg="add del mod modVis">
          <ac:chgData name="Aurelien Domont" userId="6da7715ce44349b3" providerId="LiveId" clId="{131BB8E8-1659-49D0-9117-5008174AAE79}" dt="2023-12-05T00:02:22.959" v="2317"/>
          <ac:spMkLst>
            <pc:docMk/>
            <pc:sldMk cId="2745418366" sldId="3302"/>
            <ac:spMk id="38" creationId="{EE869BE8-D9EC-F008-575C-86049578DD3E}"/>
          </ac:spMkLst>
        </pc:spChg>
        <pc:spChg chg="add del mod modVis">
          <ac:chgData name="Aurelien Domont" userId="6da7715ce44349b3" providerId="LiveId" clId="{131BB8E8-1659-49D0-9117-5008174AAE79}" dt="2023-12-05T00:02:25.145" v="2345"/>
          <ac:spMkLst>
            <pc:docMk/>
            <pc:sldMk cId="2745418366" sldId="3302"/>
            <ac:spMk id="39" creationId="{1DBB6285-48A1-FED6-8CFC-554F722BFE7D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40" creationId="{75F16E5A-6495-68D4-0B70-A6F6F96688B8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41" creationId="{9AA5A33C-F611-6824-DBEC-D76C50778C58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42" creationId="{7E6DA193-59B5-74ED-D6DD-E3E444D4F89A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43" creationId="{7AA15357-07C6-6D27-B8AC-EC9596DE3BCF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44" creationId="{7761A238-3C4D-9B41-5AE2-5BFD29F234ED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45" creationId="{D90CCF63-C23F-B9A9-D3DA-4EB0C4229540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46" creationId="{CE30300B-D793-B120-B9E5-A3A287A20239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47" creationId="{F4520A6E-C3AC-0C02-D429-0EC02FE2A20F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48" creationId="{85CFAAAB-93D1-1EEC-18AA-E4C81ED7A996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50" creationId="{715B13A6-AB13-2EC8-1268-24C98CE7E44E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51" creationId="{5B4D5EFD-0B5C-2913-4874-CB5631E56025}"/>
          </ac:spMkLst>
        </pc:spChg>
        <pc:spChg chg="del">
          <ac:chgData name="Aurelien Domont" userId="6da7715ce44349b3" providerId="LiveId" clId="{131BB8E8-1659-49D0-9117-5008174AAE79}" dt="2023-12-05T00:02:31.847" v="2365" actId="478"/>
          <ac:spMkLst>
            <pc:docMk/>
            <pc:sldMk cId="2745418366" sldId="3302"/>
            <ac:spMk id="52" creationId="{E68E3337-3CAB-5867-805E-B494A4F01F7C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53" creationId="{569D85AE-070A-F1CA-C352-FA581F92F283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54" creationId="{A9231BB7-D9F3-52F2-F084-1F84BD866D65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55" creationId="{733D3DF3-64A5-D77A-A8C0-524A21ED7292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56" creationId="{79A432A6-8D4B-4038-1A7A-3DB809D6748A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57" creationId="{8CD2EDC1-B658-E9D7-8F98-24D4F4ED377E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58" creationId="{8FD2D9EC-8A21-B2F5-34D2-9DCE3287B979}"/>
          </ac:spMkLst>
        </pc:spChg>
        <pc:spChg chg="add mod">
          <ac:chgData name="Aurelien Domont" userId="6da7715ce44349b3" providerId="LiveId" clId="{131BB8E8-1659-49D0-9117-5008174AAE79}" dt="2023-12-05T00:02:53.547" v="2367" actId="1037"/>
          <ac:spMkLst>
            <pc:docMk/>
            <pc:sldMk cId="2745418366" sldId="3302"/>
            <ac:spMk id="66" creationId="{75189CE8-F3EC-D36B-108B-975561EDEBC8}"/>
          </ac:spMkLst>
        </pc:spChg>
        <pc:grpChg chg="del">
          <ac:chgData name="Aurelien Domont" userId="6da7715ce44349b3" providerId="LiveId" clId="{131BB8E8-1659-49D0-9117-5008174AAE79}" dt="2023-12-05T00:02:29.498" v="2351"/>
          <ac:grpSpMkLst>
            <pc:docMk/>
            <pc:sldMk cId="2745418366" sldId="3302"/>
            <ac:grpSpMk id="20" creationId="{F346964D-A932-05EB-E307-5DE6E76C6ACB}"/>
          </ac:grpSpMkLst>
        </pc:grpChg>
        <pc:grpChg chg="del">
          <ac:chgData name="Aurelien Domont" userId="6da7715ce44349b3" providerId="LiveId" clId="{131BB8E8-1659-49D0-9117-5008174AAE79}" dt="2023-12-05T00:02:29.498" v="2355"/>
          <ac:grpSpMkLst>
            <pc:docMk/>
            <pc:sldMk cId="2745418366" sldId="3302"/>
            <ac:grpSpMk id="23" creationId="{7234FE23-742D-5BB9-0223-ED4E0E1FFEFE}"/>
          </ac:grpSpMkLst>
        </pc:grpChg>
        <pc:graphicFrameChg chg="mod">
          <ac:chgData name="Aurelien Domont" userId="6da7715ce44349b3" providerId="LiveId" clId="{131BB8E8-1659-49D0-9117-5008174AAE79}" dt="2023-12-05T00:02:29.514" v="2364"/>
          <ac:graphicFrameMkLst>
            <pc:docMk/>
            <pc:sldMk cId="2745418366" sldId="3302"/>
            <ac:graphicFrameMk id="6" creationId="{778C851D-18CB-71FD-A9DF-00B73F828263}"/>
          </ac:graphicFrameMkLst>
        </pc:graphicFrameChg>
        <pc:graphicFrameChg chg="del">
          <ac:chgData name="Aurelien Domont" userId="6da7715ce44349b3" providerId="LiveId" clId="{131BB8E8-1659-49D0-9117-5008174AAE79}" dt="2023-12-05T00:02:29.498" v="2359"/>
          <ac:graphicFrameMkLst>
            <pc:docMk/>
            <pc:sldMk cId="2745418366" sldId="3302"/>
            <ac:graphicFrameMk id="62" creationId="{58164416-0044-A8DB-4BDF-21B3468AFCE9}"/>
          </ac:graphicFrameMkLst>
        </pc:graphicFrameChg>
        <pc:picChg chg="add mod">
          <ac:chgData name="Aurelien Domont" userId="6da7715ce44349b3" providerId="LiveId" clId="{131BB8E8-1659-49D0-9117-5008174AAE79}" dt="2023-12-05T00:02:53.547" v="2367" actId="1037"/>
          <ac:picMkLst>
            <pc:docMk/>
            <pc:sldMk cId="2745418366" sldId="3302"/>
            <ac:picMk id="49" creationId="{985BCCCC-2B8E-C7FF-5BE0-C0B301DA2C69}"/>
          </ac:picMkLst>
        </pc:picChg>
        <pc:picChg chg="add mod">
          <ac:chgData name="Aurelien Domont" userId="6da7715ce44349b3" providerId="LiveId" clId="{131BB8E8-1659-49D0-9117-5008174AAE79}" dt="2023-12-05T00:02:53.547" v="2367" actId="1037"/>
          <ac:picMkLst>
            <pc:docMk/>
            <pc:sldMk cId="2745418366" sldId="3302"/>
            <ac:picMk id="59" creationId="{E4E033FB-A5D2-9220-80D5-EF57B5ED18F4}"/>
          </ac:picMkLst>
        </pc:picChg>
        <pc:picChg chg="add mod">
          <ac:chgData name="Aurelien Domont" userId="6da7715ce44349b3" providerId="LiveId" clId="{131BB8E8-1659-49D0-9117-5008174AAE79}" dt="2023-12-05T00:02:53.547" v="2367" actId="1037"/>
          <ac:picMkLst>
            <pc:docMk/>
            <pc:sldMk cId="2745418366" sldId="3302"/>
            <ac:picMk id="60" creationId="{FF73136F-84EF-B749-7BD2-C7E4883709BD}"/>
          </ac:picMkLst>
        </pc:picChg>
        <pc:picChg chg="add mod">
          <ac:chgData name="Aurelien Domont" userId="6da7715ce44349b3" providerId="LiveId" clId="{131BB8E8-1659-49D0-9117-5008174AAE79}" dt="2023-12-05T00:02:53.547" v="2367" actId="1037"/>
          <ac:picMkLst>
            <pc:docMk/>
            <pc:sldMk cId="2745418366" sldId="3302"/>
            <ac:picMk id="61" creationId="{E45E5770-BD60-870B-A65C-7C3E02D62556}"/>
          </ac:picMkLst>
        </pc:picChg>
        <pc:picChg chg="add mod">
          <ac:chgData name="Aurelien Domont" userId="6da7715ce44349b3" providerId="LiveId" clId="{131BB8E8-1659-49D0-9117-5008174AAE79}" dt="2023-12-05T00:02:53.547" v="2367" actId="1037"/>
          <ac:picMkLst>
            <pc:docMk/>
            <pc:sldMk cId="2745418366" sldId="3302"/>
            <ac:picMk id="63" creationId="{44ED1A7B-0047-0A49-AA4C-72752BE0E8DF}"/>
          </ac:picMkLst>
        </pc:picChg>
        <pc:picChg chg="add mod">
          <ac:chgData name="Aurelien Domont" userId="6da7715ce44349b3" providerId="LiveId" clId="{131BB8E8-1659-49D0-9117-5008174AAE79}" dt="2023-12-05T00:02:53.547" v="2367" actId="1037"/>
          <ac:picMkLst>
            <pc:docMk/>
            <pc:sldMk cId="2745418366" sldId="3302"/>
            <ac:picMk id="64" creationId="{1582E717-BA89-BBA3-4D8C-549C73410C4F}"/>
          </ac:picMkLst>
        </pc:picChg>
        <pc:picChg chg="add mod">
          <ac:chgData name="Aurelien Domont" userId="6da7715ce44349b3" providerId="LiveId" clId="{131BB8E8-1659-49D0-9117-5008174AAE79}" dt="2023-12-05T00:02:53.547" v="2367" actId="1037"/>
          <ac:picMkLst>
            <pc:docMk/>
            <pc:sldMk cId="2745418366" sldId="3302"/>
            <ac:picMk id="65" creationId="{9BB16B77-C196-72B9-540E-0CD87E753916}"/>
          </ac:picMkLst>
        </pc:picChg>
        <pc:picChg chg="add mod">
          <ac:chgData name="Aurelien Domont" userId="6da7715ce44349b3" providerId="LiveId" clId="{131BB8E8-1659-49D0-9117-5008174AAE79}" dt="2023-12-05T00:02:53.547" v="2367" actId="1037"/>
          <ac:picMkLst>
            <pc:docMk/>
            <pc:sldMk cId="2745418366" sldId="3302"/>
            <ac:picMk id="67" creationId="{AED0C8F9-E0DD-4462-9735-C42BE4126A8C}"/>
          </ac:picMkLst>
        </pc:picChg>
        <pc:picChg chg="add mod">
          <ac:chgData name="Aurelien Domont" userId="6da7715ce44349b3" providerId="LiveId" clId="{131BB8E8-1659-49D0-9117-5008174AAE79}" dt="2023-12-05T00:02:53.547" v="2367" actId="1037"/>
          <ac:picMkLst>
            <pc:docMk/>
            <pc:sldMk cId="2745418366" sldId="3302"/>
            <ac:picMk id="68" creationId="{198EB46A-011F-5AC9-44A3-6A35DE020452}"/>
          </ac:picMkLst>
        </pc:picChg>
        <pc:cxnChg chg="del">
          <ac:chgData name="Aurelien Domont" userId="6da7715ce44349b3" providerId="LiveId" clId="{131BB8E8-1659-49D0-9117-5008174AAE79}" dt="2023-12-05T00:02:29.498" v="2349"/>
          <ac:cxnSpMkLst>
            <pc:docMk/>
            <pc:sldMk cId="2745418366" sldId="3302"/>
            <ac:cxnSpMk id="26" creationId="{EFA8D06F-3DCC-7731-801E-82BF97521AA1}"/>
          </ac:cxnSpMkLst>
        </pc:cxnChg>
      </pc:sldChg>
      <pc:sldChg chg="addSp delSp modSp add mod">
        <pc:chgData name="Aurelien Domont" userId="6da7715ce44349b3" providerId="LiveId" clId="{131BB8E8-1659-49D0-9117-5008174AAE79}" dt="2023-12-06T02:50:33.257" v="6240" actId="108"/>
        <pc:sldMkLst>
          <pc:docMk/>
          <pc:sldMk cId="348420775" sldId="3303"/>
        </pc:sldMkLst>
        <pc:spChg chg="del">
          <ac:chgData name="Aurelien Domont" userId="6da7715ce44349b3" providerId="LiveId" clId="{131BB8E8-1659-49D0-9117-5008174AAE79}" dt="2023-12-06T02:44:42.022" v="6031" actId="478"/>
          <ac:spMkLst>
            <pc:docMk/>
            <pc:sldMk cId="348420775" sldId="3303"/>
            <ac:spMk id="3" creationId="{DC8B1236-9EBE-1569-2DE7-41D7FA0BF21C}"/>
          </ac:spMkLst>
        </pc:spChg>
        <pc:spChg chg="add mod">
          <ac:chgData name="Aurelien Domont" userId="6da7715ce44349b3" providerId="LiveId" clId="{131BB8E8-1659-49D0-9117-5008174AAE79}" dt="2023-12-06T02:46:37.940" v="6192" actId="207"/>
          <ac:spMkLst>
            <pc:docMk/>
            <pc:sldMk cId="348420775" sldId="3303"/>
            <ac:spMk id="4" creationId="{99603223-1600-4878-C974-BE354BB939BC}"/>
          </ac:spMkLst>
        </pc:spChg>
        <pc:spChg chg="del">
          <ac:chgData name="Aurelien Domont" userId="6da7715ce44349b3" providerId="LiveId" clId="{131BB8E8-1659-49D0-9117-5008174AAE79}" dt="2023-12-06T02:44:42.022" v="6031" actId="478"/>
          <ac:spMkLst>
            <pc:docMk/>
            <pc:sldMk cId="348420775" sldId="3303"/>
            <ac:spMk id="5" creationId="{2ED6A1CA-73D8-1A15-8C8A-DE24AE1EEB9F}"/>
          </ac:spMkLst>
        </pc:spChg>
        <pc:spChg chg="add mod">
          <ac:chgData name="Aurelien Domont" userId="6da7715ce44349b3" providerId="LiveId" clId="{131BB8E8-1659-49D0-9117-5008174AAE79}" dt="2023-12-06T02:46:37.940" v="6192" actId="207"/>
          <ac:spMkLst>
            <pc:docMk/>
            <pc:sldMk cId="348420775" sldId="3303"/>
            <ac:spMk id="7" creationId="{862E9442-E533-82E4-DCB5-A77EFB47F88B}"/>
          </ac:spMkLst>
        </pc:spChg>
        <pc:spChg chg="add del mod">
          <ac:chgData name="Aurelien Domont" userId="6da7715ce44349b3" providerId="LiveId" clId="{131BB8E8-1659-49D0-9117-5008174AAE79}" dt="2023-12-06T02:44:57.054" v="6033" actId="478"/>
          <ac:spMkLst>
            <pc:docMk/>
            <pc:sldMk cId="348420775" sldId="3303"/>
            <ac:spMk id="8" creationId="{5EB8BD19-9157-DCEF-68B1-D38F790E0085}"/>
          </ac:spMkLst>
        </pc:spChg>
        <pc:spChg chg="add del mod">
          <ac:chgData name="Aurelien Domont" userId="6da7715ce44349b3" providerId="LiveId" clId="{131BB8E8-1659-49D0-9117-5008174AAE79}" dt="2023-12-06T02:44:57.054" v="6033" actId="478"/>
          <ac:spMkLst>
            <pc:docMk/>
            <pc:sldMk cId="348420775" sldId="3303"/>
            <ac:spMk id="11" creationId="{83A4055B-8ECF-7975-718C-4E0EB711ECC4}"/>
          </ac:spMkLst>
        </pc:spChg>
        <pc:spChg chg="del">
          <ac:chgData name="Aurelien Domont" userId="6da7715ce44349b3" providerId="LiveId" clId="{131BB8E8-1659-49D0-9117-5008174AAE79}" dt="2023-12-06T02:44:42.022" v="6031" actId="478"/>
          <ac:spMkLst>
            <pc:docMk/>
            <pc:sldMk cId="348420775" sldId="3303"/>
            <ac:spMk id="12" creationId="{E5C880B1-3661-390E-F882-CB4F6F931514}"/>
          </ac:spMkLst>
        </pc:spChg>
        <pc:spChg chg="add del mod">
          <ac:chgData name="Aurelien Domont" userId="6da7715ce44349b3" providerId="LiveId" clId="{131BB8E8-1659-49D0-9117-5008174AAE79}" dt="2023-12-06T02:44:57.054" v="6033" actId="478"/>
          <ac:spMkLst>
            <pc:docMk/>
            <pc:sldMk cId="348420775" sldId="3303"/>
            <ac:spMk id="13" creationId="{9EAF88E7-555E-0835-7F34-48EA01E75C21}"/>
          </ac:spMkLst>
        </pc:spChg>
        <pc:spChg chg="del">
          <ac:chgData name="Aurelien Domont" userId="6da7715ce44349b3" providerId="LiveId" clId="{131BB8E8-1659-49D0-9117-5008174AAE79}" dt="2023-12-06T02:44:42.022" v="6031" actId="478"/>
          <ac:spMkLst>
            <pc:docMk/>
            <pc:sldMk cId="348420775" sldId="3303"/>
            <ac:spMk id="14" creationId="{2D61A940-E2A4-8F8B-BEEB-527EA37FB376}"/>
          </ac:spMkLst>
        </pc:spChg>
        <pc:spChg chg="del">
          <ac:chgData name="Aurelien Domont" userId="6da7715ce44349b3" providerId="LiveId" clId="{131BB8E8-1659-49D0-9117-5008174AAE79}" dt="2023-12-06T02:44:42.022" v="6031" actId="478"/>
          <ac:spMkLst>
            <pc:docMk/>
            <pc:sldMk cId="348420775" sldId="3303"/>
            <ac:spMk id="15" creationId="{274392A5-1E09-AADB-1902-0598AA87A564}"/>
          </ac:spMkLst>
        </pc:spChg>
        <pc:spChg chg="del">
          <ac:chgData name="Aurelien Domont" userId="6da7715ce44349b3" providerId="LiveId" clId="{131BB8E8-1659-49D0-9117-5008174AAE79}" dt="2023-12-06T02:44:42.022" v="6031" actId="478"/>
          <ac:spMkLst>
            <pc:docMk/>
            <pc:sldMk cId="348420775" sldId="3303"/>
            <ac:spMk id="16" creationId="{D7BABEBB-009A-B3CC-DD7C-AC6B17E66EBD}"/>
          </ac:spMkLst>
        </pc:spChg>
        <pc:spChg chg="del">
          <ac:chgData name="Aurelien Domont" userId="6da7715ce44349b3" providerId="LiveId" clId="{131BB8E8-1659-49D0-9117-5008174AAE79}" dt="2023-12-06T02:44:42.022" v="6031" actId="478"/>
          <ac:spMkLst>
            <pc:docMk/>
            <pc:sldMk cId="348420775" sldId="3303"/>
            <ac:spMk id="17" creationId="{5A4EBC52-4520-716E-F7FC-5C1748C76EC9}"/>
          </ac:spMkLst>
        </pc:spChg>
        <pc:spChg chg="del">
          <ac:chgData name="Aurelien Domont" userId="6da7715ce44349b3" providerId="LiveId" clId="{131BB8E8-1659-49D0-9117-5008174AAE79}" dt="2023-12-06T02:44:42.022" v="6031" actId="478"/>
          <ac:spMkLst>
            <pc:docMk/>
            <pc:sldMk cId="348420775" sldId="3303"/>
            <ac:spMk id="18" creationId="{49B65B9F-63BA-FB4C-B12B-B72843B3717D}"/>
          </ac:spMkLst>
        </pc:spChg>
        <pc:spChg chg="del">
          <ac:chgData name="Aurelien Domont" userId="6da7715ce44349b3" providerId="LiveId" clId="{131BB8E8-1659-49D0-9117-5008174AAE79}" dt="2023-12-06T02:44:42.022" v="6031" actId="478"/>
          <ac:spMkLst>
            <pc:docMk/>
            <pc:sldMk cId="348420775" sldId="3303"/>
            <ac:spMk id="19" creationId="{D37A2CA0-E224-A57E-B83D-3F8EBC0B08EB}"/>
          </ac:spMkLst>
        </pc:spChg>
        <pc:spChg chg="del">
          <ac:chgData name="Aurelien Domont" userId="6da7715ce44349b3" providerId="LiveId" clId="{131BB8E8-1659-49D0-9117-5008174AAE79}" dt="2023-12-06T02:44:42.022" v="6031" actId="478"/>
          <ac:spMkLst>
            <pc:docMk/>
            <pc:sldMk cId="348420775" sldId="3303"/>
            <ac:spMk id="20" creationId="{0CA3FB12-AFA3-4D30-44A1-2208EFD37686}"/>
          </ac:spMkLst>
        </pc:spChg>
        <pc:spChg chg="add mod">
          <ac:chgData name="Aurelien Domont" userId="6da7715ce44349b3" providerId="LiveId" clId="{131BB8E8-1659-49D0-9117-5008174AAE79}" dt="2023-12-06T02:44:49.370" v="6032"/>
          <ac:spMkLst>
            <pc:docMk/>
            <pc:sldMk cId="348420775" sldId="3303"/>
            <ac:spMk id="25" creationId="{B6D6720F-030A-1F46-4D17-753ACBF75408}"/>
          </ac:spMkLst>
        </pc:spChg>
        <pc:spChg chg="add mod">
          <ac:chgData name="Aurelien Domont" userId="6da7715ce44349b3" providerId="LiveId" clId="{131BB8E8-1659-49D0-9117-5008174AAE79}" dt="2023-12-06T02:44:49.370" v="6032"/>
          <ac:spMkLst>
            <pc:docMk/>
            <pc:sldMk cId="348420775" sldId="3303"/>
            <ac:spMk id="26" creationId="{F6B8514A-BF88-ED43-C17C-5A12FF045C4B}"/>
          </ac:spMkLst>
        </pc:spChg>
        <pc:spChg chg="add mod">
          <ac:chgData name="Aurelien Domont" userId="6da7715ce44349b3" providerId="LiveId" clId="{131BB8E8-1659-49D0-9117-5008174AAE79}" dt="2023-12-06T02:46:37.940" v="6192" actId="207"/>
          <ac:spMkLst>
            <pc:docMk/>
            <pc:sldMk cId="348420775" sldId="3303"/>
            <ac:spMk id="27" creationId="{4842930F-9DF5-33EE-D54F-607C8A387A73}"/>
          </ac:spMkLst>
        </pc:spChg>
        <pc:spChg chg="add mod">
          <ac:chgData name="Aurelien Domont" userId="6da7715ce44349b3" providerId="LiveId" clId="{131BB8E8-1659-49D0-9117-5008174AAE79}" dt="2023-12-06T02:46:37.940" v="6192" actId="207"/>
          <ac:spMkLst>
            <pc:docMk/>
            <pc:sldMk cId="348420775" sldId="3303"/>
            <ac:spMk id="37" creationId="{FEAB0721-E263-2251-2BD5-BC356A0DA702}"/>
          </ac:spMkLst>
        </pc:spChg>
        <pc:spChg chg="add del mod">
          <ac:chgData name="Aurelien Domont" userId="6da7715ce44349b3" providerId="LiveId" clId="{131BB8E8-1659-49D0-9117-5008174AAE79}" dt="2023-12-06T02:44:57.054" v="6033" actId="478"/>
          <ac:spMkLst>
            <pc:docMk/>
            <pc:sldMk cId="348420775" sldId="3303"/>
            <ac:spMk id="38" creationId="{69F4C239-AE6C-42F9-BE38-2DAD9970A87D}"/>
          </ac:spMkLst>
        </pc:spChg>
        <pc:spChg chg="add mod">
          <ac:chgData name="Aurelien Domont" userId="6da7715ce44349b3" providerId="LiveId" clId="{131BB8E8-1659-49D0-9117-5008174AAE79}" dt="2023-12-06T02:46:37.940" v="6192" actId="207"/>
          <ac:spMkLst>
            <pc:docMk/>
            <pc:sldMk cId="348420775" sldId="3303"/>
            <ac:spMk id="39" creationId="{1DE63163-F39C-446C-0532-22E9E2681DDE}"/>
          </ac:spMkLst>
        </pc:spChg>
        <pc:spChg chg="add mod">
          <ac:chgData name="Aurelien Domont" userId="6da7715ce44349b3" providerId="LiveId" clId="{131BB8E8-1659-49D0-9117-5008174AAE79}" dt="2023-12-06T02:46:37.940" v="6192" actId="207"/>
          <ac:spMkLst>
            <pc:docMk/>
            <pc:sldMk cId="348420775" sldId="3303"/>
            <ac:spMk id="40" creationId="{70CAD695-C742-F8F8-B4B3-CFFEBF5DC866}"/>
          </ac:spMkLst>
        </pc:spChg>
        <pc:spChg chg="add mod">
          <ac:chgData name="Aurelien Domont" userId="6da7715ce44349b3" providerId="LiveId" clId="{131BB8E8-1659-49D0-9117-5008174AAE79}" dt="2023-12-06T02:46:42.450" v="6193" actId="207"/>
          <ac:spMkLst>
            <pc:docMk/>
            <pc:sldMk cId="348420775" sldId="3303"/>
            <ac:spMk id="43" creationId="{65B22EE6-5F4E-8BB1-D9CB-0B4001EE062F}"/>
          </ac:spMkLst>
        </pc:spChg>
        <pc:spChg chg="add mod">
          <ac:chgData name="Aurelien Domont" userId="6da7715ce44349b3" providerId="LiveId" clId="{131BB8E8-1659-49D0-9117-5008174AAE79}" dt="2023-12-06T02:46:42.450" v="6193" actId="207"/>
          <ac:spMkLst>
            <pc:docMk/>
            <pc:sldMk cId="348420775" sldId="3303"/>
            <ac:spMk id="44" creationId="{77EDB655-A6D9-E267-73F6-BEFB5D1C97DF}"/>
          </ac:spMkLst>
        </pc:spChg>
        <pc:spChg chg="add mod">
          <ac:chgData name="Aurelien Domont" userId="6da7715ce44349b3" providerId="LiveId" clId="{131BB8E8-1659-49D0-9117-5008174AAE79}" dt="2023-12-06T02:46:42.450" v="6193" actId="207"/>
          <ac:spMkLst>
            <pc:docMk/>
            <pc:sldMk cId="348420775" sldId="3303"/>
            <ac:spMk id="47" creationId="{47325780-CCCA-9444-34F9-CB9622723945}"/>
          </ac:spMkLst>
        </pc:spChg>
        <pc:spChg chg="add mod">
          <ac:chgData name="Aurelien Domont" userId="6da7715ce44349b3" providerId="LiveId" clId="{131BB8E8-1659-49D0-9117-5008174AAE79}" dt="2023-12-06T02:46:42.450" v="6193" actId="207"/>
          <ac:spMkLst>
            <pc:docMk/>
            <pc:sldMk cId="348420775" sldId="3303"/>
            <ac:spMk id="48" creationId="{F23E0C0F-578D-E988-445E-BA5542861168}"/>
          </ac:spMkLst>
        </pc:spChg>
        <pc:spChg chg="add mod">
          <ac:chgData name="Aurelien Domont" userId="6da7715ce44349b3" providerId="LiveId" clId="{131BB8E8-1659-49D0-9117-5008174AAE79}" dt="2023-12-06T02:49:47.773" v="6226" actId="12789"/>
          <ac:spMkLst>
            <pc:docMk/>
            <pc:sldMk cId="348420775" sldId="3303"/>
            <ac:spMk id="49" creationId="{3C905963-C70F-E1A5-8AA8-A396684C93E7}"/>
          </ac:spMkLst>
        </pc:spChg>
        <pc:spChg chg="add mod">
          <ac:chgData name="Aurelien Domont" userId="6da7715ce44349b3" providerId="LiveId" clId="{131BB8E8-1659-49D0-9117-5008174AAE79}" dt="2023-12-06T02:47:03.964" v="6203" actId="1036"/>
          <ac:spMkLst>
            <pc:docMk/>
            <pc:sldMk cId="348420775" sldId="3303"/>
            <ac:spMk id="50" creationId="{5ADE43CB-F9B9-D4E7-2E0E-AFCF25E14661}"/>
          </ac:spMkLst>
        </pc:spChg>
        <pc:picChg chg="del">
          <ac:chgData name="Aurelien Domont" userId="6da7715ce44349b3" providerId="LiveId" clId="{131BB8E8-1659-49D0-9117-5008174AAE79}" dt="2023-12-06T02:44:42.022" v="6031" actId="478"/>
          <ac:picMkLst>
            <pc:docMk/>
            <pc:sldMk cId="348420775" sldId="3303"/>
            <ac:picMk id="21" creationId="{55C0EEEA-D196-5D4A-0E6C-48562BA818D4}"/>
          </ac:picMkLst>
        </pc:picChg>
        <pc:picChg chg="del">
          <ac:chgData name="Aurelien Domont" userId="6da7715ce44349b3" providerId="LiveId" clId="{131BB8E8-1659-49D0-9117-5008174AAE79}" dt="2023-12-06T02:44:42.022" v="6031" actId="478"/>
          <ac:picMkLst>
            <pc:docMk/>
            <pc:sldMk cId="348420775" sldId="3303"/>
            <ac:picMk id="22" creationId="{A505F267-E3B5-4559-8DBB-D387D74271CB}"/>
          </ac:picMkLst>
        </pc:picChg>
        <pc:picChg chg="del">
          <ac:chgData name="Aurelien Domont" userId="6da7715ce44349b3" providerId="LiveId" clId="{131BB8E8-1659-49D0-9117-5008174AAE79}" dt="2023-12-06T02:44:42.022" v="6031" actId="478"/>
          <ac:picMkLst>
            <pc:docMk/>
            <pc:sldMk cId="348420775" sldId="3303"/>
            <ac:picMk id="24" creationId="{C3E08E48-91DC-4C1F-99DB-2B28D33A03AF}"/>
          </ac:picMkLst>
        </pc:picChg>
        <pc:picChg chg="del">
          <ac:chgData name="Aurelien Domont" userId="6da7715ce44349b3" providerId="LiveId" clId="{131BB8E8-1659-49D0-9117-5008174AAE79}" dt="2023-12-06T02:44:42.022" v="6031" actId="478"/>
          <ac:picMkLst>
            <pc:docMk/>
            <pc:sldMk cId="348420775" sldId="3303"/>
            <ac:picMk id="28" creationId="{570D065C-7397-1F30-84E3-E02A480D7274}"/>
          </ac:picMkLst>
        </pc:picChg>
        <pc:picChg chg="add mod">
          <ac:chgData name="Aurelien Domont" userId="6da7715ce44349b3" providerId="LiveId" clId="{131BB8E8-1659-49D0-9117-5008174AAE79}" dt="2023-12-06T02:44:49.370" v="6032"/>
          <ac:picMkLst>
            <pc:docMk/>
            <pc:sldMk cId="348420775" sldId="3303"/>
            <ac:picMk id="29" creationId="{DDC5EFC3-30CF-D190-0F31-8CF28EE90785}"/>
          </ac:picMkLst>
        </pc:picChg>
        <pc:picChg chg="del">
          <ac:chgData name="Aurelien Domont" userId="6da7715ce44349b3" providerId="LiveId" clId="{131BB8E8-1659-49D0-9117-5008174AAE79}" dt="2023-12-06T02:44:42.022" v="6031" actId="478"/>
          <ac:picMkLst>
            <pc:docMk/>
            <pc:sldMk cId="348420775" sldId="3303"/>
            <ac:picMk id="30" creationId="{1380FE16-E783-FF7F-1BFD-A18CFFDA43F5}"/>
          </ac:picMkLst>
        </pc:picChg>
        <pc:picChg chg="del">
          <ac:chgData name="Aurelien Domont" userId="6da7715ce44349b3" providerId="LiveId" clId="{131BB8E8-1659-49D0-9117-5008174AAE79}" dt="2023-12-06T02:44:42.022" v="6031" actId="478"/>
          <ac:picMkLst>
            <pc:docMk/>
            <pc:sldMk cId="348420775" sldId="3303"/>
            <ac:picMk id="31" creationId="{85A03961-2B54-DACA-DCC0-DAB5D216DA9D}"/>
          </ac:picMkLst>
        </pc:picChg>
        <pc:picChg chg="del">
          <ac:chgData name="Aurelien Domont" userId="6da7715ce44349b3" providerId="LiveId" clId="{131BB8E8-1659-49D0-9117-5008174AAE79}" dt="2023-12-06T02:44:42.022" v="6031" actId="478"/>
          <ac:picMkLst>
            <pc:docMk/>
            <pc:sldMk cId="348420775" sldId="3303"/>
            <ac:picMk id="32" creationId="{7B1E8543-5CE6-3725-0313-44549E2D8A32}"/>
          </ac:picMkLst>
        </pc:picChg>
        <pc:picChg chg="del">
          <ac:chgData name="Aurelien Domont" userId="6da7715ce44349b3" providerId="LiveId" clId="{131BB8E8-1659-49D0-9117-5008174AAE79}" dt="2023-12-06T02:44:42.022" v="6031" actId="478"/>
          <ac:picMkLst>
            <pc:docMk/>
            <pc:sldMk cId="348420775" sldId="3303"/>
            <ac:picMk id="33" creationId="{EA85807F-1B1A-CB02-15CE-057E698DFA74}"/>
          </ac:picMkLst>
        </pc:picChg>
        <pc:picChg chg="del">
          <ac:chgData name="Aurelien Domont" userId="6da7715ce44349b3" providerId="LiveId" clId="{131BB8E8-1659-49D0-9117-5008174AAE79}" dt="2023-12-06T02:44:42.022" v="6031" actId="478"/>
          <ac:picMkLst>
            <pc:docMk/>
            <pc:sldMk cId="348420775" sldId="3303"/>
            <ac:picMk id="34" creationId="{4466D28A-B6DC-793A-7B45-35C0C267F505}"/>
          </ac:picMkLst>
        </pc:picChg>
        <pc:picChg chg="del">
          <ac:chgData name="Aurelien Domont" userId="6da7715ce44349b3" providerId="LiveId" clId="{131BB8E8-1659-49D0-9117-5008174AAE79}" dt="2023-12-06T02:44:42.022" v="6031" actId="478"/>
          <ac:picMkLst>
            <pc:docMk/>
            <pc:sldMk cId="348420775" sldId="3303"/>
            <ac:picMk id="35" creationId="{91ED07F2-B531-9CF3-0BC0-2122DFC826E2}"/>
          </ac:picMkLst>
        </pc:picChg>
        <pc:picChg chg="add mod">
          <ac:chgData name="Aurelien Domont" userId="6da7715ce44349b3" providerId="LiveId" clId="{131BB8E8-1659-49D0-9117-5008174AAE79}" dt="2023-12-06T02:46:47.380" v="6194" actId="207"/>
          <ac:picMkLst>
            <pc:docMk/>
            <pc:sldMk cId="348420775" sldId="3303"/>
            <ac:picMk id="36" creationId="{97C3198F-7D51-2162-8158-E2A0C58DF4BB}"/>
          </ac:picMkLst>
        </pc:picChg>
        <pc:picChg chg="add mod">
          <ac:chgData name="Aurelien Domont" userId="6da7715ce44349b3" providerId="LiveId" clId="{131BB8E8-1659-49D0-9117-5008174AAE79}" dt="2023-12-06T02:46:47.380" v="6194" actId="207"/>
          <ac:picMkLst>
            <pc:docMk/>
            <pc:sldMk cId="348420775" sldId="3303"/>
            <ac:picMk id="41" creationId="{7C15731A-822F-F8BD-2689-22999A8F3131}"/>
          </ac:picMkLst>
        </pc:picChg>
        <pc:picChg chg="add mod">
          <ac:chgData name="Aurelien Domont" userId="6da7715ce44349b3" providerId="LiveId" clId="{131BB8E8-1659-49D0-9117-5008174AAE79}" dt="2023-12-06T02:46:47.380" v="6194" actId="207"/>
          <ac:picMkLst>
            <pc:docMk/>
            <pc:sldMk cId="348420775" sldId="3303"/>
            <ac:picMk id="42" creationId="{051673A3-C6AB-14C0-AEB1-1EAF7298EB45}"/>
          </ac:picMkLst>
        </pc:picChg>
        <pc:picChg chg="add mod">
          <ac:chgData name="Aurelien Domont" userId="6da7715ce44349b3" providerId="LiveId" clId="{131BB8E8-1659-49D0-9117-5008174AAE79}" dt="2023-12-06T02:50:31.765" v="6238" actId="108"/>
          <ac:picMkLst>
            <pc:docMk/>
            <pc:sldMk cId="348420775" sldId="3303"/>
            <ac:picMk id="51" creationId="{4873C094-C287-8194-A4AA-0B88CC6006E6}"/>
          </ac:picMkLst>
        </pc:picChg>
        <pc:picChg chg="add mod">
          <ac:chgData name="Aurelien Domont" userId="6da7715ce44349b3" providerId="LiveId" clId="{131BB8E8-1659-49D0-9117-5008174AAE79}" dt="2023-12-06T02:50:32.676" v="6239" actId="108"/>
          <ac:picMkLst>
            <pc:docMk/>
            <pc:sldMk cId="348420775" sldId="3303"/>
            <ac:picMk id="52" creationId="{221F28CA-A28B-DDB7-71FE-F1204D85DC64}"/>
          </ac:picMkLst>
        </pc:picChg>
        <pc:picChg chg="add mod">
          <ac:chgData name="Aurelien Domont" userId="6da7715ce44349b3" providerId="LiveId" clId="{131BB8E8-1659-49D0-9117-5008174AAE79}" dt="2023-12-06T02:50:33.257" v="6240" actId="108"/>
          <ac:picMkLst>
            <pc:docMk/>
            <pc:sldMk cId="348420775" sldId="3303"/>
            <ac:picMk id="53" creationId="{6F04A4A9-85F7-ED34-42F4-B51BC397BB6D}"/>
          </ac:picMkLst>
        </pc:picChg>
        <pc:cxnChg chg="add del mod">
          <ac:chgData name="Aurelien Domont" userId="6da7715ce44349b3" providerId="LiveId" clId="{131BB8E8-1659-49D0-9117-5008174AAE79}" dt="2023-12-06T02:44:59.756" v="6036" actId="478"/>
          <ac:cxnSpMkLst>
            <pc:docMk/>
            <pc:sldMk cId="348420775" sldId="3303"/>
            <ac:cxnSpMk id="23" creationId="{278CD5FC-2D25-6897-4586-45110CBD1818}"/>
          </ac:cxnSpMkLst>
        </pc:cxnChg>
        <pc:cxnChg chg="add del mod">
          <ac:chgData name="Aurelien Domont" userId="6da7715ce44349b3" providerId="LiveId" clId="{131BB8E8-1659-49D0-9117-5008174AAE79}" dt="2023-12-06T02:44:58.703" v="6035" actId="478"/>
          <ac:cxnSpMkLst>
            <pc:docMk/>
            <pc:sldMk cId="348420775" sldId="3303"/>
            <ac:cxnSpMk id="45" creationId="{7F3D1D4B-2152-6A19-34AC-D123D2D30D42}"/>
          </ac:cxnSpMkLst>
        </pc:cxnChg>
        <pc:cxnChg chg="add del mod">
          <ac:chgData name="Aurelien Domont" userId="6da7715ce44349b3" providerId="LiveId" clId="{131BB8E8-1659-49D0-9117-5008174AAE79}" dt="2023-12-06T02:44:57.949" v="6034" actId="478"/>
          <ac:cxnSpMkLst>
            <pc:docMk/>
            <pc:sldMk cId="348420775" sldId="3303"/>
            <ac:cxnSpMk id="46" creationId="{59FF414A-2CF5-0CAF-8451-06CA33773EE7}"/>
          </ac:cxnSpMkLst>
        </pc:cxnChg>
      </pc:sldChg>
      <pc:sldChg chg="add del">
        <pc:chgData name="Aurelien Domont" userId="6da7715ce44349b3" providerId="LiveId" clId="{131BB8E8-1659-49D0-9117-5008174AAE79}" dt="2023-12-06T02:24:53.603" v="3840" actId="47"/>
        <pc:sldMkLst>
          <pc:docMk/>
          <pc:sldMk cId="4107792550" sldId="3303"/>
        </pc:sldMkLst>
      </pc:sldChg>
      <pc:sldChg chg="addSp delSp modSp add mod">
        <pc:chgData name="Aurelien Domont" userId="6da7715ce44349b3" providerId="LiveId" clId="{131BB8E8-1659-49D0-9117-5008174AAE79}" dt="2023-12-06T02:57:13.430" v="6380" actId="108"/>
        <pc:sldMkLst>
          <pc:docMk/>
          <pc:sldMk cId="2666055795" sldId="3304"/>
        </pc:sldMkLst>
        <pc:spChg chg="mod ord">
          <ac:chgData name="Aurelien Domont" userId="6da7715ce44349b3" providerId="LiveId" clId="{131BB8E8-1659-49D0-9117-5008174AAE79}" dt="2023-12-06T02:57:06.790" v="6335"/>
          <ac:spMkLst>
            <pc:docMk/>
            <pc:sldMk cId="2666055795" sldId="3304"/>
            <ac:spMk id="2" creationId="{12009DA8-0966-101B-E219-F283F194BD59}"/>
          </ac:spMkLst>
        </pc:spChg>
        <pc:spChg chg="add del mod modVis">
          <ac:chgData name="Aurelien Domont" userId="6da7715ce44349b3" providerId="LiveId" clId="{131BB8E8-1659-49D0-9117-5008174AAE79}" dt="2023-12-06T02:45:57.795" v="6064"/>
          <ac:spMkLst>
            <pc:docMk/>
            <pc:sldMk cId="2666055795" sldId="3304"/>
            <ac:spMk id="3" creationId="{501A2E9F-E66C-DEAD-451A-E39864F4182C}"/>
          </ac:spMkLst>
        </pc:spChg>
        <pc:spChg chg="mod ord">
          <ac:chgData name="Aurelien Domont" userId="6da7715ce44349b3" providerId="LiveId" clId="{131BB8E8-1659-49D0-9117-5008174AAE79}" dt="2023-12-06T02:57:06.790" v="6341"/>
          <ac:spMkLst>
            <pc:docMk/>
            <pc:sldMk cId="2666055795" sldId="3304"/>
            <ac:spMk id="4" creationId="{99603223-1600-4878-C974-BE354BB939BC}"/>
          </ac:spMkLst>
        </pc:spChg>
        <pc:spChg chg="add mod ord">
          <ac:chgData name="Aurelien Domont" userId="6da7715ce44349b3" providerId="LiveId" clId="{131BB8E8-1659-49D0-9117-5008174AAE79}" dt="2023-12-06T02:57:06.790" v="6327"/>
          <ac:spMkLst>
            <pc:docMk/>
            <pc:sldMk cId="2666055795" sldId="3304"/>
            <ac:spMk id="5" creationId="{435D17F0-9C99-3976-8EC5-D897D6909EEA}"/>
          </ac:spMkLst>
        </pc:spChg>
        <pc:spChg chg="mod ord">
          <ac:chgData name="Aurelien Domont" userId="6da7715ce44349b3" providerId="LiveId" clId="{131BB8E8-1659-49D0-9117-5008174AAE79}" dt="2023-12-06T02:57:06.790" v="6343"/>
          <ac:spMkLst>
            <pc:docMk/>
            <pc:sldMk cId="2666055795" sldId="3304"/>
            <ac:spMk id="7" creationId="{862E9442-E533-82E4-DCB5-A77EFB47F88B}"/>
          </ac:spMkLst>
        </pc:spChg>
        <pc:spChg chg="add del mod">
          <ac:chgData name="Aurelien Domont" userId="6da7715ce44349b3" providerId="LiveId" clId="{131BB8E8-1659-49D0-9117-5008174AAE79}" dt="2023-12-06T02:51:08.095" v="6242"/>
          <ac:spMkLst>
            <pc:docMk/>
            <pc:sldMk cId="2666055795" sldId="3304"/>
            <ac:spMk id="8" creationId="{5DDA05E0-B10A-7074-1C78-4A906C79522E}"/>
          </ac:spMkLst>
        </pc:spChg>
        <pc:spChg chg="mod ord">
          <ac:chgData name="Aurelien Domont" userId="6da7715ce44349b3" providerId="LiveId" clId="{131BB8E8-1659-49D0-9117-5008174AAE79}" dt="2023-12-06T02:57:06.790" v="6337"/>
          <ac:spMkLst>
            <pc:docMk/>
            <pc:sldMk cId="2666055795" sldId="3304"/>
            <ac:spMk id="9" creationId="{A0CCDE32-77FA-6798-8700-6D8A6A0EE65D}"/>
          </ac:spMkLst>
        </pc:spChg>
        <pc:spChg chg="mod ord">
          <ac:chgData name="Aurelien Domont" userId="6da7715ce44349b3" providerId="LiveId" clId="{131BB8E8-1659-49D0-9117-5008174AAE79}" dt="2023-12-06T02:57:06.790" v="6339"/>
          <ac:spMkLst>
            <pc:docMk/>
            <pc:sldMk cId="2666055795" sldId="3304"/>
            <ac:spMk id="10" creationId="{4A25DF32-0AB1-1F01-2EE5-8C9DC763ADD9}"/>
          </ac:spMkLst>
        </pc:spChg>
        <pc:spChg chg="add del mod">
          <ac:chgData name="Aurelien Domont" userId="6da7715ce44349b3" providerId="LiveId" clId="{131BB8E8-1659-49D0-9117-5008174AAE79}" dt="2023-12-06T02:51:08.095" v="6242"/>
          <ac:spMkLst>
            <pc:docMk/>
            <pc:sldMk cId="2666055795" sldId="3304"/>
            <ac:spMk id="11" creationId="{E6771AB6-E679-8CF3-A044-AE8E0E260B6D}"/>
          </ac:spMkLst>
        </pc:spChg>
        <pc:spChg chg="add del mod">
          <ac:chgData name="Aurelien Domont" userId="6da7715ce44349b3" providerId="LiveId" clId="{131BB8E8-1659-49D0-9117-5008174AAE79}" dt="2023-12-06T02:51:19.682" v="6245" actId="478"/>
          <ac:spMkLst>
            <pc:docMk/>
            <pc:sldMk cId="2666055795" sldId="3304"/>
            <ac:spMk id="15" creationId="{6C584CCE-6BCA-2ED2-7A90-EE1A6370ED85}"/>
          </ac:spMkLst>
        </pc:spChg>
        <pc:spChg chg="add mod ord">
          <ac:chgData name="Aurelien Domont" userId="6da7715ce44349b3" providerId="LiveId" clId="{131BB8E8-1659-49D0-9117-5008174AAE79}" dt="2023-12-06T02:57:06.804" v="6373"/>
          <ac:spMkLst>
            <pc:docMk/>
            <pc:sldMk cId="2666055795" sldId="3304"/>
            <ac:spMk id="19" creationId="{9D7178C2-2642-DBCC-00FF-3ECEA7308B0B}"/>
          </ac:spMkLst>
        </pc:spChg>
        <pc:spChg chg="mod ord">
          <ac:chgData name="Aurelien Domont" userId="6da7715ce44349b3" providerId="LiveId" clId="{131BB8E8-1659-49D0-9117-5008174AAE79}" dt="2023-12-06T02:57:06.790" v="6345"/>
          <ac:spMkLst>
            <pc:docMk/>
            <pc:sldMk cId="2666055795" sldId="3304"/>
            <ac:spMk id="25" creationId="{B6D6720F-030A-1F46-4D17-753ACBF75408}"/>
          </ac:spMkLst>
        </pc:spChg>
        <pc:spChg chg="mod ord">
          <ac:chgData name="Aurelien Domont" userId="6da7715ce44349b3" providerId="LiveId" clId="{131BB8E8-1659-49D0-9117-5008174AAE79}" dt="2023-12-06T02:57:06.790" v="6347"/>
          <ac:spMkLst>
            <pc:docMk/>
            <pc:sldMk cId="2666055795" sldId="3304"/>
            <ac:spMk id="26" creationId="{F6B8514A-BF88-ED43-C17C-5A12FF045C4B}"/>
          </ac:spMkLst>
        </pc:spChg>
        <pc:spChg chg="mod ord">
          <ac:chgData name="Aurelien Domont" userId="6da7715ce44349b3" providerId="LiveId" clId="{131BB8E8-1659-49D0-9117-5008174AAE79}" dt="2023-12-06T02:57:06.790" v="6349"/>
          <ac:spMkLst>
            <pc:docMk/>
            <pc:sldMk cId="2666055795" sldId="3304"/>
            <ac:spMk id="27" creationId="{4842930F-9DF5-33EE-D54F-607C8A387A73}"/>
          </ac:spMkLst>
        </pc:spChg>
        <pc:spChg chg="mod ord">
          <ac:chgData name="Aurelien Domont" userId="6da7715ce44349b3" providerId="LiveId" clId="{131BB8E8-1659-49D0-9117-5008174AAE79}" dt="2023-12-06T02:57:06.790" v="6355"/>
          <ac:spMkLst>
            <pc:docMk/>
            <pc:sldMk cId="2666055795" sldId="3304"/>
            <ac:spMk id="37" creationId="{FEAB0721-E263-2251-2BD5-BC356A0DA702}"/>
          </ac:spMkLst>
        </pc:spChg>
        <pc:spChg chg="mod ord">
          <ac:chgData name="Aurelien Domont" userId="6da7715ce44349b3" providerId="LiveId" clId="{131BB8E8-1659-49D0-9117-5008174AAE79}" dt="2023-12-06T02:57:06.790" v="6357"/>
          <ac:spMkLst>
            <pc:docMk/>
            <pc:sldMk cId="2666055795" sldId="3304"/>
            <ac:spMk id="39" creationId="{1DE63163-F39C-446C-0532-22E9E2681DDE}"/>
          </ac:spMkLst>
        </pc:spChg>
        <pc:spChg chg="mod ord">
          <ac:chgData name="Aurelien Domont" userId="6da7715ce44349b3" providerId="LiveId" clId="{131BB8E8-1659-49D0-9117-5008174AAE79}" dt="2023-12-06T02:57:06.790" v="6359"/>
          <ac:spMkLst>
            <pc:docMk/>
            <pc:sldMk cId="2666055795" sldId="3304"/>
            <ac:spMk id="40" creationId="{70CAD695-C742-F8F8-B4B3-CFFEBF5DC866}"/>
          </ac:spMkLst>
        </pc:spChg>
        <pc:spChg chg="mod ord">
          <ac:chgData name="Aurelien Domont" userId="6da7715ce44349b3" providerId="LiveId" clId="{131BB8E8-1659-49D0-9117-5008174AAE79}" dt="2023-12-06T02:57:06.804" v="6365"/>
          <ac:spMkLst>
            <pc:docMk/>
            <pc:sldMk cId="2666055795" sldId="3304"/>
            <ac:spMk id="43" creationId="{65B22EE6-5F4E-8BB1-D9CB-0B4001EE062F}"/>
          </ac:spMkLst>
        </pc:spChg>
        <pc:spChg chg="mod ord">
          <ac:chgData name="Aurelien Domont" userId="6da7715ce44349b3" providerId="LiveId" clId="{131BB8E8-1659-49D0-9117-5008174AAE79}" dt="2023-12-06T02:57:06.804" v="6367"/>
          <ac:spMkLst>
            <pc:docMk/>
            <pc:sldMk cId="2666055795" sldId="3304"/>
            <ac:spMk id="44" creationId="{77EDB655-A6D9-E267-73F6-BEFB5D1C97DF}"/>
          </ac:spMkLst>
        </pc:spChg>
        <pc:spChg chg="mod ord">
          <ac:chgData name="Aurelien Domont" userId="6da7715ce44349b3" providerId="LiveId" clId="{131BB8E8-1659-49D0-9117-5008174AAE79}" dt="2023-12-06T02:57:06.804" v="6369"/>
          <ac:spMkLst>
            <pc:docMk/>
            <pc:sldMk cId="2666055795" sldId="3304"/>
            <ac:spMk id="47" creationId="{47325780-CCCA-9444-34F9-CB9622723945}"/>
          </ac:spMkLst>
        </pc:spChg>
        <pc:spChg chg="mod ord">
          <ac:chgData name="Aurelien Domont" userId="6da7715ce44349b3" providerId="LiveId" clId="{131BB8E8-1659-49D0-9117-5008174AAE79}" dt="2023-12-06T02:57:06.804" v="6371"/>
          <ac:spMkLst>
            <pc:docMk/>
            <pc:sldMk cId="2666055795" sldId="3304"/>
            <ac:spMk id="48" creationId="{F23E0C0F-578D-E988-445E-BA5542861168}"/>
          </ac:spMkLst>
        </pc:spChg>
        <pc:graphicFrameChg chg="mod">
          <ac:chgData name="Aurelien Domont" userId="6da7715ce44349b3" providerId="LiveId" clId="{131BB8E8-1659-49D0-9117-5008174AAE79}" dt="2023-12-06T02:57:06.804" v="6377"/>
          <ac:graphicFrameMkLst>
            <pc:docMk/>
            <pc:sldMk cId="2666055795" sldId="3304"/>
            <ac:graphicFrameMk id="6" creationId="{F5887244-1866-E102-5FD5-79FA1304146D}"/>
          </ac:graphicFrameMkLst>
        </pc:graphicFrameChg>
        <pc:picChg chg="add del mod">
          <ac:chgData name="Aurelien Domont" userId="6da7715ce44349b3" providerId="LiveId" clId="{131BB8E8-1659-49D0-9117-5008174AAE79}" dt="2023-12-06T02:51:08.095" v="6242"/>
          <ac:picMkLst>
            <pc:docMk/>
            <pc:sldMk cId="2666055795" sldId="3304"/>
            <ac:picMk id="12" creationId="{320DD503-5E0D-953C-1962-70DAD1507474}"/>
          </ac:picMkLst>
        </pc:picChg>
        <pc:picChg chg="add del mod">
          <ac:chgData name="Aurelien Domont" userId="6da7715ce44349b3" providerId="LiveId" clId="{131BB8E8-1659-49D0-9117-5008174AAE79}" dt="2023-12-06T02:51:08.095" v="6242"/>
          <ac:picMkLst>
            <pc:docMk/>
            <pc:sldMk cId="2666055795" sldId="3304"/>
            <ac:picMk id="13" creationId="{033083F9-36B5-C054-56A4-2B3455E4580C}"/>
          </ac:picMkLst>
        </pc:picChg>
        <pc:picChg chg="add del mod">
          <ac:chgData name="Aurelien Domont" userId="6da7715ce44349b3" providerId="LiveId" clId="{131BB8E8-1659-49D0-9117-5008174AAE79}" dt="2023-12-06T02:51:08.095" v="6242"/>
          <ac:picMkLst>
            <pc:docMk/>
            <pc:sldMk cId="2666055795" sldId="3304"/>
            <ac:picMk id="14" creationId="{F21212AE-3737-77A2-E280-2ABE0CAAF012}"/>
          </ac:picMkLst>
        </pc:picChg>
        <pc:picChg chg="add del mod ord">
          <ac:chgData name="Aurelien Domont" userId="6da7715ce44349b3" providerId="LiveId" clId="{131BB8E8-1659-49D0-9117-5008174AAE79}" dt="2023-12-06T02:57:03.913" v="6324" actId="478"/>
          <ac:picMkLst>
            <pc:docMk/>
            <pc:sldMk cId="2666055795" sldId="3304"/>
            <ac:picMk id="16" creationId="{BFCD291E-09C2-C49B-DB03-AFB11FA691A1}"/>
          </ac:picMkLst>
        </pc:picChg>
        <pc:picChg chg="add del mod ord">
          <ac:chgData name="Aurelien Domont" userId="6da7715ce44349b3" providerId="LiveId" clId="{131BB8E8-1659-49D0-9117-5008174AAE79}" dt="2023-12-06T02:57:03.913" v="6324" actId="478"/>
          <ac:picMkLst>
            <pc:docMk/>
            <pc:sldMk cId="2666055795" sldId="3304"/>
            <ac:picMk id="17" creationId="{59F5A8AE-6C6D-98A5-5CD6-439FCC062417}"/>
          </ac:picMkLst>
        </pc:picChg>
        <pc:picChg chg="add del mod ord">
          <ac:chgData name="Aurelien Domont" userId="6da7715ce44349b3" providerId="LiveId" clId="{131BB8E8-1659-49D0-9117-5008174AAE79}" dt="2023-12-06T02:57:03.913" v="6324" actId="478"/>
          <ac:picMkLst>
            <pc:docMk/>
            <pc:sldMk cId="2666055795" sldId="3304"/>
            <ac:picMk id="18" creationId="{17729199-C447-2713-0422-7A96F0F8C250}"/>
          </ac:picMkLst>
        </pc:picChg>
        <pc:picChg chg="add mod ord">
          <ac:chgData name="Aurelien Domont" userId="6da7715ce44349b3" providerId="LiveId" clId="{131BB8E8-1659-49D0-9117-5008174AAE79}" dt="2023-12-06T02:57:12.440" v="6378" actId="108"/>
          <ac:picMkLst>
            <pc:docMk/>
            <pc:sldMk cId="2666055795" sldId="3304"/>
            <ac:picMk id="20" creationId="{009B177C-2038-B1E4-0C68-CA8D65F00BB3}"/>
          </ac:picMkLst>
        </pc:picChg>
        <pc:picChg chg="add del mod">
          <ac:chgData name="Aurelien Domont" userId="6da7715ce44349b3" providerId="LiveId" clId="{131BB8E8-1659-49D0-9117-5008174AAE79}" dt="2023-12-06T02:55:09.132" v="6255" actId="478"/>
          <ac:picMkLst>
            <pc:docMk/>
            <pc:sldMk cId="2666055795" sldId="3304"/>
            <ac:picMk id="22" creationId="{F50AB0B3-6AD1-01E8-1DF6-DC4B18402D1A}"/>
          </ac:picMkLst>
        </pc:picChg>
        <pc:picChg chg="add mod ord modCrop">
          <ac:chgData name="Aurelien Domont" userId="6da7715ce44349b3" providerId="LiveId" clId="{131BB8E8-1659-49D0-9117-5008174AAE79}" dt="2023-12-06T02:57:12.927" v="6379" actId="108"/>
          <ac:picMkLst>
            <pc:docMk/>
            <pc:sldMk cId="2666055795" sldId="3304"/>
            <ac:picMk id="24" creationId="{976E294F-6439-4A7D-5488-AA27559F37B9}"/>
          </ac:picMkLst>
        </pc:picChg>
        <pc:picChg chg="add mod ord">
          <ac:chgData name="Aurelien Domont" userId="6da7715ce44349b3" providerId="LiveId" clId="{131BB8E8-1659-49D0-9117-5008174AAE79}" dt="2023-12-06T02:57:13.430" v="6380" actId="108"/>
          <ac:picMkLst>
            <pc:docMk/>
            <pc:sldMk cId="2666055795" sldId="3304"/>
            <ac:picMk id="28" creationId="{FB776835-77D1-C3C0-7A89-7FD82C7F02CB}"/>
          </ac:picMkLst>
        </pc:picChg>
        <pc:picChg chg="mod ord">
          <ac:chgData name="Aurelien Domont" userId="6da7715ce44349b3" providerId="LiveId" clId="{131BB8E8-1659-49D0-9117-5008174AAE79}" dt="2023-12-06T02:57:06.790" v="6351"/>
          <ac:picMkLst>
            <pc:docMk/>
            <pc:sldMk cId="2666055795" sldId="3304"/>
            <ac:picMk id="29" creationId="{DDC5EFC3-30CF-D190-0F31-8CF28EE90785}"/>
          </ac:picMkLst>
        </pc:picChg>
        <pc:picChg chg="mod ord">
          <ac:chgData name="Aurelien Domont" userId="6da7715ce44349b3" providerId="LiveId" clId="{131BB8E8-1659-49D0-9117-5008174AAE79}" dt="2023-12-06T02:57:06.790" v="6353"/>
          <ac:picMkLst>
            <pc:docMk/>
            <pc:sldMk cId="2666055795" sldId="3304"/>
            <ac:picMk id="36" creationId="{97C3198F-7D51-2162-8158-E2A0C58DF4BB}"/>
          </ac:picMkLst>
        </pc:picChg>
        <pc:picChg chg="mod ord">
          <ac:chgData name="Aurelien Domont" userId="6da7715ce44349b3" providerId="LiveId" clId="{131BB8E8-1659-49D0-9117-5008174AAE79}" dt="2023-12-06T02:57:06.790" v="6361"/>
          <ac:picMkLst>
            <pc:docMk/>
            <pc:sldMk cId="2666055795" sldId="3304"/>
            <ac:picMk id="41" creationId="{7C15731A-822F-F8BD-2689-22999A8F3131}"/>
          </ac:picMkLst>
        </pc:picChg>
        <pc:picChg chg="mod ord">
          <ac:chgData name="Aurelien Domont" userId="6da7715ce44349b3" providerId="LiveId" clId="{131BB8E8-1659-49D0-9117-5008174AAE79}" dt="2023-12-06T02:57:06.804" v="6363"/>
          <ac:picMkLst>
            <pc:docMk/>
            <pc:sldMk cId="2666055795" sldId="3304"/>
            <ac:picMk id="42" creationId="{051673A3-C6AB-14C0-AEB1-1EAF7298EB45}"/>
          </ac:picMkLst>
        </pc:picChg>
      </pc:sldChg>
      <pc:sldChg chg="addSp delSp modSp add mod">
        <pc:chgData name="Aurelien Domont" userId="6da7715ce44349b3" providerId="LiveId" clId="{131BB8E8-1659-49D0-9117-5008174AAE79}" dt="2023-12-06T03:05:01.560" v="6545" actId="207"/>
        <pc:sldMkLst>
          <pc:docMk/>
          <pc:sldMk cId="957674206" sldId="3305"/>
        </pc:sldMkLst>
        <pc:spChg chg="mod ord">
          <ac:chgData name="Aurelien Domont" userId="6da7715ce44349b3" providerId="LiveId" clId="{131BB8E8-1659-49D0-9117-5008174AAE79}" dt="2023-12-06T03:03:09.952" v="6477"/>
          <ac:spMkLst>
            <pc:docMk/>
            <pc:sldMk cId="957674206" sldId="3305"/>
            <ac:spMk id="2" creationId="{12009DA8-0966-101B-E219-F283F194BD59}"/>
          </ac:spMkLst>
        </pc:spChg>
        <pc:spChg chg="add del mod modVis">
          <ac:chgData name="Aurelien Domont" userId="6da7715ce44349b3" providerId="LiveId" clId="{131BB8E8-1659-49D0-9117-5008174AAE79}" dt="2023-12-06T02:46:03.941" v="6094"/>
          <ac:spMkLst>
            <pc:docMk/>
            <pc:sldMk cId="957674206" sldId="3305"/>
            <ac:spMk id="3" creationId="{4563105A-B907-4F45-3DA4-DA7AA81FB849}"/>
          </ac:spMkLst>
        </pc:spChg>
        <pc:spChg chg="mod ord">
          <ac:chgData name="Aurelien Domont" userId="6da7715ce44349b3" providerId="LiveId" clId="{131BB8E8-1659-49D0-9117-5008174AAE79}" dt="2023-12-06T03:04:54.521" v="6543" actId="207"/>
          <ac:spMkLst>
            <pc:docMk/>
            <pc:sldMk cId="957674206" sldId="3305"/>
            <ac:spMk id="4" creationId="{99603223-1600-4878-C974-BE354BB939BC}"/>
          </ac:spMkLst>
        </pc:spChg>
        <pc:spChg chg="add mod ord">
          <ac:chgData name="Aurelien Domont" userId="6da7715ce44349b3" providerId="LiveId" clId="{131BB8E8-1659-49D0-9117-5008174AAE79}" dt="2023-12-06T03:03:09.943" v="6473"/>
          <ac:spMkLst>
            <pc:docMk/>
            <pc:sldMk cId="957674206" sldId="3305"/>
            <ac:spMk id="5" creationId="{D4CAFF94-7967-8784-1524-00E07F6328C7}"/>
          </ac:spMkLst>
        </pc:spChg>
        <pc:spChg chg="mod ord">
          <ac:chgData name="Aurelien Domont" userId="6da7715ce44349b3" providerId="LiveId" clId="{131BB8E8-1659-49D0-9117-5008174AAE79}" dt="2023-12-06T03:03:09.952" v="6485"/>
          <ac:spMkLst>
            <pc:docMk/>
            <pc:sldMk cId="957674206" sldId="3305"/>
            <ac:spMk id="7" creationId="{862E9442-E533-82E4-DCB5-A77EFB47F88B}"/>
          </ac:spMkLst>
        </pc:spChg>
        <pc:spChg chg="mod ord">
          <ac:chgData name="Aurelien Domont" userId="6da7715ce44349b3" providerId="LiveId" clId="{131BB8E8-1659-49D0-9117-5008174AAE79}" dt="2023-12-06T03:03:09.952" v="6479"/>
          <ac:spMkLst>
            <pc:docMk/>
            <pc:sldMk cId="957674206" sldId="3305"/>
            <ac:spMk id="9" creationId="{A0CCDE32-77FA-6798-8700-6D8A6A0EE65D}"/>
          </ac:spMkLst>
        </pc:spChg>
        <pc:spChg chg="mod ord">
          <ac:chgData name="Aurelien Domont" userId="6da7715ce44349b3" providerId="LiveId" clId="{131BB8E8-1659-49D0-9117-5008174AAE79}" dt="2023-12-06T03:03:09.952" v="6481"/>
          <ac:spMkLst>
            <pc:docMk/>
            <pc:sldMk cId="957674206" sldId="3305"/>
            <ac:spMk id="10" creationId="{4A25DF32-0AB1-1F01-2EE5-8C9DC763ADD9}"/>
          </ac:spMkLst>
        </pc:spChg>
        <pc:spChg chg="add del mod">
          <ac:chgData name="Aurelien Domont" userId="6da7715ce44349b3" providerId="LiveId" clId="{131BB8E8-1659-49D0-9117-5008174AAE79}" dt="2023-12-06T03:04:47.939" v="6539" actId="478"/>
          <ac:spMkLst>
            <pc:docMk/>
            <pc:sldMk cId="957674206" sldId="3305"/>
            <ac:spMk id="18" creationId="{FD562C76-A40A-7BBA-442D-F2B2CA03F267}"/>
          </ac:spMkLst>
        </pc:spChg>
        <pc:spChg chg="add mod">
          <ac:chgData name="Aurelien Domont" userId="6da7715ce44349b3" providerId="LiveId" clId="{131BB8E8-1659-49D0-9117-5008174AAE79}" dt="2023-12-06T03:04:50.325" v="6542" actId="1037"/>
          <ac:spMkLst>
            <pc:docMk/>
            <pc:sldMk cId="957674206" sldId="3305"/>
            <ac:spMk id="19" creationId="{EE3E145E-8E92-4DE6-463A-0FD7A1E6CAF1}"/>
          </ac:spMkLst>
        </pc:spChg>
        <pc:spChg chg="mod ord">
          <ac:chgData name="Aurelien Domont" userId="6da7715ce44349b3" providerId="LiveId" clId="{131BB8E8-1659-49D0-9117-5008174AAE79}" dt="2023-12-06T03:04:54.521" v="6543" actId="207"/>
          <ac:spMkLst>
            <pc:docMk/>
            <pc:sldMk cId="957674206" sldId="3305"/>
            <ac:spMk id="25" creationId="{B6D6720F-030A-1F46-4D17-753ACBF75408}"/>
          </ac:spMkLst>
        </pc:spChg>
        <pc:spChg chg="mod ord">
          <ac:chgData name="Aurelien Domont" userId="6da7715ce44349b3" providerId="LiveId" clId="{131BB8E8-1659-49D0-9117-5008174AAE79}" dt="2023-12-06T03:04:54.521" v="6543" actId="207"/>
          <ac:spMkLst>
            <pc:docMk/>
            <pc:sldMk cId="957674206" sldId="3305"/>
            <ac:spMk id="26" creationId="{F6B8514A-BF88-ED43-C17C-5A12FF045C4B}"/>
          </ac:spMkLst>
        </pc:spChg>
        <pc:spChg chg="mod ord">
          <ac:chgData name="Aurelien Domont" userId="6da7715ce44349b3" providerId="LiveId" clId="{131BB8E8-1659-49D0-9117-5008174AAE79}" dt="2023-12-06T03:04:54.521" v="6543" actId="207"/>
          <ac:spMkLst>
            <pc:docMk/>
            <pc:sldMk cId="957674206" sldId="3305"/>
            <ac:spMk id="27" creationId="{4842930F-9DF5-33EE-D54F-607C8A387A73}"/>
          </ac:spMkLst>
        </pc:spChg>
        <pc:spChg chg="mod ord">
          <ac:chgData name="Aurelien Domont" userId="6da7715ce44349b3" providerId="LiveId" clId="{131BB8E8-1659-49D0-9117-5008174AAE79}" dt="2023-12-06T03:04:57.614" v="6544" actId="207"/>
          <ac:spMkLst>
            <pc:docMk/>
            <pc:sldMk cId="957674206" sldId="3305"/>
            <ac:spMk id="37" creationId="{FEAB0721-E263-2251-2BD5-BC356A0DA702}"/>
          </ac:spMkLst>
        </pc:spChg>
        <pc:spChg chg="mod ord">
          <ac:chgData name="Aurelien Domont" userId="6da7715ce44349b3" providerId="LiveId" clId="{131BB8E8-1659-49D0-9117-5008174AAE79}" dt="2023-12-06T03:03:09.952" v="6499"/>
          <ac:spMkLst>
            <pc:docMk/>
            <pc:sldMk cId="957674206" sldId="3305"/>
            <ac:spMk id="39" creationId="{1DE63163-F39C-446C-0532-22E9E2681DDE}"/>
          </ac:spMkLst>
        </pc:spChg>
        <pc:spChg chg="mod ord">
          <ac:chgData name="Aurelien Domont" userId="6da7715ce44349b3" providerId="LiveId" clId="{131BB8E8-1659-49D0-9117-5008174AAE79}" dt="2023-12-06T03:04:57.614" v="6544" actId="207"/>
          <ac:spMkLst>
            <pc:docMk/>
            <pc:sldMk cId="957674206" sldId="3305"/>
            <ac:spMk id="40" creationId="{70CAD695-C742-F8F8-B4B3-CFFEBF5DC866}"/>
          </ac:spMkLst>
        </pc:spChg>
        <pc:spChg chg="mod ord">
          <ac:chgData name="Aurelien Domont" userId="6da7715ce44349b3" providerId="LiveId" clId="{131BB8E8-1659-49D0-9117-5008174AAE79}" dt="2023-12-06T03:05:01.560" v="6545" actId="207"/>
          <ac:spMkLst>
            <pc:docMk/>
            <pc:sldMk cId="957674206" sldId="3305"/>
            <ac:spMk id="43" creationId="{65B22EE6-5F4E-8BB1-D9CB-0B4001EE062F}"/>
          </ac:spMkLst>
        </pc:spChg>
        <pc:spChg chg="mod ord">
          <ac:chgData name="Aurelien Domont" userId="6da7715ce44349b3" providerId="LiveId" clId="{131BB8E8-1659-49D0-9117-5008174AAE79}" dt="2023-12-06T03:05:01.560" v="6545" actId="207"/>
          <ac:spMkLst>
            <pc:docMk/>
            <pc:sldMk cId="957674206" sldId="3305"/>
            <ac:spMk id="44" creationId="{77EDB655-A6D9-E267-73F6-BEFB5D1C97DF}"/>
          </ac:spMkLst>
        </pc:spChg>
        <pc:spChg chg="mod ord">
          <ac:chgData name="Aurelien Domont" userId="6da7715ce44349b3" providerId="LiveId" clId="{131BB8E8-1659-49D0-9117-5008174AAE79}" dt="2023-12-06T03:05:01.560" v="6545" actId="207"/>
          <ac:spMkLst>
            <pc:docMk/>
            <pc:sldMk cId="957674206" sldId="3305"/>
            <ac:spMk id="47" creationId="{47325780-CCCA-9444-34F9-CB9622723945}"/>
          </ac:spMkLst>
        </pc:spChg>
        <pc:spChg chg="mod ord">
          <ac:chgData name="Aurelien Domont" userId="6da7715ce44349b3" providerId="LiveId" clId="{131BB8E8-1659-49D0-9117-5008174AAE79}" dt="2023-12-06T03:05:01.560" v="6545" actId="207"/>
          <ac:spMkLst>
            <pc:docMk/>
            <pc:sldMk cId="957674206" sldId="3305"/>
            <ac:spMk id="48" creationId="{F23E0C0F-578D-E988-445E-BA5542861168}"/>
          </ac:spMkLst>
        </pc:spChg>
        <pc:graphicFrameChg chg="mod">
          <ac:chgData name="Aurelien Domont" userId="6da7715ce44349b3" providerId="LiveId" clId="{131BB8E8-1659-49D0-9117-5008174AAE79}" dt="2023-12-06T03:03:09.968" v="6521"/>
          <ac:graphicFrameMkLst>
            <pc:docMk/>
            <pc:sldMk cId="957674206" sldId="3305"/>
            <ac:graphicFrameMk id="6" creationId="{F5887244-1866-E102-5FD5-79FA1304146D}"/>
          </ac:graphicFrameMkLst>
        </pc:graphicFrameChg>
        <pc:picChg chg="add del mod">
          <ac:chgData name="Aurelien Domont" userId="6da7715ce44349b3" providerId="LiveId" clId="{131BB8E8-1659-49D0-9117-5008174AAE79}" dt="2023-12-06T03:02:52.803" v="6397" actId="478"/>
          <ac:picMkLst>
            <pc:docMk/>
            <pc:sldMk cId="957674206" sldId="3305"/>
            <ac:picMk id="8" creationId="{64659FFA-D4BD-47C1-971E-3F45CBFB94CF}"/>
          </ac:picMkLst>
        </pc:picChg>
        <pc:picChg chg="add del mod">
          <ac:chgData name="Aurelien Domont" userId="6da7715ce44349b3" providerId="LiveId" clId="{131BB8E8-1659-49D0-9117-5008174AAE79}" dt="2023-12-06T03:02:58.159" v="6404" actId="478"/>
          <ac:picMkLst>
            <pc:docMk/>
            <pc:sldMk cId="957674206" sldId="3305"/>
            <ac:picMk id="11" creationId="{54256CBB-6C22-3FDE-929A-0CD015F54F66}"/>
          </ac:picMkLst>
        </pc:picChg>
        <pc:picChg chg="add del mod ord">
          <ac:chgData name="Aurelien Domont" userId="6da7715ce44349b3" providerId="LiveId" clId="{131BB8E8-1659-49D0-9117-5008174AAE79}" dt="2023-12-06T03:03:07.519" v="6470" actId="478"/>
          <ac:picMkLst>
            <pc:docMk/>
            <pc:sldMk cId="957674206" sldId="3305"/>
            <ac:picMk id="12" creationId="{99F63B7B-20AE-1CAC-5503-74BD4D22E0A1}"/>
          </ac:picMkLst>
        </pc:picChg>
        <pc:picChg chg="add mod ord">
          <ac:chgData name="Aurelien Domont" userId="6da7715ce44349b3" providerId="LiveId" clId="{131BB8E8-1659-49D0-9117-5008174AAE79}" dt="2023-12-06T03:03:14.708" v="6522" actId="108"/>
          <ac:picMkLst>
            <pc:docMk/>
            <pc:sldMk cId="957674206" sldId="3305"/>
            <ac:picMk id="14" creationId="{A271F1FE-7ABE-C38D-D265-B81619A950B0}"/>
          </ac:picMkLst>
        </pc:picChg>
        <pc:picChg chg="add mod ord">
          <ac:chgData name="Aurelien Domont" userId="6da7715ce44349b3" providerId="LiveId" clId="{131BB8E8-1659-49D0-9117-5008174AAE79}" dt="2023-12-06T03:04:08.707" v="6536" actId="408"/>
          <ac:picMkLst>
            <pc:docMk/>
            <pc:sldMk cId="957674206" sldId="3305"/>
            <ac:picMk id="15" creationId="{EC380AB3-687D-CD96-1B61-8874D484DB57}"/>
          </ac:picMkLst>
        </pc:picChg>
        <pc:picChg chg="add mod ord modCrop">
          <ac:chgData name="Aurelien Domont" userId="6da7715ce44349b3" providerId="LiveId" clId="{131BB8E8-1659-49D0-9117-5008174AAE79}" dt="2023-12-06T03:03:21.335" v="6535" actId="1037"/>
          <ac:picMkLst>
            <pc:docMk/>
            <pc:sldMk cId="957674206" sldId="3305"/>
            <ac:picMk id="17" creationId="{DD86FEDB-56D2-73D8-2F20-4D2B1A00E666}"/>
          </ac:picMkLst>
        </pc:picChg>
        <pc:picChg chg="mod ord">
          <ac:chgData name="Aurelien Domont" userId="6da7715ce44349b3" providerId="LiveId" clId="{131BB8E8-1659-49D0-9117-5008174AAE79}" dt="2023-12-06T03:04:54.521" v="6543" actId="207"/>
          <ac:picMkLst>
            <pc:docMk/>
            <pc:sldMk cId="957674206" sldId="3305"/>
            <ac:picMk id="29" creationId="{DDC5EFC3-30CF-D190-0F31-8CF28EE90785}"/>
          </ac:picMkLst>
        </pc:picChg>
        <pc:picChg chg="mod ord">
          <ac:chgData name="Aurelien Domont" userId="6da7715ce44349b3" providerId="LiveId" clId="{131BB8E8-1659-49D0-9117-5008174AAE79}" dt="2023-12-06T03:04:54.521" v="6543" actId="207"/>
          <ac:picMkLst>
            <pc:docMk/>
            <pc:sldMk cId="957674206" sldId="3305"/>
            <ac:picMk id="36" creationId="{97C3198F-7D51-2162-8158-E2A0C58DF4BB}"/>
          </ac:picMkLst>
        </pc:picChg>
        <pc:picChg chg="mod ord">
          <ac:chgData name="Aurelien Domont" userId="6da7715ce44349b3" providerId="LiveId" clId="{131BB8E8-1659-49D0-9117-5008174AAE79}" dt="2023-12-06T03:03:09.952" v="6503"/>
          <ac:picMkLst>
            <pc:docMk/>
            <pc:sldMk cId="957674206" sldId="3305"/>
            <ac:picMk id="41" creationId="{7C15731A-822F-F8BD-2689-22999A8F3131}"/>
          </ac:picMkLst>
        </pc:picChg>
        <pc:picChg chg="mod ord">
          <ac:chgData name="Aurelien Domont" userId="6da7715ce44349b3" providerId="LiveId" clId="{131BB8E8-1659-49D0-9117-5008174AAE79}" dt="2023-12-06T03:04:57.614" v="6544" actId="207"/>
          <ac:picMkLst>
            <pc:docMk/>
            <pc:sldMk cId="957674206" sldId="3305"/>
            <ac:picMk id="42" creationId="{051673A3-C6AB-14C0-AEB1-1EAF7298EB45}"/>
          </ac:picMkLst>
        </pc:picChg>
      </pc:sldChg>
      <pc:sldChg chg="addSp delSp modSp add mod">
        <pc:chgData name="Aurelien Domont" userId="6da7715ce44349b3" providerId="LiveId" clId="{131BB8E8-1659-49D0-9117-5008174AAE79}" dt="2023-12-06T03:10:06.478" v="6731" actId="207"/>
        <pc:sldMkLst>
          <pc:docMk/>
          <pc:sldMk cId="3006714839" sldId="3306"/>
        </pc:sldMkLst>
        <pc:spChg chg="mod ord">
          <ac:chgData name="Aurelien Domont" userId="6da7715ce44349b3" providerId="LiveId" clId="{131BB8E8-1659-49D0-9117-5008174AAE79}" dt="2023-12-06T03:08:12.110" v="6633"/>
          <ac:spMkLst>
            <pc:docMk/>
            <pc:sldMk cId="3006714839" sldId="3306"/>
            <ac:spMk id="2" creationId="{12009DA8-0966-101B-E219-F283F194BD59}"/>
          </ac:spMkLst>
        </pc:spChg>
        <pc:spChg chg="add del mod modVis">
          <ac:chgData name="Aurelien Domont" userId="6da7715ce44349b3" providerId="LiveId" clId="{131BB8E8-1659-49D0-9117-5008174AAE79}" dt="2023-12-06T02:46:08.581" v="6124"/>
          <ac:spMkLst>
            <pc:docMk/>
            <pc:sldMk cId="3006714839" sldId="3306"/>
            <ac:spMk id="3" creationId="{470E7E1A-380A-F531-E7E7-23C09037293B}"/>
          </ac:spMkLst>
        </pc:spChg>
        <pc:spChg chg="mod ord">
          <ac:chgData name="Aurelien Domont" userId="6da7715ce44349b3" providerId="LiveId" clId="{131BB8E8-1659-49D0-9117-5008174AAE79}" dt="2023-12-06T03:08:12.110" v="6639"/>
          <ac:spMkLst>
            <pc:docMk/>
            <pc:sldMk cId="3006714839" sldId="3306"/>
            <ac:spMk id="4" creationId="{99603223-1600-4878-C974-BE354BB939BC}"/>
          </ac:spMkLst>
        </pc:spChg>
        <pc:spChg chg="add mod ord">
          <ac:chgData name="Aurelien Domont" userId="6da7715ce44349b3" providerId="LiveId" clId="{131BB8E8-1659-49D0-9117-5008174AAE79}" dt="2023-12-06T03:08:12.110" v="6625"/>
          <ac:spMkLst>
            <pc:docMk/>
            <pc:sldMk cId="3006714839" sldId="3306"/>
            <ac:spMk id="5" creationId="{23EFD1B6-0D99-075A-A9E7-6CACA5E2E9B7}"/>
          </ac:spMkLst>
        </pc:spChg>
        <pc:spChg chg="mod ord">
          <ac:chgData name="Aurelien Domont" userId="6da7715ce44349b3" providerId="LiveId" clId="{131BB8E8-1659-49D0-9117-5008174AAE79}" dt="2023-12-06T03:08:12.126" v="6641"/>
          <ac:spMkLst>
            <pc:docMk/>
            <pc:sldMk cId="3006714839" sldId="3306"/>
            <ac:spMk id="7" creationId="{862E9442-E533-82E4-DCB5-A77EFB47F88B}"/>
          </ac:spMkLst>
        </pc:spChg>
        <pc:spChg chg="mod ord">
          <ac:chgData name="Aurelien Domont" userId="6da7715ce44349b3" providerId="LiveId" clId="{131BB8E8-1659-49D0-9117-5008174AAE79}" dt="2023-12-06T03:08:12.110" v="6635"/>
          <ac:spMkLst>
            <pc:docMk/>
            <pc:sldMk cId="3006714839" sldId="3306"/>
            <ac:spMk id="9" creationId="{A0CCDE32-77FA-6798-8700-6D8A6A0EE65D}"/>
          </ac:spMkLst>
        </pc:spChg>
        <pc:spChg chg="mod ord">
          <ac:chgData name="Aurelien Domont" userId="6da7715ce44349b3" providerId="LiveId" clId="{131BB8E8-1659-49D0-9117-5008174AAE79}" dt="2023-12-06T03:08:12.110" v="6637"/>
          <ac:spMkLst>
            <pc:docMk/>
            <pc:sldMk cId="3006714839" sldId="3306"/>
            <ac:spMk id="10" creationId="{4A25DF32-0AB1-1F01-2EE5-8C9DC763ADD9}"/>
          </ac:spMkLst>
        </pc:spChg>
        <pc:spChg chg="add del mod">
          <ac:chgData name="Aurelien Domont" userId="6da7715ce44349b3" providerId="LiveId" clId="{131BB8E8-1659-49D0-9117-5008174AAE79}" dt="2023-12-06T03:05:45.917" v="6549" actId="478"/>
          <ac:spMkLst>
            <pc:docMk/>
            <pc:sldMk cId="3006714839" sldId="3306"/>
            <ac:spMk id="13" creationId="{A85BB045-8CE9-87AC-F567-96509340843A}"/>
          </ac:spMkLst>
        </pc:spChg>
        <pc:spChg chg="add mod ord">
          <ac:chgData name="Aurelien Domont" userId="6da7715ce44349b3" providerId="LiveId" clId="{131BB8E8-1659-49D0-9117-5008174AAE79}" dt="2023-12-06T03:10:06.478" v="6731" actId="207"/>
          <ac:spMkLst>
            <pc:docMk/>
            <pc:sldMk cId="3006714839" sldId="3306"/>
            <ac:spMk id="14" creationId="{DA65CDB5-C9EE-EBBD-E3E5-BADEA11AD09F}"/>
          </ac:spMkLst>
        </pc:spChg>
        <pc:spChg chg="mod ord">
          <ac:chgData name="Aurelien Domont" userId="6da7715ce44349b3" providerId="LiveId" clId="{131BB8E8-1659-49D0-9117-5008174AAE79}" dt="2023-12-06T03:08:12.126" v="6643"/>
          <ac:spMkLst>
            <pc:docMk/>
            <pc:sldMk cId="3006714839" sldId="3306"/>
            <ac:spMk id="25" creationId="{B6D6720F-030A-1F46-4D17-753ACBF75408}"/>
          </ac:spMkLst>
        </pc:spChg>
        <pc:spChg chg="mod ord">
          <ac:chgData name="Aurelien Domont" userId="6da7715ce44349b3" providerId="LiveId" clId="{131BB8E8-1659-49D0-9117-5008174AAE79}" dt="2023-12-06T03:08:12.126" v="6645"/>
          <ac:spMkLst>
            <pc:docMk/>
            <pc:sldMk cId="3006714839" sldId="3306"/>
            <ac:spMk id="26" creationId="{F6B8514A-BF88-ED43-C17C-5A12FF045C4B}"/>
          </ac:spMkLst>
        </pc:spChg>
        <pc:spChg chg="mod ord">
          <ac:chgData name="Aurelien Domont" userId="6da7715ce44349b3" providerId="LiveId" clId="{131BB8E8-1659-49D0-9117-5008174AAE79}" dt="2023-12-06T03:08:12.126" v="6647"/>
          <ac:spMkLst>
            <pc:docMk/>
            <pc:sldMk cId="3006714839" sldId="3306"/>
            <ac:spMk id="27" creationId="{4842930F-9DF5-33EE-D54F-607C8A387A73}"/>
          </ac:spMkLst>
        </pc:spChg>
        <pc:spChg chg="mod ord">
          <ac:chgData name="Aurelien Domont" userId="6da7715ce44349b3" providerId="LiveId" clId="{131BB8E8-1659-49D0-9117-5008174AAE79}" dt="2023-12-06T03:08:12.126" v="6653"/>
          <ac:spMkLst>
            <pc:docMk/>
            <pc:sldMk cId="3006714839" sldId="3306"/>
            <ac:spMk id="37" creationId="{FEAB0721-E263-2251-2BD5-BC356A0DA702}"/>
          </ac:spMkLst>
        </pc:spChg>
        <pc:spChg chg="mod ord">
          <ac:chgData name="Aurelien Domont" userId="6da7715ce44349b3" providerId="LiveId" clId="{131BB8E8-1659-49D0-9117-5008174AAE79}" dt="2023-12-06T03:08:12.126" v="6655"/>
          <ac:spMkLst>
            <pc:docMk/>
            <pc:sldMk cId="3006714839" sldId="3306"/>
            <ac:spMk id="39" creationId="{1DE63163-F39C-446C-0532-22E9E2681DDE}"/>
          </ac:spMkLst>
        </pc:spChg>
        <pc:spChg chg="mod ord">
          <ac:chgData name="Aurelien Domont" userId="6da7715ce44349b3" providerId="LiveId" clId="{131BB8E8-1659-49D0-9117-5008174AAE79}" dt="2023-12-06T03:08:12.126" v="6657"/>
          <ac:spMkLst>
            <pc:docMk/>
            <pc:sldMk cId="3006714839" sldId="3306"/>
            <ac:spMk id="40" creationId="{70CAD695-C742-F8F8-B4B3-CFFEBF5DC866}"/>
          </ac:spMkLst>
        </pc:spChg>
        <pc:spChg chg="mod ord">
          <ac:chgData name="Aurelien Domont" userId="6da7715ce44349b3" providerId="LiveId" clId="{131BB8E8-1659-49D0-9117-5008174AAE79}" dt="2023-12-06T03:08:12.126" v="6663"/>
          <ac:spMkLst>
            <pc:docMk/>
            <pc:sldMk cId="3006714839" sldId="3306"/>
            <ac:spMk id="43" creationId="{65B22EE6-5F4E-8BB1-D9CB-0B4001EE062F}"/>
          </ac:spMkLst>
        </pc:spChg>
        <pc:spChg chg="mod ord">
          <ac:chgData name="Aurelien Domont" userId="6da7715ce44349b3" providerId="LiveId" clId="{131BB8E8-1659-49D0-9117-5008174AAE79}" dt="2023-12-06T03:08:12.126" v="6665"/>
          <ac:spMkLst>
            <pc:docMk/>
            <pc:sldMk cId="3006714839" sldId="3306"/>
            <ac:spMk id="44" creationId="{77EDB655-A6D9-E267-73F6-BEFB5D1C97DF}"/>
          </ac:spMkLst>
        </pc:spChg>
        <pc:spChg chg="mod ord">
          <ac:chgData name="Aurelien Domont" userId="6da7715ce44349b3" providerId="LiveId" clId="{131BB8E8-1659-49D0-9117-5008174AAE79}" dt="2023-12-06T03:08:12.126" v="6667"/>
          <ac:spMkLst>
            <pc:docMk/>
            <pc:sldMk cId="3006714839" sldId="3306"/>
            <ac:spMk id="47" creationId="{47325780-CCCA-9444-34F9-CB9622723945}"/>
          </ac:spMkLst>
        </pc:spChg>
        <pc:spChg chg="mod ord">
          <ac:chgData name="Aurelien Domont" userId="6da7715ce44349b3" providerId="LiveId" clId="{131BB8E8-1659-49D0-9117-5008174AAE79}" dt="2023-12-06T03:08:12.126" v="6669"/>
          <ac:spMkLst>
            <pc:docMk/>
            <pc:sldMk cId="3006714839" sldId="3306"/>
            <ac:spMk id="48" creationId="{F23E0C0F-578D-E988-445E-BA5542861168}"/>
          </ac:spMkLst>
        </pc:spChg>
        <pc:graphicFrameChg chg="mod">
          <ac:chgData name="Aurelien Domont" userId="6da7715ce44349b3" providerId="LiveId" clId="{131BB8E8-1659-49D0-9117-5008174AAE79}" dt="2023-12-06T03:08:12.126" v="6675"/>
          <ac:graphicFrameMkLst>
            <pc:docMk/>
            <pc:sldMk cId="3006714839" sldId="3306"/>
            <ac:graphicFrameMk id="6" creationId="{F5887244-1866-E102-5FD5-79FA1304146D}"/>
          </ac:graphicFrameMkLst>
        </pc:graphicFrameChg>
        <pc:picChg chg="add del mod ord">
          <ac:chgData name="Aurelien Domont" userId="6da7715ce44349b3" providerId="LiveId" clId="{131BB8E8-1659-49D0-9117-5008174AAE79}" dt="2023-12-06T03:08:09.819" v="6622" actId="478"/>
          <ac:picMkLst>
            <pc:docMk/>
            <pc:sldMk cId="3006714839" sldId="3306"/>
            <ac:picMk id="8" creationId="{A29B3A87-9479-B3A4-E08D-1D71DC07CA96}"/>
          </ac:picMkLst>
        </pc:picChg>
        <pc:picChg chg="add del mod ord">
          <ac:chgData name="Aurelien Domont" userId="6da7715ce44349b3" providerId="LiveId" clId="{131BB8E8-1659-49D0-9117-5008174AAE79}" dt="2023-12-06T03:08:09.819" v="6622" actId="478"/>
          <ac:picMkLst>
            <pc:docMk/>
            <pc:sldMk cId="3006714839" sldId="3306"/>
            <ac:picMk id="11" creationId="{8CA0A9E7-EB37-C847-04A5-C9353EF872A7}"/>
          </ac:picMkLst>
        </pc:picChg>
        <pc:picChg chg="add del mod ord">
          <ac:chgData name="Aurelien Domont" userId="6da7715ce44349b3" providerId="LiveId" clId="{131BB8E8-1659-49D0-9117-5008174AAE79}" dt="2023-12-06T03:08:09.819" v="6622" actId="478"/>
          <ac:picMkLst>
            <pc:docMk/>
            <pc:sldMk cId="3006714839" sldId="3306"/>
            <ac:picMk id="12" creationId="{07EBB9AF-B05F-0C56-20A7-6026C42EA032}"/>
          </ac:picMkLst>
        </pc:picChg>
        <pc:picChg chg="add mod ord">
          <ac:chgData name="Aurelien Domont" userId="6da7715ce44349b3" providerId="LiveId" clId="{131BB8E8-1659-49D0-9117-5008174AAE79}" dt="2023-12-06T03:08:15.296" v="6676" actId="108"/>
          <ac:picMkLst>
            <pc:docMk/>
            <pc:sldMk cId="3006714839" sldId="3306"/>
            <ac:picMk id="15" creationId="{2023ACD8-E15E-D510-CC1B-E21264B3950C}"/>
          </ac:picMkLst>
        </pc:picChg>
        <pc:picChg chg="add mod ord">
          <ac:chgData name="Aurelien Domont" userId="6da7715ce44349b3" providerId="LiveId" clId="{131BB8E8-1659-49D0-9117-5008174AAE79}" dt="2023-12-06T03:08:15.626" v="6677" actId="108"/>
          <ac:picMkLst>
            <pc:docMk/>
            <pc:sldMk cId="3006714839" sldId="3306"/>
            <ac:picMk id="16" creationId="{B7CC5DE9-05AA-AE53-C444-DB5E7E1CB878}"/>
          </ac:picMkLst>
        </pc:picChg>
        <pc:picChg chg="add mod ord">
          <ac:chgData name="Aurelien Domont" userId="6da7715ce44349b3" providerId="LiveId" clId="{131BB8E8-1659-49D0-9117-5008174AAE79}" dt="2023-12-06T03:08:15.955" v="6678" actId="108"/>
          <ac:picMkLst>
            <pc:docMk/>
            <pc:sldMk cId="3006714839" sldId="3306"/>
            <ac:picMk id="17" creationId="{6BFDBB04-768D-D24C-0E29-C4C73C4A61DF}"/>
          </ac:picMkLst>
        </pc:picChg>
        <pc:picChg chg="mod ord">
          <ac:chgData name="Aurelien Domont" userId="6da7715ce44349b3" providerId="LiveId" clId="{131BB8E8-1659-49D0-9117-5008174AAE79}" dt="2023-12-06T03:08:12.126" v="6649"/>
          <ac:picMkLst>
            <pc:docMk/>
            <pc:sldMk cId="3006714839" sldId="3306"/>
            <ac:picMk id="29" creationId="{DDC5EFC3-30CF-D190-0F31-8CF28EE90785}"/>
          </ac:picMkLst>
        </pc:picChg>
        <pc:picChg chg="mod ord">
          <ac:chgData name="Aurelien Domont" userId="6da7715ce44349b3" providerId="LiveId" clId="{131BB8E8-1659-49D0-9117-5008174AAE79}" dt="2023-12-06T03:08:12.126" v="6651"/>
          <ac:picMkLst>
            <pc:docMk/>
            <pc:sldMk cId="3006714839" sldId="3306"/>
            <ac:picMk id="36" creationId="{97C3198F-7D51-2162-8158-E2A0C58DF4BB}"/>
          </ac:picMkLst>
        </pc:picChg>
        <pc:picChg chg="mod ord">
          <ac:chgData name="Aurelien Domont" userId="6da7715ce44349b3" providerId="LiveId" clId="{131BB8E8-1659-49D0-9117-5008174AAE79}" dt="2023-12-06T03:08:12.126" v="6659"/>
          <ac:picMkLst>
            <pc:docMk/>
            <pc:sldMk cId="3006714839" sldId="3306"/>
            <ac:picMk id="41" creationId="{7C15731A-822F-F8BD-2689-22999A8F3131}"/>
          </ac:picMkLst>
        </pc:picChg>
        <pc:picChg chg="mod ord">
          <ac:chgData name="Aurelien Domont" userId="6da7715ce44349b3" providerId="LiveId" clId="{131BB8E8-1659-49D0-9117-5008174AAE79}" dt="2023-12-06T03:08:12.126" v="6661"/>
          <ac:picMkLst>
            <pc:docMk/>
            <pc:sldMk cId="3006714839" sldId="3306"/>
            <ac:picMk id="42" creationId="{051673A3-C6AB-14C0-AEB1-1EAF7298EB45}"/>
          </ac:picMkLst>
        </pc:picChg>
      </pc:sldChg>
      <pc:sldChg chg="addSp delSp modSp add mod">
        <pc:chgData name="Aurelien Domont" userId="6da7715ce44349b3" providerId="LiveId" clId="{131BB8E8-1659-49D0-9117-5008174AAE79}" dt="2023-12-06T03:14:29.748" v="6885" actId="108"/>
        <pc:sldMkLst>
          <pc:docMk/>
          <pc:sldMk cId="130198696" sldId="3307"/>
        </pc:sldMkLst>
        <pc:spChg chg="mod ord">
          <ac:chgData name="Aurelien Domont" userId="6da7715ce44349b3" providerId="LiveId" clId="{131BB8E8-1659-49D0-9117-5008174AAE79}" dt="2023-12-06T03:14:24.297" v="6836"/>
          <ac:spMkLst>
            <pc:docMk/>
            <pc:sldMk cId="130198696" sldId="3307"/>
            <ac:spMk id="2" creationId="{12009DA8-0966-101B-E219-F283F194BD59}"/>
          </ac:spMkLst>
        </pc:spChg>
        <pc:spChg chg="add del mod modVis">
          <ac:chgData name="Aurelien Domont" userId="6da7715ce44349b3" providerId="LiveId" clId="{131BB8E8-1659-49D0-9117-5008174AAE79}" dt="2023-12-06T02:46:12.808" v="6154"/>
          <ac:spMkLst>
            <pc:docMk/>
            <pc:sldMk cId="130198696" sldId="3307"/>
            <ac:spMk id="3" creationId="{7D602090-6839-229E-EEDA-A1E8F373AFF0}"/>
          </ac:spMkLst>
        </pc:spChg>
        <pc:spChg chg="mod ord">
          <ac:chgData name="Aurelien Domont" userId="6da7715ce44349b3" providerId="LiveId" clId="{131BB8E8-1659-49D0-9117-5008174AAE79}" dt="2023-12-06T03:14:24.297" v="6842"/>
          <ac:spMkLst>
            <pc:docMk/>
            <pc:sldMk cId="130198696" sldId="3307"/>
            <ac:spMk id="4" creationId="{99603223-1600-4878-C974-BE354BB939BC}"/>
          </ac:spMkLst>
        </pc:spChg>
        <pc:spChg chg="add del mod modVis">
          <ac:chgData name="Aurelien Domont" userId="6da7715ce44349b3" providerId="LiveId" clId="{131BB8E8-1659-49D0-9117-5008174AAE79}" dt="2023-12-06T02:46:29.019" v="6188"/>
          <ac:spMkLst>
            <pc:docMk/>
            <pc:sldMk cId="130198696" sldId="3307"/>
            <ac:spMk id="5" creationId="{E1F5239B-CD01-CE29-E5B1-EA0C3301C189}"/>
          </ac:spMkLst>
        </pc:spChg>
        <pc:spChg chg="mod ord">
          <ac:chgData name="Aurelien Domont" userId="6da7715ce44349b3" providerId="LiveId" clId="{131BB8E8-1659-49D0-9117-5008174AAE79}" dt="2023-12-06T03:14:24.297" v="6844"/>
          <ac:spMkLst>
            <pc:docMk/>
            <pc:sldMk cId="130198696" sldId="3307"/>
            <ac:spMk id="7" creationId="{862E9442-E533-82E4-DCB5-A77EFB47F88B}"/>
          </ac:spMkLst>
        </pc:spChg>
        <pc:spChg chg="add mod ord">
          <ac:chgData name="Aurelien Domont" userId="6da7715ce44349b3" providerId="LiveId" clId="{131BB8E8-1659-49D0-9117-5008174AAE79}" dt="2023-12-06T03:14:24.281" v="6830"/>
          <ac:spMkLst>
            <pc:docMk/>
            <pc:sldMk cId="130198696" sldId="3307"/>
            <ac:spMk id="8" creationId="{4308539F-3013-4A2F-3172-AC6FFBBC4BEA}"/>
          </ac:spMkLst>
        </pc:spChg>
        <pc:spChg chg="mod ord">
          <ac:chgData name="Aurelien Domont" userId="6da7715ce44349b3" providerId="LiveId" clId="{131BB8E8-1659-49D0-9117-5008174AAE79}" dt="2023-12-06T03:14:24.297" v="6838"/>
          <ac:spMkLst>
            <pc:docMk/>
            <pc:sldMk cId="130198696" sldId="3307"/>
            <ac:spMk id="9" creationId="{A0CCDE32-77FA-6798-8700-6D8A6A0EE65D}"/>
          </ac:spMkLst>
        </pc:spChg>
        <pc:spChg chg="mod ord">
          <ac:chgData name="Aurelien Domont" userId="6da7715ce44349b3" providerId="LiveId" clId="{131BB8E8-1659-49D0-9117-5008174AAE79}" dt="2023-12-06T03:14:24.297" v="6840"/>
          <ac:spMkLst>
            <pc:docMk/>
            <pc:sldMk cId="130198696" sldId="3307"/>
            <ac:spMk id="10" creationId="{4A25DF32-0AB1-1F01-2EE5-8C9DC763ADD9}"/>
          </ac:spMkLst>
        </pc:spChg>
        <pc:spChg chg="add del mod">
          <ac:chgData name="Aurelien Domont" userId="6da7715ce44349b3" providerId="LiveId" clId="{131BB8E8-1659-49D0-9117-5008174AAE79}" dt="2023-12-06T03:09:13.483" v="6693" actId="478"/>
          <ac:spMkLst>
            <pc:docMk/>
            <pc:sldMk cId="130198696" sldId="3307"/>
            <ac:spMk id="11" creationId="{E499CA16-6552-FD53-DED3-0CE090F12AB0}"/>
          </ac:spMkLst>
        </pc:spChg>
        <pc:spChg chg="add del mod">
          <ac:chgData name="Aurelien Domont" userId="6da7715ce44349b3" providerId="LiveId" clId="{131BB8E8-1659-49D0-9117-5008174AAE79}" dt="2023-12-06T03:09:12.566" v="6692" actId="478"/>
          <ac:spMkLst>
            <pc:docMk/>
            <pc:sldMk cId="130198696" sldId="3307"/>
            <ac:spMk id="12" creationId="{546A0502-570D-6E77-71C4-EBA3598EA5BC}"/>
          </ac:spMkLst>
        </pc:spChg>
        <pc:spChg chg="add del mod">
          <ac:chgData name="Aurelien Domont" userId="6da7715ce44349b3" providerId="LiveId" clId="{131BB8E8-1659-49D0-9117-5008174AAE79}" dt="2023-12-06T03:10:27.351" v="6735" actId="478"/>
          <ac:spMkLst>
            <pc:docMk/>
            <pc:sldMk cId="130198696" sldId="3307"/>
            <ac:spMk id="13" creationId="{12A37D46-3215-4B6B-0529-0671FD7CF030}"/>
          </ac:spMkLst>
        </pc:spChg>
        <pc:spChg chg="add del mod">
          <ac:chgData name="Aurelien Domont" userId="6da7715ce44349b3" providerId="LiveId" clId="{131BB8E8-1659-49D0-9117-5008174AAE79}" dt="2023-12-06T03:10:26.015" v="6734" actId="478"/>
          <ac:spMkLst>
            <pc:docMk/>
            <pc:sldMk cId="130198696" sldId="3307"/>
            <ac:spMk id="14" creationId="{7E15ABEF-9B1D-ACC0-FA28-3E7AD1495BB6}"/>
          </ac:spMkLst>
        </pc:spChg>
        <pc:spChg chg="add mod ord">
          <ac:chgData name="Aurelien Domont" userId="6da7715ce44349b3" providerId="LiveId" clId="{131BB8E8-1659-49D0-9117-5008174AAE79}" dt="2023-12-06T03:14:24.297" v="6874"/>
          <ac:spMkLst>
            <pc:docMk/>
            <pc:sldMk cId="130198696" sldId="3307"/>
            <ac:spMk id="15" creationId="{EB7499AA-3E21-ED00-FA7C-8491E0641374}"/>
          </ac:spMkLst>
        </pc:spChg>
        <pc:spChg chg="add mod ord">
          <ac:chgData name="Aurelien Domont" userId="6da7715ce44349b3" providerId="LiveId" clId="{131BB8E8-1659-49D0-9117-5008174AAE79}" dt="2023-12-06T03:14:24.297" v="6876"/>
          <ac:spMkLst>
            <pc:docMk/>
            <pc:sldMk cId="130198696" sldId="3307"/>
            <ac:spMk id="16" creationId="{B8D106A6-211B-9FB5-6C34-AA2048EC6275}"/>
          </ac:spMkLst>
        </pc:spChg>
        <pc:spChg chg="mod ord">
          <ac:chgData name="Aurelien Domont" userId="6da7715ce44349b3" providerId="LiveId" clId="{131BB8E8-1659-49D0-9117-5008174AAE79}" dt="2023-12-06T03:14:24.297" v="6846"/>
          <ac:spMkLst>
            <pc:docMk/>
            <pc:sldMk cId="130198696" sldId="3307"/>
            <ac:spMk id="25" creationId="{B6D6720F-030A-1F46-4D17-753ACBF75408}"/>
          </ac:spMkLst>
        </pc:spChg>
        <pc:spChg chg="mod ord">
          <ac:chgData name="Aurelien Domont" userId="6da7715ce44349b3" providerId="LiveId" clId="{131BB8E8-1659-49D0-9117-5008174AAE79}" dt="2023-12-06T03:14:24.297" v="6848"/>
          <ac:spMkLst>
            <pc:docMk/>
            <pc:sldMk cId="130198696" sldId="3307"/>
            <ac:spMk id="26" creationId="{F6B8514A-BF88-ED43-C17C-5A12FF045C4B}"/>
          </ac:spMkLst>
        </pc:spChg>
        <pc:spChg chg="mod ord">
          <ac:chgData name="Aurelien Domont" userId="6da7715ce44349b3" providerId="LiveId" clId="{131BB8E8-1659-49D0-9117-5008174AAE79}" dt="2023-12-06T03:14:24.297" v="6850"/>
          <ac:spMkLst>
            <pc:docMk/>
            <pc:sldMk cId="130198696" sldId="3307"/>
            <ac:spMk id="27" creationId="{4842930F-9DF5-33EE-D54F-607C8A387A73}"/>
          </ac:spMkLst>
        </pc:spChg>
        <pc:spChg chg="mod ord">
          <ac:chgData name="Aurelien Domont" userId="6da7715ce44349b3" providerId="LiveId" clId="{131BB8E8-1659-49D0-9117-5008174AAE79}" dt="2023-12-06T03:14:24.297" v="6856"/>
          <ac:spMkLst>
            <pc:docMk/>
            <pc:sldMk cId="130198696" sldId="3307"/>
            <ac:spMk id="37" creationId="{FEAB0721-E263-2251-2BD5-BC356A0DA702}"/>
          </ac:spMkLst>
        </pc:spChg>
        <pc:spChg chg="mod ord">
          <ac:chgData name="Aurelien Domont" userId="6da7715ce44349b3" providerId="LiveId" clId="{131BB8E8-1659-49D0-9117-5008174AAE79}" dt="2023-12-06T03:14:24.297" v="6858"/>
          <ac:spMkLst>
            <pc:docMk/>
            <pc:sldMk cId="130198696" sldId="3307"/>
            <ac:spMk id="39" creationId="{1DE63163-F39C-446C-0532-22E9E2681DDE}"/>
          </ac:spMkLst>
        </pc:spChg>
        <pc:spChg chg="mod ord">
          <ac:chgData name="Aurelien Domont" userId="6da7715ce44349b3" providerId="LiveId" clId="{131BB8E8-1659-49D0-9117-5008174AAE79}" dt="2023-12-06T03:14:24.297" v="6860"/>
          <ac:spMkLst>
            <pc:docMk/>
            <pc:sldMk cId="130198696" sldId="3307"/>
            <ac:spMk id="40" creationId="{70CAD695-C742-F8F8-B4B3-CFFEBF5DC866}"/>
          </ac:spMkLst>
        </pc:spChg>
        <pc:spChg chg="mod ord">
          <ac:chgData name="Aurelien Domont" userId="6da7715ce44349b3" providerId="LiveId" clId="{131BB8E8-1659-49D0-9117-5008174AAE79}" dt="2023-12-06T03:14:24.297" v="6866"/>
          <ac:spMkLst>
            <pc:docMk/>
            <pc:sldMk cId="130198696" sldId="3307"/>
            <ac:spMk id="43" creationId="{65B22EE6-5F4E-8BB1-D9CB-0B4001EE062F}"/>
          </ac:spMkLst>
        </pc:spChg>
        <pc:spChg chg="mod ord">
          <ac:chgData name="Aurelien Domont" userId="6da7715ce44349b3" providerId="LiveId" clId="{131BB8E8-1659-49D0-9117-5008174AAE79}" dt="2023-12-06T03:14:24.297" v="6868"/>
          <ac:spMkLst>
            <pc:docMk/>
            <pc:sldMk cId="130198696" sldId="3307"/>
            <ac:spMk id="44" creationId="{77EDB655-A6D9-E267-73F6-BEFB5D1C97DF}"/>
          </ac:spMkLst>
        </pc:spChg>
        <pc:spChg chg="mod ord">
          <ac:chgData name="Aurelien Domont" userId="6da7715ce44349b3" providerId="LiveId" clId="{131BB8E8-1659-49D0-9117-5008174AAE79}" dt="2023-12-06T03:14:24.297" v="6870"/>
          <ac:spMkLst>
            <pc:docMk/>
            <pc:sldMk cId="130198696" sldId="3307"/>
            <ac:spMk id="47" creationId="{47325780-CCCA-9444-34F9-CB9622723945}"/>
          </ac:spMkLst>
        </pc:spChg>
        <pc:spChg chg="mod ord">
          <ac:chgData name="Aurelien Domont" userId="6da7715ce44349b3" providerId="LiveId" clId="{131BB8E8-1659-49D0-9117-5008174AAE79}" dt="2023-12-06T03:14:24.297" v="6872"/>
          <ac:spMkLst>
            <pc:docMk/>
            <pc:sldMk cId="130198696" sldId="3307"/>
            <ac:spMk id="48" creationId="{F23E0C0F-578D-E988-445E-BA5542861168}"/>
          </ac:spMkLst>
        </pc:spChg>
        <pc:graphicFrameChg chg="mod">
          <ac:chgData name="Aurelien Domont" userId="6da7715ce44349b3" providerId="LiveId" clId="{131BB8E8-1659-49D0-9117-5008174AAE79}" dt="2023-12-06T03:14:24.312" v="6882"/>
          <ac:graphicFrameMkLst>
            <pc:docMk/>
            <pc:sldMk cId="130198696" sldId="3307"/>
            <ac:graphicFrameMk id="6" creationId="{F5887244-1866-E102-5FD5-79FA1304146D}"/>
          </ac:graphicFrameMkLst>
        </pc:graphicFrameChg>
        <pc:picChg chg="add mod ord">
          <ac:chgData name="Aurelien Domont" userId="6da7715ce44349b3" providerId="LiveId" clId="{131BB8E8-1659-49D0-9117-5008174AAE79}" dt="2023-12-06T03:14:29.748" v="6885" actId="108"/>
          <ac:picMkLst>
            <pc:docMk/>
            <pc:sldMk cId="130198696" sldId="3307"/>
            <ac:picMk id="17" creationId="{51346E45-DA9A-23C8-7C62-C397C46A5EE3}"/>
          </ac:picMkLst>
        </pc:picChg>
        <pc:picChg chg="add del mod ord">
          <ac:chgData name="Aurelien Domont" userId="6da7715ce44349b3" providerId="LiveId" clId="{131BB8E8-1659-49D0-9117-5008174AAE79}" dt="2023-12-06T03:14:22.219" v="6827" actId="478"/>
          <ac:picMkLst>
            <pc:docMk/>
            <pc:sldMk cId="130198696" sldId="3307"/>
            <ac:picMk id="18" creationId="{8A4A1959-4DE2-964C-11D4-B2E9CE073737}"/>
          </ac:picMkLst>
        </pc:picChg>
        <pc:picChg chg="add del mod ord">
          <ac:chgData name="Aurelien Domont" userId="6da7715ce44349b3" providerId="LiveId" clId="{131BB8E8-1659-49D0-9117-5008174AAE79}" dt="2023-12-06T03:14:22.219" v="6827" actId="478"/>
          <ac:picMkLst>
            <pc:docMk/>
            <pc:sldMk cId="130198696" sldId="3307"/>
            <ac:picMk id="19" creationId="{17544812-258D-1202-BC76-067ABF8BA5F7}"/>
          </ac:picMkLst>
        </pc:picChg>
        <pc:picChg chg="add del mod">
          <ac:chgData name="Aurelien Domont" userId="6da7715ce44349b3" providerId="LiveId" clId="{131BB8E8-1659-49D0-9117-5008174AAE79}" dt="2023-12-06T03:14:13.014" v="6767" actId="478"/>
          <ac:picMkLst>
            <pc:docMk/>
            <pc:sldMk cId="130198696" sldId="3307"/>
            <ac:picMk id="20" creationId="{2978C7F9-3BC9-D1B6-E0AC-68DDB00AAEFC}"/>
          </ac:picMkLst>
        </pc:picChg>
        <pc:picChg chg="add mod ord">
          <ac:chgData name="Aurelien Domont" userId="6da7715ce44349b3" providerId="LiveId" clId="{131BB8E8-1659-49D0-9117-5008174AAE79}" dt="2023-12-06T03:14:28.774" v="6883" actId="108"/>
          <ac:picMkLst>
            <pc:docMk/>
            <pc:sldMk cId="130198696" sldId="3307"/>
            <ac:picMk id="21" creationId="{0B918CDD-BA9A-6DC8-7E53-FC2E87C66194}"/>
          </ac:picMkLst>
        </pc:picChg>
        <pc:picChg chg="add mod ord">
          <ac:chgData name="Aurelien Domont" userId="6da7715ce44349b3" providerId="LiveId" clId="{131BB8E8-1659-49D0-9117-5008174AAE79}" dt="2023-12-06T03:14:29.308" v="6884" actId="108"/>
          <ac:picMkLst>
            <pc:docMk/>
            <pc:sldMk cId="130198696" sldId="3307"/>
            <ac:picMk id="22" creationId="{433B3F7E-70EF-D309-1098-AF144C17FE64}"/>
          </ac:picMkLst>
        </pc:picChg>
        <pc:picChg chg="mod ord">
          <ac:chgData name="Aurelien Domont" userId="6da7715ce44349b3" providerId="LiveId" clId="{131BB8E8-1659-49D0-9117-5008174AAE79}" dt="2023-12-06T03:14:24.297" v="6852"/>
          <ac:picMkLst>
            <pc:docMk/>
            <pc:sldMk cId="130198696" sldId="3307"/>
            <ac:picMk id="29" creationId="{DDC5EFC3-30CF-D190-0F31-8CF28EE90785}"/>
          </ac:picMkLst>
        </pc:picChg>
        <pc:picChg chg="mod ord">
          <ac:chgData name="Aurelien Domont" userId="6da7715ce44349b3" providerId="LiveId" clId="{131BB8E8-1659-49D0-9117-5008174AAE79}" dt="2023-12-06T03:14:24.297" v="6854"/>
          <ac:picMkLst>
            <pc:docMk/>
            <pc:sldMk cId="130198696" sldId="3307"/>
            <ac:picMk id="36" creationId="{97C3198F-7D51-2162-8158-E2A0C58DF4BB}"/>
          </ac:picMkLst>
        </pc:picChg>
        <pc:picChg chg="mod ord">
          <ac:chgData name="Aurelien Domont" userId="6da7715ce44349b3" providerId="LiveId" clId="{131BB8E8-1659-49D0-9117-5008174AAE79}" dt="2023-12-06T03:14:24.297" v="6862"/>
          <ac:picMkLst>
            <pc:docMk/>
            <pc:sldMk cId="130198696" sldId="3307"/>
            <ac:picMk id="41" creationId="{7C15731A-822F-F8BD-2689-22999A8F3131}"/>
          </ac:picMkLst>
        </pc:picChg>
        <pc:picChg chg="mod ord">
          <ac:chgData name="Aurelien Domont" userId="6da7715ce44349b3" providerId="LiveId" clId="{131BB8E8-1659-49D0-9117-5008174AAE79}" dt="2023-12-06T03:14:24.297" v="6864"/>
          <ac:picMkLst>
            <pc:docMk/>
            <pc:sldMk cId="130198696" sldId="3307"/>
            <ac:picMk id="42" creationId="{051673A3-C6AB-14C0-AEB1-1EAF7298EB45}"/>
          </ac:picMkLst>
        </pc:picChg>
      </pc:sldChg>
      <pc:sldChg chg="add del">
        <pc:chgData name="Aurelien Domont" userId="6da7715ce44349b3" providerId="LiveId" clId="{131BB8E8-1659-49D0-9117-5008174AAE79}" dt="2023-12-06T02:46:31.372" v="6191" actId="47"/>
        <pc:sldMkLst>
          <pc:docMk/>
          <pc:sldMk cId="3150484292" sldId="3308"/>
        </pc:sldMkLst>
      </pc:sldChg>
    </pc:docChg>
  </pc:docChgLst>
  <pc:docChgLst>
    <pc:chgData name="Aurelien Domont" userId="6da7715ce44349b3" providerId="LiveId" clId="{22309527-0B3F-4103-B55C-3A02DE10C806}"/>
    <pc:docChg chg="addSld delSld modSld modSection">
      <pc:chgData name="Aurelien Domont" userId="6da7715ce44349b3" providerId="LiveId" clId="{22309527-0B3F-4103-B55C-3A02DE10C806}" dt="2024-02-12T05:46:41.812" v="39" actId="20577"/>
      <pc:docMkLst>
        <pc:docMk/>
      </pc:docMkLst>
      <pc:sldChg chg="modSp mod">
        <pc:chgData name="Aurelien Domont" userId="6da7715ce44349b3" providerId="LiveId" clId="{22309527-0B3F-4103-B55C-3A02DE10C806}" dt="2024-02-06T01:55:22.793" v="37" actId="1035"/>
        <pc:sldMkLst>
          <pc:docMk/>
          <pc:sldMk cId="3956982643" sldId="526"/>
        </pc:sldMkLst>
        <pc:spChg chg="mod">
          <ac:chgData name="Aurelien Domont" userId="6da7715ce44349b3" providerId="LiveId" clId="{22309527-0B3F-4103-B55C-3A02DE10C806}" dt="2024-02-06T01:55:22.793" v="37" actId="1035"/>
          <ac:spMkLst>
            <pc:docMk/>
            <pc:sldMk cId="3956982643" sldId="526"/>
            <ac:spMk id="2" creationId="{F431BC18-A461-9459-FF13-870ACCC7D4F5}"/>
          </ac:spMkLst>
        </pc:spChg>
      </pc:sldChg>
      <pc:sldChg chg="modSp mod">
        <pc:chgData name="Aurelien Domont" userId="6da7715ce44349b3" providerId="LiveId" clId="{22309527-0B3F-4103-B55C-3A02DE10C806}" dt="2024-02-12T05:46:41.812" v="39" actId="20577"/>
        <pc:sldMkLst>
          <pc:docMk/>
          <pc:sldMk cId="3272444503" sldId="2162"/>
        </pc:sldMkLst>
        <pc:spChg chg="mod">
          <ac:chgData name="Aurelien Domont" userId="6da7715ce44349b3" providerId="LiveId" clId="{22309527-0B3F-4103-B55C-3A02DE10C806}" dt="2024-02-12T05:46:41.812" v="39" actId="20577"/>
          <ac:spMkLst>
            <pc:docMk/>
            <pc:sldMk cId="3272444503" sldId="2162"/>
            <ac:spMk id="6" creationId="{22D27BA3-CC85-4DD2-AEDB-C22AC367D60A}"/>
          </ac:spMkLst>
        </pc:spChg>
      </pc:sldChg>
      <pc:sldChg chg="modSp mod">
        <pc:chgData name="Aurelien Domont" userId="6da7715ce44349b3" providerId="LiveId" clId="{22309527-0B3F-4103-B55C-3A02DE10C806}" dt="2024-02-02T05:42:32.189" v="27" actId="20577"/>
        <pc:sldMkLst>
          <pc:docMk/>
          <pc:sldMk cId="1209091634" sldId="2338"/>
        </pc:sldMkLst>
        <pc:spChg chg="mod">
          <ac:chgData name="Aurelien Domont" userId="6da7715ce44349b3" providerId="LiveId" clId="{22309527-0B3F-4103-B55C-3A02DE10C806}" dt="2024-02-02T05:42:32.189" v="27" actId="20577"/>
          <ac:spMkLst>
            <pc:docMk/>
            <pc:sldMk cId="1209091634" sldId="2338"/>
            <ac:spMk id="17" creationId="{FE597C27-D46E-623C-682B-08389CD25348}"/>
          </ac:spMkLst>
        </pc:spChg>
      </pc:sldChg>
      <pc:sldChg chg="modSp mod">
        <pc:chgData name="Aurelien Domont" userId="6da7715ce44349b3" providerId="LiveId" clId="{22309527-0B3F-4103-B55C-3A02DE10C806}" dt="2023-12-14T03:50:44.331" v="18" actId="20577"/>
        <pc:sldMkLst>
          <pc:docMk/>
          <pc:sldMk cId="2246164536" sldId="3289"/>
        </pc:sldMkLst>
        <pc:spChg chg="mod">
          <ac:chgData name="Aurelien Domont" userId="6da7715ce44349b3" providerId="LiveId" clId="{22309527-0B3F-4103-B55C-3A02DE10C806}" dt="2023-12-14T03:50:44.331" v="18" actId="20577"/>
          <ac:spMkLst>
            <pc:docMk/>
            <pc:sldMk cId="2246164536" sldId="3289"/>
            <ac:spMk id="5" creationId="{DC054480-D828-7B59-3328-48D130C91ED1}"/>
          </ac:spMkLst>
        </pc:spChg>
      </pc:sldChg>
      <pc:sldChg chg="modSp mod">
        <pc:chgData name="Aurelien Domont" userId="6da7715ce44349b3" providerId="LiveId" clId="{22309527-0B3F-4103-B55C-3A02DE10C806}" dt="2024-02-02T04:58:56.319" v="23" actId="20577"/>
        <pc:sldMkLst>
          <pc:docMk/>
          <pc:sldMk cId="2392440094" sldId="3301"/>
        </pc:sldMkLst>
        <pc:spChg chg="mod">
          <ac:chgData name="Aurelien Domont" userId="6da7715ce44349b3" providerId="LiveId" clId="{22309527-0B3F-4103-B55C-3A02DE10C806}" dt="2024-02-02T04:58:56.319" v="23" actId="20577"/>
          <ac:spMkLst>
            <pc:docMk/>
            <pc:sldMk cId="2392440094" sldId="3301"/>
            <ac:spMk id="15" creationId="{F95D053A-FBA3-610B-9BD1-F145684E3208}"/>
          </ac:spMkLst>
        </pc:spChg>
      </pc:sldChg>
      <pc:sldChg chg="addSp modSp">
        <pc:chgData name="Aurelien Domont" userId="6da7715ce44349b3" providerId="LiveId" clId="{22309527-0B3F-4103-B55C-3A02DE10C806}" dt="2023-12-15T02:49:24.092" v="19"/>
        <pc:sldMkLst>
          <pc:docMk/>
          <pc:sldMk cId="1393908417" sldId="3302"/>
        </pc:sldMkLst>
        <pc:spChg chg="add mod">
          <ac:chgData name="Aurelien Domont" userId="6da7715ce44349b3" providerId="LiveId" clId="{22309527-0B3F-4103-B55C-3A02DE10C806}" dt="2023-12-15T02:49:24.092" v="19"/>
          <ac:spMkLst>
            <pc:docMk/>
            <pc:sldMk cId="1393908417" sldId="3302"/>
            <ac:spMk id="3" creationId="{A138372C-B22A-86F9-2488-6C52595756F9}"/>
          </ac:spMkLst>
        </pc:spChg>
      </pc:sldChg>
      <pc:sldChg chg="addSp modSp add del mod">
        <pc:chgData name="Aurelien Domont" userId="6da7715ce44349b3" providerId="LiveId" clId="{22309527-0B3F-4103-B55C-3A02DE10C806}" dt="2023-12-06T04:09:45.175" v="4" actId="47"/>
        <pc:sldMkLst>
          <pc:docMk/>
          <pc:sldMk cId="2283142339" sldId="3308"/>
        </pc:sldMkLst>
        <pc:spChg chg="add mod">
          <ac:chgData name="Aurelien Domont" userId="6da7715ce44349b3" providerId="LiveId" clId="{22309527-0B3F-4103-B55C-3A02DE10C806}" dt="2023-12-06T04:04:17.704" v="2" actId="13822"/>
          <ac:spMkLst>
            <pc:docMk/>
            <pc:sldMk cId="2283142339" sldId="3308"/>
            <ac:spMk id="2" creationId="{9F6F2D57-E129-6814-40C2-524EC7589A86}"/>
          </ac:spMkLst>
        </pc:spChg>
        <pc:spChg chg="mod">
          <ac:chgData name="Aurelien Domont" userId="6da7715ce44349b3" providerId="LiveId" clId="{22309527-0B3F-4103-B55C-3A02DE10C806}" dt="2023-12-06T04:04:42.174" v="3" actId="12"/>
          <ac:spMkLst>
            <pc:docMk/>
            <pc:sldMk cId="2283142339" sldId="3308"/>
            <ac:spMk id="6" creationId="{22D27BA3-CC85-4DD2-AEDB-C22AC367D60A}"/>
          </ac:spMkLst>
        </pc:spChg>
      </pc:sldChg>
    </pc:docChg>
  </pc:docChgLst>
  <pc:docChgLst>
    <pc:chgData name="Aurelien Domont" userId="6da7715ce44349b3" providerId="LiveId" clId="{9149B00E-810E-48AB-9153-54C78195225C}"/>
    <pc:docChg chg="undo custSel addSld delSld modSld sldOrd replTag">
      <pc:chgData name="Aurelien Domont" userId="6da7715ce44349b3" providerId="LiveId" clId="{9149B00E-810E-48AB-9153-54C78195225C}" dt="2023-11-24T06:13:39.326" v="7283" actId="20577"/>
      <pc:docMkLst>
        <pc:docMk/>
      </pc:docMkLst>
      <pc:sldChg chg="addSp delSp modSp mod">
        <pc:chgData name="Aurelien Domont" userId="6da7715ce44349b3" providerId="LiveId" clId="{9149B00E-810E-48AB-9153-54C78195225C}" dt="2023-11-22T02:03:24.035" v="6234"/>
        <pc:sldMkLst>
          <pc:docMk/>
          <pc:sldMk cId="3956982643" sldId="526"/>
        </pc:sldMkLst>
        <pc:spChg chg="mod ord">
          <ac:chgData name="Aurelien Domont" userId="6da7715ce44349b3" providerId="LiveId" clId="{9149B00E-810E-48AB-9153-54C78195225C}" dt="2023-11-21T23:55:25.126" v="154"/>
          <ac:spMkLst>
            <pc:docMk/>
            <pc:sldMk cId="3956982643" sldId="526"/>
            <ac:spMk id="2" creationId="{F431BC18-A461-9459-FF13-870ACCC7D4F5}"/>
          </ac:spMkLst>
        </pc:spChg>
        <pc:spChg chg="mod ord">
          <ac:chgData name="Aurelien Domont" userId="6da7715ce44349b3" providerId="LiveId" clId="{9149B00E-810E-48AB-9153-54C78195225C}" dt="2023-11-21T23:55:25.126" v="152"/>
          <ac:spMkLst>
            <pc:docMk/>
            <pc:sldMk cId="3956982643" sldId="526"/>
            <ac:spMk id="9" creationId="{A1ADDC43-E206-24D0-5D8D-6D8244D3F224}"/>
          </ac:spMkLst>
        </pc:spChg>
        <pc:graphicFrameChg chg="mod">
          <ac:chgData name="Aurelien Domont" userId="6da7715ce44349b3" providerId="LiveId" clId="{9149B00E-810E-48AB-9153-54C78195225C}" dt="2023-11-21T23:55:25.126" v="160"/>
          <ac:graphicFrameMkLst>
            <pc:docMk/>
            <pc:sldMk cId="3956982643" sldId="526"/>
            <ac:graphicFrameMk id="6" creationId="{EE3B18FE-7C76-9F52-5CB9-B48736D39224}"/>
          </ac:graphicFrameMkLst>
        </pc:graphicFrameChg>
        <pc:picChg chg="mod ord">
          <ac:chgData name="Aurelien Domont" userId="6da7715ce44349b3" providerId="LiveId" clId="{9149B00E-810E-48AB-9153-54C78195225C}" dt="2023-11-21T23:55:25.126" v="156"/>
          <ac:picMkLst>
            <pc:docMk/>
            <pc:sldMk cId="3956982643" sldId="526"/>
            <ac:picMk id="3" creationId="{00063173-AAB2-BC28-DBCA-ED0E0758D2E3}"/>
          </ac:picMkLst>
        </pc:picChg>
        <pc:picChg chg="add del mod">
          <ac:chgData name="Aurelien Domont" userId="6da7715ce44349b3" providerId="LiveId" clId="{9149B00E-810E-48AB-9153-54C78195225C}" dt="2023-11-22T02:03:24.035" v="6234"/>
          <ac:picMkLst>
            <pc:docMk/>
            <pc:sldMk cId="3956982643" sldId="526"/>
            <ac:picMk id="4" creationId="{30C8ED69-482B-900C-6D1B-90F1E4DA081D}"/>
          </ac:picMkLst>
        </pc:picChg>
        <pc:picChg chg="add del mod replST">
          <ac:chgData name="Aurelien Domont" userId="6da7715ce44349b3" providerId="LiveId" clId="{9149B00E-810E-48AB-9153-54C78195225C}" dt="2023-11-21T23:52:25.777" v="61"/>
          <ac:picMkLst>
            <pc:docMk/>
            <pc:sldMk cId="3956982643" sldId="526"/>
            <ac:picMk id="4" creationId="{AE0EBFBE-5D47-4055-39C2-E6C829D9B147}"/>
          </ac:picMkLst>
        </pc:picChg>
        <pc:picChg chg="add del mod replST">
          <ac:chgData name="Aurelien Domont" userId="6da7715ce44349b3" providerId="LiveId" clId="{9149B00E-810E-48AB-9153-54C78195225C}" dt="2023-11-21T23:55:24.545" v="96"/>
          <ac:picMkLst>
            <pc:docMk/>
            <pc:sldMk cId="3956982643" sldId="526"/>
            <ac:picMk id="5" creationId="{88DE4A60-EB88-3AA4-E9A3-056F1F983E71}"/>
          </ac:picMkLst>
        </pc:picChg>
        <pc:picChg chg="del">
          <ac:chgData name="Aurelien Domont" userId="6da7715ce44349b3" providerId="LiveId" clId="{9149B00E-810E-48AB-9153-54C78195225C}" dt="2023-11-21T23:52:23.485" v="28"/>
          <ac:picMkLst>
            <pc:docMk/>
            <pc:sldMk cId="3956982643" sldId="526"/>
            <ac:picMk id="8" creationId="{67BB509E-F71D-BA53-008D-FBA5D2648367}"/>
          </ac:picMkLst>
        </pc:picChg>
        <pc:picChg chg="add del mod">
          <ac:chgData name="Aurelien Domont" userId="6da7715ce44349b3" providerId="LiveId" clId="{9149B00E-810E-48AB-9153-54C78195225C}" dt="2023-11-21T23:54:15.755" v="94" actId="478"/>
          <ac:picMkLst>
            <pc:docMk/>
            <pc:sldMk cId="3956982643" sldId="526"/>
            <ac:picMk id="10" creationId="{689F7A5D-633A-679C-41FC-506941D371EA}"/>
          </ac:picMkLst>
        </pc:picChg>
        <pc:picChg chg="add del mod replST">
          <ac:chgData name="Aurelien Domont" userId="6da7715ce44349b3" providerId="LiveId" clId="{9149B00E-810E-48AB-9153-54C78195225C}" dt="2023-11-21T23:55:25.111" v="129"/>
          <ac:picMkLst>
            <pc:docMk/>
            <pc:sldMk cId="3956982643" sldId="526"/>
            <ac:picMk id="11" creationId="{83BBEA85-F3A8-0417-284E-374BDC61493E}"/>
          </ac:picMkLst>
        </pc:picChg>
        <pc:picChg chg="add mod replST">
          <ac:chgData name="Aurelien Domont" userId="6da7715ce44349b3" providerId="LiveId" clId="{9149B00E-810E-48AB-9153-54C78195225C}" dt="2023-11-21T23:55:25.126" v="150"/>
          <ac:picMkLst>
            <pc:docMk/>
            <pc:sldMk cId="3956982643" sldId="526"/>
            <ac:picMk id="12" creationId="{FDE59D02-D0F8-014D-09C8-90507D3BB649}"/>
          </ac:picMkLst>
        </pc:picChg>
      </pc:sldChg>
      <pc:sldChg chg="modSp add del mod modClrScheme chgLayout">
        <pc:chgData name="Aurelien Domont" userId="6da7715ce44349b3" providerId="LiveId" clId="{9149B00E-810E-48AB-9153-54C78195225C}" dt="2023-11-22T22:16:33.778" v="6364" actId="2696"/>
        <pc:sldMkLst>
          <pc:docMk/>
          <pc:sldMk cId="2244843449" sldId="1784"/>
        </pc:sldMkLst>
        <pc:spChg chg="mod ord">
          <ac:chgData name="Aurelien Domont" userId="6da7715ce44349b3" providerId="LiveId" clId="{9149B00E-810E-48AB-9153-54C78195225C}" dt="2023-11-21T23:57:47.012" v="187"/>
          <ac:spMkLst>
            <pc:docMk/>
            <pc:sldMk cId="2244843449" sldId="1784"/>
            <ac:spMk id="2" creationId="{406113FD-AA7D-4249-90D7-70AF85BE48E1}"/>
          </ac:spMkLst>
        </pc:spChg>
        <pc:spChg chg="mod">
          <ac:chgData name="Aurelien Domont" userId="6da7715ce44349b3" providerId="LiveId" clId="{9149B00E-810E-48AB-9153-54C78195225C}" dt="2023-11-21T23:58:09.130" v="193" actId="207"/>
          <ac:spMkLst>
            <pc:docMk/>
            <pc:sldMk cId="2244843449" sldId="1784"/>
            <ac:spMk id="8" creationId="{DCA7AA34-93A1-4C61-85DE-E4155C379757}"/>
          </ac:spMkLst>
        </pc:spChg>
        <pc:spChg chg="mod">
          <ac:chgData name="Aurelien Domont" userId="6da7715ce44349b3" providerId="LiveId" clId="{9149B00E-810E-48AB-9153-54C78195225C}" dt="2023-11-21T23:58:09.130" v="193" actId="207"/>
          <ac:spMkLst>
            <pc:docMk/>
            <pc:sldMk cId="2244843449" sldId="1784"/>
            <ac:spMk id="10" creationId="{19AF937B-1F2F-4114-8C42-25884CAB1279}"/>
          </ac:spMkLst>
        </pc:spChg>
        <pc:spChg chg="mod ord">
          <ac:chgData name="Aurelien Domont" userId="6da7715ce44349b3" providerId="LiveId" clId="{9149B00E-810E-48AB-9153-54C78195225C}" dt="2023-11-21T23:57:47.012" v="187"/>
          <ac:spMkLst>
            <pc:docMk/>
            <pc:sldMk cId="2244843449" sldId="1784"/>
            <ac:spMk id="11" creationId="{0E588274-2A9C-4BAF-BABD-F430726CFFF7}"/>
          </ac:spMkLst>
        </pc:spChg>
        <pc:spChg chg="mod">
          <ac:chgData name="Aurelien Domont" userId="6da7715ce44349b3" providerId="LiveId" clId="{9149B00E-810E-48AB-9153-54C78195225C}" dt="2023-11-21T23:58:09.130" v="193" actId="207"/>
          <ac:spMkLst>
            <pc:docMk/>
            <pc:sldMk cId="2244843449" sldId="1784"/>
            <ac:spMk id="12" creationId="{9B46B0AA-3BE6-4239-A098-795B0F4D2453}"/>
          </ac:spMkLst>
        </pc:spChg>
      </pc:sldChg>
      <pc:sldChg chg="modSp add del mod modClrScheme chgLayout">
        <pc:chgData name="Aurelien Domont" userId="6da7715ce44349b3" providerId="LiveId" clId="{9149B00E-810E-48AB-9153-54C78195225C}" dt="2023-11-22T22:16:33.778" v="6364" actId="2696"/>
        <pc:sldMkLst>
          <pc:docMk/>
          <pc:sldMk cId="2407825212" sldId="1785"/>
        </pc:sldMkLst>
        <pc:spChg chg="mod ord">
          <ac:chgData name="Aurelien Domont" userId="6da7715ce44349b3" providerId="LiveId" clId="{9149B00E-810E-48AB-9153-54C78195225C}" dt="2023-11-21T23:57:47.012" v="187"/>
          <ac:spMkLst>
            <pc:docMk/>
            <pc:sldMk cId="2407825212" sldId="1785"/>
            <ac:spMk id="2" creationId="{406113FD-AA7D-4249-90D7-70AF85BE48E1}"/>
          </ac:spMkLst>
        </pc:spChg>
        <pc:spChg chg="mod ord">
          <ac:chgData name="Aurelien Domont" userId="6da7715ce44349b3" providerId="LiveId" clId="{9149B00E-810E-48AB-9153-54C78195225C}" dt="2023-11-21T23:57:47.012" v="187"/>
          <ac:spMkLst>
            <pc:docMk/>
            <pc:sldMk cId="2407825212" sldId="1785"/>
            <ac:spMk id="11" creationId="{699300CD-094B-4025-A027-39A69DEA56D4}"/>
          </ac:spMkLst>
        </pc:spChg>
        <pc:spChg chg="mod">
          <ac:chgData name="Aurelien Domont" userId="6da7715ce44349b3" providerId="LiveId" clId="{9149B00E-810E-48AB-9153-54C78195225C}" dt="2023-11-21T23:58:20.573" v="194" actId="207"/>
          <ac:spMkLst>
            <pc:docMk/>
            <pc:sldMk cId="2407825212" sldId="1785"/>
            <ac:spMk id="12" creationId="{2BB14F14-A408-4836-B156-BF7F9327C18B}"/>
          </ac:spMkLst>
        </pc:spChg>
        <pc:spChg chg="mod">
          <ac:chgData name="Aurelien Domont" userId="6da7715ce44349b3" providerId="LiveId" clId="{9149B00E-810E-48AB-9153-54C78195225C}" dt="2023-11-21T23:58:20.573" v="194" actId="207"/>
          <ac:spMkLst>
            <pc:docMk/>
            <pc:sldMk cId="2407825212" sldId="1785"/>
            <ac:spMk id="14" creationId="{78D28903-A9B8-4591-8A74-54D586870861}"/>
          </ac:spMkLst>
        </pc:spChg>
        <pc:spChg chg="mod">
          <ac:chgData name="Aurelien Domont" userId="6da7715ce44349b3" providerId="LiveId" clId="{9149B00E-810E-48AB-9153-54C78195225C}" dt="2023-11-21T23:58:20.573" v="194" actId="207"/>
          <ac:spMkLst>
            <pc:docMk/>
            <pc:sldMk cId="2407825212" sldId="1785"/>
            <ac:spMk id="16" creationId="{F04F4F05-509C-4402-A0ED-75E572090F48}"/>
          </ac:spMkLst>
        </pc:spChg>
      </pc:sldChg>
      <pc:sldChg chg="modSp add del mod modClrScheme chgLayout">
        <pc:chgData name="Aurelien Domont" userId="6da7715ce44349b3" providerId="LiveId" clId="{9149B00E-810E-48AB-9153-54C78195225C}" dt="2023-11-22T22:16:33.778" v="6364" actId="2696"/>
        <pc:sldMkLst>
          <pc:docMk/>
          <pc:sldMk cId="3394244967" sldId="1786"/>
        </pc:sldMkLst>
        <pc:spChg chg="mod ord">
          <ac:chgData name="Aurelien Domont" userId="6da7715ce44349b3" providerId="LiveId" clId="{9149B00E-810E-48AB-9153-54C78195225C}" dt="2023-11-21T23:57:47.012" v="187"/>
          <ac:spMkLst>
            <pc:docMk/>
            <pc:sldMk cId="3394244967" sldId="1786"/>
            <ac:spMk id="2" creationId="{406113FD-AA7D-4249-90D7-70AF85BE48E1}"/>
          </ac:spMkLst>
        </pc:spChg>
        <pc:spChg chg="mod ord">
          <ac:chgData name="Aurelien Domont" userId="6da7715ce44349b3" providerId="LiveId" clId="{9149B00E-810E-48AB-9153-54C78195225C}" dt="2023-11-21T23:57:47.012" v="187"/>
          <ac:spMkLst>
            <pc:docMk/>
            <pc:sldMk cId="3394244967" sldId="1786"/>
            <ac:spMk id="11" creationId="{012156E1-C75D-495B-9725-4797957AD59A}"/>
          </ac:spMkLst>
        </pc:spChg>
        <pc:spChg chg="mod">
          <ac:chgData name="Aurelien Domont" userId="6da7715ce44349b3" providerId="LiveId" clId="{9149B00E-810E-48AB-9153-54C78195225C}" dt="2023-11-21T23:58:25.676" v="195" actId="207"/>
          <ac:spMkLst>
            <pc:docMk/>
            <pc:sldMk cId="3394244967" sldId="1786"/>
            <ac:spMk id="12" creationId="{E50B2123-DC24-41C7-94D8-58489254F9E8}"/>
          </ac:spMkLst>
        </pc:spChg>
        <pc:spChg chg="mod">
          <ac:chgData name="Aurelien Domont" userId="6da7715ce44349b3" providerId="LiveId" clId="{9149B00E-810E-48AB-9153-54C78195225C}" dt="2023-11-21T23:58:25.676" v="195" actId="207"/>
          <ac:spMkLst>
            <pc:docMk/>
            <pc:sldMk cId="3394244967" sldId="1786"/>
            <ac:spMk id="14" creationId="{1B70E6AD-B1C0-48E9-93A1-3D8A2ACD20BF}"/>
          </ac:spMkLst>
        </pc:spChg>
        <pc:spChg chg="mod">
          <ac:chgData name="Aurelien Domont" userId="6da7715ce44349b3" providerId="LiveId" clId="{9149B00E-810E-48AB-9153-54C78195225C}" dt="2023-11-21T23:58:25.676" v="195" actId="207"/>
          <ac:spMkLst>
            <pc:docMk/>
            <pc:sldMk cId="3394244967" sldId="1786"/>
            <ac:spMk id="16" creationId="{E886945C-C56F-4664-B366-37D024D4CEA9}"/>
          </ac:spMkLst>
        </pc:spChg>
      </pc:sldChg>
      <pc:sldChg chg="addSp modSp mod ord">
        <pc:chgData name="Aurelien Domont" userId="6da7715ce44349b3" providerId="LiveId" clId="{9149B00E-810E-48AB-9153-54C78195225C}" dt="2023-11-22T00:23:50.916" v="6023" actId="1076"/>
        <pc:sldMkLst>
          <pc:docMk/>
          <pc:sldMk cId="3272444503" sldId="2162"/>
        </pc:sldMkLst>
        <pc:spChg chg="add mod">
          <ac:chgData name="Aurelien Domont" userId="6da7715ce44349b3" providerId="LiveId" clId="{9149B00E-810E-48AB-9153-54C78195225C}" dt="2023-11-22T00:23:50.916" v="6023" actId="1076"/>
          <ac:spMkLst>
            <pc:docMk/>
            <pc:sldMk cId="3272444503" sldId="2162"/>
            <ac:spMk id="2" creationId="{F10692F0-279B-30E4-10BC-9C653A3FD726}"/>
          </ac:spMkLst>
        </pc:spChg>
        <pc:spChg chg="mod">
          <ac:chgData name="Aurelien Domont" userId="6da7715ce44349b3" providerId="LiveId" clId="{9149B00E-810E-48AB-9153-54C78195225C}" dt="2023-11-22T00:23:33.118" v="6020" actId="20577"/>
          <ac:spMkLst>
            <pc:docMk/>
            <pc:sldMk cId="3272444503" sldId="2162"/>
            <ac:spMk id="6" creationId="{22D27BA3-CC85-4DD2-AEDB-C22AC367D60A}"/>
          </ac:spMkLst>
        </pc:spChg>
      </pc:sldChg>
      <pc:sldChg chg="modSp add del mod ord modClrScheme chgLayout">
        <pc:chgData name="Aurelien Domont" userId="6da7715ce44349b3" providerId="LiveId" clId="{9149B00E-810E-48AB-9153-54C78195225C}" dt="2023-11-22T00:10:49.077" v="4822" actId="47"/>
        <pc:sldMkLst>
          <pc:docMk/>
          <pc:sldMk cId="3015462381" sldId="2195"/>
        </pc:sldMkLst>
        <pc:spChg chg="mod ord">
          <ac:chgData name="Aurelien Domont" userId="6da7715ce44349b3" providerId="LiveId" clId="{9149B00E-810E-48AB-9153-54C78195225C}" dt="2023-11-21T23:57:47.012" v="187"/>
          <ac:spMkLst>
            <pc:docMk/>
            <pc:sldMk cId="3015462381" sldId="2195"/>
            <ac:spMk id="5" creationId="{3AA7B8AD-E6F9-4E25-A3A4-71D021032612}"/>
          </ac:spMkLst>
        </pc:spChg>
        <pc:spChg chg="mod ord">
          <ac:chgData name="Aurelien Domont" userId="6da7715ce44349b3" providerId="LiveId" clId="{9149B00E-810E-48AB-9153-54C78195225C}" dt="2023-11-21T23:57:47.012" v="187"/>
          <ac:spMkLst>
            <pc:docMk/>
            <pc:sldMk cId="3015462381" sldId="2195"/>
            <ac:spMk id="16" creationId="{6C2BB713-9637-4B9B-938F-E9768876782A}"/>
          </ac:spMkLst>
        </pc:spChg>
      </pc:sldChg>
      <pc:sldChg chg="delSp modSp add del mod modClrScheme chgLayout">
        <pc:chgData name="Aurelien Domont" userId="6da7715ce44349b3" providerId="LiveId" clId="{9149B00E-810E-48AB-9153-54C78195225C}" dt="2023-11-22T22:16:33.778" v="6364" actId="2696"/>
        <pc:sldMkLst>
          <pc:docMk/>
          <pc:sldMk cId="1636293053" sldId="2206"/>
        </pc:sldMkLst>
        <pc:spChg chg="mod ord">
          <ac:chgData name="Aurelien Domont" userId="6da7715ce44349b3" providerId="LiveId" clId="{9149B00E-810E-48AB-9153-54C78195225C}" dt="2023-11-21T23:57:47.012" v="187"/>
          <ac:spMkLst>
            <pc:docMk/>
            <pc:sldMk cId="1636293053" sldId="2206"/>
            <ac:spMk id="3" creationId="{CE2529A3-BA97-486F-9E02-8DFAAA7D8D38}"/>
          </ac:spMkLst>
        </pc:spChg>
        <pc:spChg chg="mod ord">
          <ac:chgData name="Aurelien Domont" userId="6da7715ce44349b3" providerId="LiveId" clId="{9149B00E-810E-48AB-9153-54C78195225C}" dt="2023-11-21T23:57:47.012" v="187"/>
          <ac:spMkLst>
            <pc:docMk/>
            <pc:sldMk cId="1636293053" sldId="2206"/>
            <ac:spMk id="16" creationId="{6C2BB713-9637-4B9B-938F-E9768876782A}"/>
          </ac:spMkLst>
        </pc:spChg>
        <pc:graphicFrameChg chg="mod">
          <ac:chgData name="Aurelien Domont" userId="6da7715ce44349b3" providerId="LiveId" clId="{9149B00E-810E-48AB-9153-54C78195225C}" dt="2023-11-21T23:57:47.639" v="191"/>
          <ac:graphicFrameMkLst>
            <pc:docMk/>
            <pc:sldMk cId="1636293053" sldId="2206"/>
            <ac:graphicFrameMk id="13" creationId="{A073AF91-5325-42B9-A31A-3D179304022A}"/>
          </ac:graphicFrameMkLst>
        </pc:graphicFrameChg>
        <pc:picChg chg="del">
          <ac:chgData name="Aurelien Domont" userId="6da7715ce44349b3" providerId="LiveId" clId="{9149B00E-810E-48AB-9153-54C78195225C}" dt="2023-11-22T02:03:30.439" v="6235" actId="478"/>
          <ac:picMkLst>
            <pc:docMk/>
            <pc:sldMk cId="1636293053" sldId="2206"/>
            <ac:picMk id="36" creationId="{2FDE4165-8344-4F8B-92E3-49D1724C9E18}"/>
          </ac:picMkLst>
        </pc:picChg>
      </pc:sldChg>
      <pc:sldChg chg="delSp modSp add del mod modClrScheme chgLayout">
        <pc:chgData name="Aurelien Domont" userId="6da7715ce44349b3" providerId="LiveId" clId="{9149B00E-810E-48AB-9153-54C78195225C}" dt="2023-11-22T22:16:33.778" v="6364" actId="2696"/>
        <pc:sldMkLst>
          <pc:docMk/>
          <pc:sldMk cId="1868381863" sldId="2207"/>
        </pc:sldMkLst>
        <pc:spChg chg="mod ord">
          <ac:chgData name="Aurelien Domont" userId="6da7715ce44349b3" providerId="LiveId" clId="{9149B00E-810E-48AB-9153-54C78195225C}" dt="2023-11-21T23:57:47.012" v="187"/>
          <ac:spMkLst>
            <pc:docMk/>
            <pc:sldMk cId="1868381863" sldId="2207"/>
            <ac:spMk id="3" creationId="{CE2529A3-BA97-486F-9E02-8DFAAA7D8D38}"/>
          </ac:spMkLst>
        </pc:spChg>
        <pc:spChg chg="mod ord">
          <ac:chgData name="Aurelien Domont" userId="6da7715ce44349b3" providerId="LiveId" clId="{9149B00E-810E-48AB-9153-54C78195225C}" dt="2023-11-21T23:57:47.012" v="187"/>
          <ac:spMkLst>
            <pc:docMk/>
            <pc:sldMk cId="1868381863" sldId="2207"/>
            <ac:spMk id="16" creationId="{6C2BB713-9637-4B9B-938F-E9768876782A}"/>
          </ac:spMkLst>
        </pc:spChg>
        <pc:picChg chg="del">
          <ac:chgData name="Aurelien Domont" userId="6da7715ce44349b3" providerId="LiveId" clId="{9149B00E-810E-48AB-9153-54C78195225C}" dt="2023-11-22T02:03:33.252" v="6236" actId="478"/>
          <ac:picMkLst>
            <pc:docMk/>
            <pc:sldMk cId="1868381863" sldId="2207"/>
            <ac:picMk id="36" creationId="{2FDE4165-8344-4F8B-92E3-49D1724C9E18}"/>
          </ac:picMkLst>
        </pc:picChg>
      </pc:sldChg>
      <pc:sldChg chg="del">
        <pc:chgData name="Aurelien Domont" userId="6da7715ce44349b3" providerId="LiveId" clId="{9149B00E-810E-48AB-9153-54C78195225C}" dt="2023-11-22T00:20:46.796" v="5445" actId="47"/>
        <pc:sldMkLst>
          <pc:docMk/>
          <pc:sldMk cId="3871908814" sldId="2559"/>
        </pc:sldMkLst>
      </pc:sldChg>
      <pc:sldChg chg="addSp delSp modSp mod ord">
        <pc:chgData name="Aurelien Domont" userId="6da7715ce44349b3" providerId="LiveId" clId="{9149B00E-810E-48AB-9153-54C78195225C}" dt="2023-11-22T00:22:54.262" v="6014" actId="20577"/>
        <pc:sldMkLst>
          <pc:docMk/>
          <pc:sldMk cId="862292938" sldId="2560"/>
        </pc:sldMkLst>
        <pc:spChg chg="mod">
          <ac:chgData name="Aurelien Domont" userId="6da7715ce44349b3" providerId="LiveId" clId="{9149B00E-810E-48AB-9153-54C78195225C}" dt="2023-11-22T00:22:14.576" v="5977" actId="948"/>
          <ac:spMkLst>
            <pc:docMk/>
            <pc:sldMk cId="862292938" sldId="2560"/>
            <ac:spMk id="2" creationId="{F7C4AEFD-F24A-61C6-413F-137EBECACF93}"/>
          </ac:spMkLst>
        </pc:spChg>
        <pc:spChg chg="add del mod modVis">
          <ac:chgData name="Aurelien Domont" userId="6da7715ce44349b3" providerId="LiveId" clId="{9149B00E-810E-48AB-9153-54C78195225C}" dt="2023-11-22T00:21:05.597" v="5473"/>
          <ac:spMkLst>
            <pc:docMk/>
            <pc:sldMk cId="862292938" sldId="2560"/>
            <ac:spMk id="3" creationId="{43C3C348-48EB-F373-ADF3-D240CA67DC8E}"/>
          </ac:spMkLst>
        </pc:spChg>
        <pc:spChg chg="add del mod modVis">
          <ac:chgData name="Aurelien Domont" userId="6da7715ce44349b3" providerId="LiveId" clId="{9149B00E-810E-48AB-9153-54C78195225C}" dt="2023-11-22T00:21:25.873" v="5510"/>
          <ac:spMkLst>
            <pc:docMk/>
            <pc:sldMk cId="862292938" sldId="2560"/>
            <ac:spMk id="4" creationId="{52EBE003-2C18-EFFD-7900-1CA4DE918E13}"/>
          </ac:spMkLst>
        </pc:spChg>
        <pc:spChg chg="add del mod modVis">
          <ac:chgData name="Aurelien Domont" userId="6da7715ce44349b3" providerId="LiveId" clId="{9149B00E-810E-48AB-9153-54C78195225C}" dt="2023-11-22T00:21:38.081" v="5549"/>
          <ac:spMkLst>
            <pc:docMk/>
            <pc:sldMk cId="862292938" sldId="2560"/>
            <ac:spMk id="5" creationId="{A7111D1F-8F9C-3260-A7D1-0EE3FF302A06}"/>
          </ac:spMkLst>
        </pc:spChg>
        <pc:spChg chg="add del mod modVis">
          <ac:chgData name="Aurelien Domont" userId="6da7715ce44349b3" providerId="LiveId" clId="{9149B00E-810E-48AB-9153-54C78195225C}" dt="2023-11-22T00:21:39.055" v="5586"/>
          <ac:spMkLst>
            <pc:docMk/>
            <pc:sldMk cId="862292938" sldId="2560"/>
            <ac:spMk id="7" creationId="{B035FEE0-F47F-C1A8-2082-840EB812DB41}"/>
          </ac:spMkLst>
        </pc:spChg>
        <pc:spChg chg="add del mod modVis">
          <ac:chgData name="Aurelien Domont" userId="6da7715ce44349b3" providerId="LiveId" clId="{9149B00E-810E-48AB-9153-54C78195225C}" dt="2023-11-22T00:21:41.081" v="5629"/>
          <ac:spMkLst>
            <pc:docMk/>
            <pc:sldMk cId="862292938" sldId="2560"/>
            <ac:spMk id="8" creationId="{76457A1F-8FE9-62D7-3D6C-64174EE61FCB}"/>
          </ac:spMkLst>
        </pc:spChg>
        <pc:spChg chg="add del mod modVis">
          <ac:chgData name="Aurelien Domont" userId="6da7715ce44349b3" providerId="LiveId" clId="{9149B00E-810E-48AB-9153-54C78195225C}" dt="2023-11-22T00:21:42.086" v="5665"/>
          <ac:spMkLst>
            <pc:docMk/>
            <pc:sldMk cId="862292938" sldId="2560"/>
            <ac:spMk id="9" creationId="{48FE493F-1F5A-FA9D-DB00-086858410CC1}"/>
          </ac:spMkLst>
        </pc:spChg>
        <pc:spChg chg="add del mod modVis">
          <ac:chgData name="Aurelien Domont" userId="6da7715ce44349b3" providerId="LiveId" clId="{9149B00E-810E-48AB-9153-54C78195225C}" dt="2023-11-22T00:21:44.941" v="5708"/>
          <ac:spMkLst>
            <pc:docMk/>
            <pc:sldMk cId="862292938" sldId="2560"/>
            <ac:spMk id="10" creationId="{A7D4534D-FC38-D8FF-1F85-E1F8C2F4E595}"/>
          </ac:spMkLst>
        </pc:spChg>
        <pc:spChg chg="add del mod modVis">
          <ac:chgData name="Aurelien Domont" userId="6da7715ce44349b3" providerId="LiveId" clId="{9149B00E-810E-48AB-9153-54C78195225C}" dt="2023-11-22T00:21:55.680" v="5756"/>
          <ac:spMkLst>
            <pc:docMk/>
            <pc:sldMk cId="862292938" sldId="2560"/>
            <ac:spMk id="11" creationId="{0BCF6993-B3EC-CFB0-20CF-758D9872D4E6}"/>
          </ac:spMkLst>
        </pc:spChg>
        <pc:spChg chg="add del mod modVis">
          <ac:chgData name="Aurelien Domont" userId="6da7715ce44349b3" providerId="LiveId" clId="{9149B00E-810E-48AB-9153-54C78195225C}" dt="2023-11-22T00:21:57.958" v="5799"/>
          <ac:spMkLst>
            <pc:docMk/>
            <pc:sldMk cId="862292938" sldId="2560"/>
            <ac:spMk id="12" creationId="{30AD0B21-1EEB-A973-000B-082DE96CE765}"/>
          </ac:spMkLst>
        </pc:spChg>
        <pc:spChg chg="add del mod modVis">
          <ac:chgData name="Aurelien Domont" userId="6da7715ce44349b3" providerId="LiveId" clId="{9149B00E-810E-48AB-9153-54C78195225C}" dt="2023-11-22T00:22:05.732" v="5849"/>
          <ac:spMkLst>
            <pc:docMk/>
            <pc:sldMk cId="862292938" sldId="2560"/>
            <ac:spMk id="18" creationId="{17211385-0AE2-7FA8-1178-08910D372EB1}"/>
          </ac:spMkLst>
        </pc:spChg>
        <pc:spChg chg="add del mod modVis">
          <ac:chgData name="Aurelien Domont" userId="6da7715ce44349b3" providerId="LiveId" clId="{9149B00E-810E-48AB-9153-54C78195225C}" dt="2023-11-22T00:22:07.035" v="5889"/>
          <ac:spMkLst>
            <pc:docMk/>
            <pc:sldMk cId="862292938" sldId="2560"/>
            <ac:spMk id="24" creationId="{4FB5073F-2C33-139D-9971-52339180A393}"/>
          </ac:spMkLst>
        </pc:spChg>
        <pc:spChg chg="add del mod modVis">
          <ac:chgData name="Aurelien Domont" userId="6da7715ce44349b3" providerId="LiveId" clId="{9149B00E-810E-48AB-9153-54C78195225C}" dt="2023-11-22T00:22:09.345" v="5934"/>
          <ac:spMkLst>
            <pc:docMk/>
            <pc:sldMk cId="862292938" sldId="2560"/>
            <ac:spMk id="25" creationId="{E2B340BE-3AF0-0391-B856-F7ABEF672918}"/>
          </ac:spMkLst>
        </pc:spChg>
        <pc:spChg chg="add del mod modVis">
          <ac:chgData name="Aurelien Domont" userId="6da7715ce44349b3" providerId="LiveId" clId="{9149B00E-810E-48AB-9153-54C78195225C}" dt="2023-11-22T00:22:13.822" v="5973"/>
          <ac:spMkLst>
            <pc:docMk/>
            <pc:sldMk cId="862292938" sldId="2560"/>
            <ac:spMk id="26" creationId="{BEBC61C0-DBED-2ECE-B9F5-161F348E3836}"/>
          </ac:spMkLst>
        </pc:spChg>
        <pc:spChg chg="add del mod modVis">
          <ac:chgData name="Aurelien Domont" userId="6da7715ce44349b3" providerId="LiveId" clId="{9149B00E-810E-48AB-9153-54C78195225C}" dt="2023-11-22T00:22:14.623" v="6009"/>
          <ac:spMkLst>
            <pc:docMk/>
            <pc:sldMk cId="862292938" sldId="2560"/>
            <ac:spMk id="27" creationId="{2A8E7AC6-D025-0D40-2404-02FF434AAA50}"/>
          </ac:spMkLst>
        </pc:spChg>
        <pc:spChg chg="mod">
          <ac:chgData name="Aurelien Domont" userId="6da7715ce44349b3" providerId="LiveId" clId="{9149B00E-810E-48AB-9153-54C78195225C}" dt="2023-11-22T00:22:54.262" v="6014" actId="20577"/>
          <ac:spMkLst>
            <pc:docMk/>
            <pc:sldMk cId="862292938" sldId="2560"/>
            <ac:spMk id="68" creationId="{6EF07348-B887-1E63-314E-8D5065886A79}"/>
          </ac:spMkLst>
        </pc:spChg>
        <pc:graphicFrameChg chg="mod">
          <ac:chgData name="Aurelien Domont" userId="6da7715ce44349b3" providerId="LiveId" clId="{9149B00E-810E-48AB-9153-54C78195225C}" dt="2023-11-22T00:22:14.623" v="6011"/>
          <ac:graphicFrameMkLst>
            <pc:docMk/>
            <pc:sldMk cId="862292938" sldId="2560"/>
            <ac:graphicFrameMk id="6" creationId="{C74B90F8-16E2-149E-13EF-2AEEB8172E8E}"/>
          </ac:graphicFrameMkLst>
        </pc:graphicFrameChg>
      </pc:sldChg>
      <pc:sldChg chg="addSp delSp modSp del mod ord">
        <pc:chgData name="Aurelien Domont" userId="6da7715ce44349b3" providerId="LiveId" clId="{9149B00E-810E-48AB-9153-54C78195225C}" dt="2023-11-22T00:36:45.694" v="6222" actId="47"/>
        <pc:sldMkLst>
          <pc:docMk/>
          <pc:sldMk cId="3906540847" sldId="2561"/>
        </pc:sldMkLst>
        <pc:spChg chg="mod">
          <ac:chgData name="Aurelien Domont" userId="6da7715ce44349b3" providerId="LiveId" clId="{9149B00E-810E-48AB-9153-54C78195225C}" dt="2023-11-22T00:27:40.770" v="6060" actId="948"/>
          <ac:spMkLst>
            <pc:docMk/>
            <pc:sldMk cId="3906540847" sldId="2561"/>
            <ac:spMk id="2" creationId="{12009DA8-0966-101B-E219-F283F194BD59}"/>
          </ac:spMkLst>
        </pc:spChg>
        <pc:spChg chg="del">
          <ac:chgData name="Aurelien Domont" userId="6da7715ce44349b3" providerId="LiveId" clId="{9149B00E-810E-48AB-9153-54C78195225C}" dt="2023-11-22T00:26:12.374" v="6027" actId="478"/>
          <ac:spMkLst>
            <pc:docMk/>
            <pc:sldMk cId="3906540847" sldId="2561"/>
            <ac:spMk id="3" creationId="{89947160-CBBF-9C08-490A-A8FC816B0F00}"/>
          </ac:spMkLst>
        </pc:spChg>
        <pc:spChg chg="add del mod modVis">
          <ac:chgData name="Aurelien Domont" userId="6da7715ce44349b3" providerId="LiveId" clId="{9149B00E-810E-48AB-9153-54C78195225C}" dt="2023-11-22T00:27:40.193" v="6056"/>
          <ac:spMkLst>
            <pc:docMk/>
            <pc:sldMk cId="3906540847" sldId="2561"/>
            <ac:spMk id="4" creationId="{E5013505-8D7E-0DAC-1BA5-4C0DB05C1F05}"/>
          </ac:spMkLst>
        </pc:spChg>
        <pc:spChg chg="add del mod modVis">
          <ac:chgData name="Aurelien Domont" userId="6da7715ce44349b3" providerId="LiveId" clId="{9149B00E-810E-48AB-9153-54C78195225C}" dt="2023-11-22T00:27:40.802" v="6084"/>
          <ac:spMkLst>
            <pc:docMk/>
            <pc:sldMk cId="3906540847" sldId="2561"/>
            <ac:spMk id="5" creationId="{7E3891E4-2F18-EEA0-848F-15E7006AFCB6}"/>
          </ac:spMkLst>
        </pc:spChg>
        <pc:spChg chg="del">
          <ac:chgData name="Aurelien Domont" userId="6da7715ce44349b3" providerId="LiveId" clId="{9149B00E-810E-48AB-9153-54C78195225C}" dt="2023-11-22T00:26:08.088" v="6026" actId="478"/>
          <ac:spMkLst>
            <pc:docMk/>
            <pc:sldMk cId="3906540847" sldId="2561"/>
            <ac:spMk id="10" creationId="{4E97A51A-9AC1-990E-4C5C-8B6A782A7310}"/>
          </ac:spMkLst>
        </pc:spChg>
        <pc:spChg chg="del">
          <ac:chgData name="Aurelien Domont" userId="6da7715ce44349b3" providerId="LiveId" clId="{9149B00E-810E-48AB-9153-54C78195225C}" dt="2023-11-22T00:26:08.088" v="6026" actId="478"/>
          <ac:spMkLst>
            <pc:docMk/>
            <pc:sldMk cId="3906540847" sldId="2561"/>
            <ac:spMk id="11" creationId="{66011BE7-3361-45B5-A09D-28FF2241FB2C}"/>
          </ac:spMkLst>
        </pc:spChg>
        <pc:spChg chg="del">
          <ac:chgData name="Aurelien Domont" userId="6da7715ce44349b3" providerId="LiveId" clId="{9149B00E-810E-48AB-9153-54C78195225C}" dt="2023-11-22T00:26:08.088" v="6026" actId="478"/>
          <ac:spMkLst>
            <pc:docMk/>
            <pc:sldMk cId="3906540847" sldId="2561"/>
            <ac:spMk id="12" creationId="{E5C880B1-3661-390E-F882-CB4F6F931514}"/>
          </ac:spMkLst>
        </pc:spChg>
        <pc:spChg chg="del">
          <ac:chgData name="Aurelien Domont" userId="6da7715ce44349b3" providerId="LiveId" clId="{9149B00E-810E-48AB-9153-54C78195225C}" dt="2023-11-22T00:26:08.088" v="6026" actId="478"/>
          <ac:spMkLst>
            <pc:docMk/>
            <pc:sldMk cId="3906540847" sldId="2561"/>
            <ac:spMk id="13" creationId="{498C36E7-47A0-0E62-649F-79BFC24991C9}"/>
          </ac:spMkLst>
        </pc:spChg>
        <pc:spChg chg="del">
          <ac:chgData name="Aurelien Domont" userId="6da7715ce44349b3" providerId="LiveId" clId="{9149B00E-810E-48AB-9153-54C78195225C}" dt="2023-11-22T00:26:08.088" v="6026" actId="478"/>
          <ac:spMkLst>
            <pc:docMk/>
            <pc:sldMk cId="3906540847" sldId="2561"/>
            <ac:spMk id="14" creationId="{2D61A940-E2A4-8F8B-BEEB-527EA37FB376}"/>
          </ac:spMkLst>
        </pc:spChg>
        <pc:spChg chg="del">
          <ac:chgData name="Aurelien Domont" userId="6da7715ce44349b3" providerId="LiveId" clId="{9149B00E-810E-48AB-9153-54C78195225C}" dt="2023-11-22T00:26:08.088" v="6026" actId="478"/>
          <ac:spMkLst>
            <pc:docMk/>
            <pc:sldMk cId="3906540847" sldId="2561"/>
            <ac:spMk id="15" creationId="{274392A5-1E09-AADB-1902-0598AA87A564}"/>
          </ac:spMkLst>
        </pc:spChg>
        <pc:spChg chg="del">
          <ac:chgData name="Aurelien Domont" userId="6da7715ce44349b3" providerId="LiveId" clId="{9149B00E-810E-48AB-9153-54C78195225C}" dt="2023-11-22T00:26:08.088" v="6026" actId="478"/>
          <ac:spMkLst>
            <pc:docMk/>
            <pc:sldMk cId="3906540847" sldId="2561"/>
            <ac:spMk id="16" creationId="{D7BABEBB-009A-B3CC-DD7C-AC6B17E66EBD}"/>
          </ac:spMkLst>
        </pc:spChg>
        <pc:spChg chg="del">
          <ac:chgData name="Aurelien Domont" userId="6da7715ce44349b3" providerId="LiveId" clId="{9149B00E-810E-48AB-9153-54C78195225C}" dt="2023-11-22T00:26:08.088" v="6026" actId="478"/>
          <ac:spMkLst>
            <pc:docMk/>
            <pc:sldMk cId="3906540847" sldId="2561"/>
            <ac:spMk id="17" creationId="{5A4EBC52-4520-716E-F7FC-5C1748C76EC9}"/>
          </ac:spMkLst>
        </pc:spChg>
        <pc:spChg chg="del">
          <ac:chgData name="Aurelien Domont" userId="6da7715ce44349b3" providerId="LiveId" clId="{9149B00E-810E-48AB-9153-54C78195225C}" dt="2023-11-22T00:26:08.088" v="6026" actId="478"/>
          <ac:spMkLst>
            <pc:docMk/>
            <pc:sldMk cId="3906540847" sldId="2561"/>
            <ac:spMk id="18" creationId="{49B65B9F-63BA-FB4C-B12B-B72843B3717D}"/>
          </ac:spMkLst>
        </pc:spChg>
        <pc:spChg chg="del">
          <ac:chgData name="Aurelien Domont" userId="6da7715ce44349b3" providerId="LiveId" clId="{9149B00E-810E-48AB-9153-54C78195225C}" dt="2023-11-22T00:26:08.088" v="6026" actId="478"/>
          <ac:spMkLst>
            <pc:docMk/>
            <pc:sldMk cId="3906540847" sldId="2561"/>
            <ac:spMk id="19" creationId="{D37A2CA0-E224-A57E-B83D-3F8EBC0B08EB}"/>
          </ac:spMkLst>
        </pc:spChg>
        <pc:spChg chg="del">
          <ac:chgData name="Aurelien Domont" userId="6da7715ce44349b3" providerId="LiveId" clId="{9149B00E-810E-48AB-9153-54C78195225C}" dt="2023-11-22T00:26:08.088" v="6026" actId="478"/>
          <ac:spMkLst>
            <pc:docMk/>
            <pc:sldMk cId="3906540847" sldId="2561"/>
            <ac:spMk id="20" creationId="{0CA3FB12-AFA3-4D30-44A1-2208EFD37686}"/>
          </ac:spMkLst>
        </pc:spChg>
        <pc:graphicFrameChg chg="mod">
          <ac:chgData name="Aurelien Domont" userId="6da7715ce44349b3" providerId="LiveId" clId="{9149B00E-810E-48AB-9153-54C78195225C}" dt="2023-11-22T00:27:40.802" v="6086"/>
          <ac:graphicFrameMkLst>
            <pc:docMk/>
            <pc:sldMk cId="3906540847" sldId="2561"/>
            <ac:graphicFrameMk id="6" creationId="{F5887244-1866-E102-5FD5-79FA1304146D}"/>
          </ac:graphicFrameMkLst>
        </pc:graphicFrameChg>
        <pc:picChg chg="add del">
          <ac:chgData name="Aurelien Domont" userId="6da7715ce44349b3" providerId="LiveId" clId="{9149B00E-810E-48AB-9153-54C78195225C}" dt="2023-11-22T00:28:03.163" v="6088" actId="478"/>
          <ac:picMkLst>
            <pc:docMk/>
            <pc:sldMk cId="3906540847" sldId="2561"/>
            <ac:picMk id="21" creationId="{55C0EEEA-D196-5D4A-0E6C-48562BA818D4}"/>
          </ac:picMkLst>
        </pc:picChg>
        <pc:picChg chg="add del">
          <ac:chgData name="Aurelien Domont" userId="6da7715ce44349b3" providerId="LiveId" clId="{9149B00E-810E-48AB-9153-54C78195225C}" dt="2023-11-22T00:28:03.163" v="6088" actId="478"/>
          <ac:picMkLst>
            <pc:docMk/>
            <pc:sldMk cId="3906540847" sldId="2561"/>
            <ac:picMk id="22" creationId="{A505F267-E3B5-4559-8DBB-D387D74271CB}"/>
          </ac:picMkLst>
        </pc:picChg>
        <pc:picChg chg="add del">
          <ac:chgData name="Aurelien Domont" userId="6da7715ce44349b3" providerId="LiveId" clId="{9149B00E-810E-48AB-9153-54C78195225C}" dt="2023-11-22T00:28:03.163" v="6088" actId="478"/>
          <ac:picMkLst>
            <pc:docMk/>
            <pc:sldMk cId="3906540847" sldId="2561"/>
            <ac:picMk id="24" creationId="{C3E08E48-91DC-4C1F-99DB-2B28D33A03AF}"/>
          </ac:picMkLst>
        </pc:picChg>
        <pc:picChg chg="add del">
          <ac:chgData name="Aurelien Domont" userId="6da7715ce44349b3" providerId="LiveId" clId="{9149B00E-810E-48AB-9153-54C78195225C}" dt="2023-11-22T00:28:03.163" v="6088" actId="478"/>
          <ac:picMkLst>
            <pc:docMk/>
            <pc:sldMk cId="3906540847" sldId="2561"/>
            <ac:picMk id="28" creationId="{570D065C-7397-1F30-84E3-E02A480D7274}"/>
          </ac:picMkLst>
        </pc:picChg>
        <pc:cxnChg chg="del">
          <ac:chgData name="Aurelien Domont" userId="6da7715ce44349b3" providerId="LiveId" clId="{9149B00E-810E-48AB-9153-54C78195225C}" dt="2023-11-22T00:26:08.088" v="6026" actId="478"/>
          <ac:cxnSpMkLst>
            <pc:docMk/>
            <pc:sldMk cId="3906540847" sldId="2561"/>
            <ac:cxnSpMk id="25" creationId="{502884BB-E7EF-9123-353B-F4640A540644}"/>
          </ac:cxnSpMkLst>
        </pc:cxnChg>
        <pc:cxnChg chg="del">
          <ac:chgData name="Aurelien Domont" userId="6da7715ce44349b3" providerId="LiveId" clId="{9149B00E-810E-48AB-9153-54C78195225C}" dt="2023-11-22T00:26:08.088" v="6026" actId="478"/>
          <ac:cxnSpMkLst>
            <pc:docMk/>
            <pc:sldMk cId="3906540847" sldId="2561"/>
            <ac:cxnSpMk id="26" creationId="{A3A765AC-F843-8348-5781-A190B3BA3D7E}"/>
          </ac:cxnSpMkLst>
        </pc:cxnChg>
        <pc:cxnChg chg="del">
          <ac:chgData name="Aurelien Domont" userId="6da7715ce44349b3" providerId="LiveId" clId="{9149B00E-810E-48AB-9153-54C78195225C}" dt="2023-11-22T00:26:08.088" v="6026" actId="478"/>
          <ac:cxnSpMkLst>
            <pc:docMk/>
            <pc:sldMk cId="3906540847" sldId="2561"/>
            <ac:cxnSpMk id="27" creationId="{3EF60794-3A8E-BE39-F0D8-071906313B90}"/>
          </ac:cxnSpMkLst>
        </pc:cxnChg>
      </pc:sldChg>
      <pc:sldChg chg="add del ord">
        <pc:chgData name="Aurelien Domont" userId="6da7715ce44349b3" providerId="LiveId" clId="{9149B00E-810E-48AB-9153-54C78195225C}" dt="2023-11-22T00:36:48" v="6223" actId="47"/>
        <pc:sldMkLst>
          <pc:docMk/>
          <pc:sldMk cId="3357917663" sldId="2590"/>
        </pc:sldMkLst>
      </pc:sldChg>
      <pc:sldChg chg="modSp mod ord">
        <pc:chgData name="Aurelien Domont" userId="6da7715ce44349b3" providerId="LiveId" clId="{9149B00E-810E-48AB-9153-54C78195225C}" dt="2023-11-21T23:56:24.281" v="184" actId="20577"/>
        <pc:sldMkLst>
          <pc:docMk/>
          <pc:sldMk cId="2246164536" sldId="3289"/>
        </pc:sldMkLst>
        <pc:spChg chg="mod">
          <ac:chgData name="Aurelien Domont" userId="6da7715ce44349b3" providerId="LiveId" clId="{9149B00E-810E-48AB-9153-54C78195225C}" dt="2023-11-21T23:56:24.281" v="184" actId="20577"/>
          <ac:spMkLst>
            <pc:docMk/>
            <pc:sldMk cId="2246164536" sldId="3289"/>
            <ac:spMk id="5" creationId="{DC054480-D828-7B59-3328-48D130C91ED1}"/>
          </ac:spMkLst>
        </pc:spChg>
      </pc:sldChg>
      <pc:sldChg chg="new add">
        <pc:chgData name="Aurelien Domont" userId="6da7715ce44349b3" providerId="LiveId" clId="{9149B00E-810E-48AB-9153-54C78195225C}" dt="2023-11-21T23:49:39.101" v="9"/>
        <pc:sldMkLst>
          <pc:docMk/>
          <pc:sldMk cId="3005508325" sldId="3292"/>
        </pc:sldMkLst>
      </pc:sldChg>
      <pc:sldChg chg="addSp delSp modSp add del mod">
        <pc:chgData name="Aurelien Domont" userId="6da7715ce44349b3" providerId="LiveId" clId="{9149B00E-810E-48AB-9153-54C78195225C}" dt="2023-11-22T00:10:40.664" v="4821" actId="47"/>
        <pc:sldMkLst>
          <pc:docMk/>
          <pc:sldMk cId="2515676013" sldId="3293"/>
        </pc:sldMkLst>
        <pc:spChg chg="mod ord">
          <ac:chgData name="Aurelien Domont" userId="6da7715ce44349b3" providerId="LiveId" clId="{9149B00E-810E-48AB-9153-54C78195225C}" dt="2023-11-22T00:07:23.851" v="3214"/>
          <ac:spMkLst>
            <pc:docMk/>
            <pc:sldMk cId="2515676013" sldId="3293"/>
            <ac:spMk id="2" creationId="{34A2542B-43BB-B3BF-4169-708E55855120}"/>
          </ac:spMkLst>
        </pc:spChg>
        <pc:spChg chg="add del mod modVis">
          <ac:chgData name="Aurelien Domont" userId="6da7715ce44349b3" providerId="LiveId" clId="{9149B00E-810E-48AB-9153-54C78195225C}" dt="2023-11-21T23:59:12.698" v="226"/>
          <ac:spMkLst>
            <pc:docMk/>
            <pc:sldMk cId="2515676013" sldId="3293"/>
            <ac:spMk id="3" creationId="{E9634666-B87A-C009-1AE7-689DA6C929B6}"/>
          </ac:spMkLst>
        </pc:spChg>
        <pc:spChg chg="add del mod modVis">
          <ac:chgData name="Aurelien Domont" userId="6da7715ce44349b3" providerId="LiveId" clId="{9149B00E-810E-48AB-9153-54C78195225C}" dt="2023-11-22T00:00:39.405" v="266"/>
          <ac:spMkLst>
            <pc:docMk/>
            <pc:sldMk cId="2515676013" sldId="3293"/>
            <ac:spMk id="4" creationId="{3D65A33F-787C-D20B-36DF-373FFF5C3D08}"/>
          </ac:spMkLst>
        </pc:spChg>
        <pc:spChg chg="add del mod modVis">
          <ac:chgData name="Aurelien Domont" userId="6da7715ce44349b3" providerId="LiveId" clId="{9149B00E-810E-48AB-9153-54C78195225C}" dt="2023-11-22T00:00:40.550" v="302"/>
          <ac:spMkLst>
            <pc:docMk/>
            <pc:sldMk cId="2515676013" sldId="3293"/>
            <ac:spMk id="5" creationId="{D35AA669-D691-B831-225B-5F1E27837718}"/>
          </ac:spMkLst>
        </pc:spChg>
        <pc:spChg chg="add del mod modVis">
          <ac:chgData name="Aurelien Domont" userId="6da7715ce44349b3" providerId="LiveId" clId="{9149B00E-810E-48AB-9153-54C78195225C}" dt="2023-11-22T00:00:44.412" v="335"/>
          <ac:spMkLst>
            <pc:docMk/>
            <pc:sldMk cId="2515676013" sldId="3293"/>
            <ac:spMk id="7" creationId="{5E4B5891-50AD-F1E7-1A80-512A0DFB6574}"/>
          </ac:spMkLst>
        </pc:spChg>
        <pc:spChg chg="mod ord">
          <ac:chgData name="Aurelien Domont" userId="6da7715ce44349b3" providerId="LiveId" clId="{9149B00E-810E-48AB-9153-54C78195225C}" dt="2023-11-22T00:07:23.851" v="3226"/>
          <ac:spMkLst>
            <pc:docMk/>
            <pc:sldMk cId="2515676013" sldId="3293"/>
            <ac:spMk id="8" creationId="{4DC3721D-2A17-C6E1-1E60-37861DCFF387}"/>
          </ac:spMkLst>
        </pc:spChg>
        <pc:spChg chg="mod ord">
          <ac:chgData name="Aurelien Domont" userId="6da7715ce44349b3" providerId="LiveId" clId="{9149B00E-810E-48AB-9153-54C78195225C}" dt="2023-11-22T00:07:23.851" v="3228"/>
          <ac:spMkLst>
            <pc:docMk/>
            <pc:sldMk cId="2515676013" sldId="3293"/>
            <ac:spMk id="9" creationId="{C1F162A5-2466-AD19-C49B-B28E524212CD}"/>
          </ac:spMkLst>
        </pc:spChg>
        <pc:spChg chg="add del mod modVis">
          <ac:chgData name="Aurelien Domont" userId="6da7715ce44349b3" providerId="LiveId" clId="{9149B00E-810E-48AB-9153-54C78195225C}" dt="2023-11-22T00:00:46.500" v="367"/>
          <ac:spMkLst>
            <pc:docMk/>
            <pc:sldMk cId="2515676013" sldId="3293"/>
            <ac:spMk id="10" creationId="{6E2D45B1-B8CD-E41B-F947-BEAACE7DEAE1}"/>
          </ac:spMkLst>
        </pc:spChg>
        <pc:spChg chg="add del mod modVis">
          <ac:chgData name="Aurelien Domont" userId="6da7715ce44349b3" providerId="LiveId" clId="{9149B00E-810E-48AB-9153-54C78195225C}" dt="2023-11-22T00:00:48.619" v="409"/>
          <ac:spMkLst>
            <pc:docMk/>
            <pc:sldMk cId="2515676013" sldId="3293"/>
            <ac:spMk id="11" creationId="{F6859D77-92D0-B3BF-C768-AB1D68D5C979}"/>
          </ac:spMkLst>
        </pc:spChg>
        <pc:spChg chg="add del mod modVis">
          <ac:chgData name="Aurelien Domont" userId="6da7715ce44349b3" providerId="LiveId" clId="{9149B00E-810E-48AB-9153-54C78195225C}" dt="2023-11-22T00:00:49.170" v="441"/>
          <ac:spMkLst>
            <pc:docMk/>
            <pc:sldMk cId="2515676013" sldId="3293"/>
            <ac:spMk id="12" creationId="{0536D0CE-5C81-5825-74D4-A0C5BD7C7679}"/>
          </ac:spMkLst>
        </pc:spChg>
        <pc:spChg chg="add del mod modVis">
          <ac:chgData name="Aurelien Domont" userId="6da7715ce44349b3" providerId="LiveId" clId="{9149B00E-810E-48AB-9153-54C78195225C}" dt="2023-11-22T00:02:33.032" v="639"/>
          <ac:spMkLst>
            <pc:docMk/>
            <pc:sldMk cId="2515676013" sldId="3293"/>
            <ac:spMk id="13" creationId="{FDE16788-9092-DA3E-7C97-81C84F9D4934}"/>
          </ac:spMkLst>
        </pc:spChg>
        <pc:spChg chg="add del mod replST">
          <ac:chgData name="Aurelien Domont" userId="6da7715ce44349b3" providerId="LiveId" clId="{9149B00E-810E-48AB-9153-54C78195225C}" dt="2023-11-22T00:06:14.611" v="2292"/>
          <ac:spMkLst>
            <pc:docMk/>
            <pc:sldMk cId="2515676013" sldId="3293"/>
            <ac:spMk id="14" creationId="{6A23A6B8-3F5B-B4F8-A1CA-07EBCAE6F650}"/>
          </ac:spMkLst>
        </pc:spChg>
        <pc:spChg chg="add del mod replST">
          <ac:chgData name="Aurelien Domont" userId="6da7715ce44349b3" providerId="LiveId" clId="{9149B00E-810E-48AB-9153-54C78195225C}" dt="2023-11-22T00:06:14.611" v="2291"/>
          <ac:spMkLst>
            <pc:docMk/>
            <pc:sldMk cId="2515676013" sldId="3293"/>
            <ac:spMk id="15" creationId="{B767D780-E00F-D144-2DAB-E2C3102A7537}"/>
          </ac:spMkLst>
        </pc:spChg>
        <pc:spChg chg="add del mod replST">
          <ac:chgData name="Aurelien Domont" userId="6da7715ce44349b3" providerId="LiveId" clId="{9149B00E-810E-48AB-9153-54C78195225C}" dt="2023-11-22T00:03:31.819" v="852"/>
          <ac:spMkLst>
            <pc:docMk/>
            <pc:sldMk cId="2515676013" sldId="3293"/>
            <ac:spMk id="16" creationId="{E2094D16-A1BF-A00E-7075-0C398F4A6B8E}"/>
          </ac:spMkLst>
        </pc:spChg>
        <pc:spChg chg="add del mod modVis">
          <ac:chgData name="Aurelien Domont" userId="6da7715ce44349b3" providerId="LiveId" clId="{9149B00E-810E-48AB-9153-54C78195225C}" dt="2023-11-22T00:03:19.807" v="709"/>
          <ac:spMkLst>
            <pc:docMk/>
            <pc:sldMk cId="2515676013" sldId="3293"/>
            <ac:spMk id="18" creationId="{5CB878AA-5B1F-12FF-8F4F-0B9E15CB49F3}"/>
          </ac:spMkLst>
        </pc:spChg>
        <pc:spChg chg="mod">
          <ac:chgData name="Aurelien Domont" userId="6da7715ce44349b3" providerId="LiveId" clId="{9149B00E-810E-48AB-9153-54C78195225C}" dt="2023-11-22T00:01:42.978" v="450" actId="6549"/>
          <ac:spMkLst>
            <pc:docMk/>
            <pc:sldMk cId="2515676013" sldId="3293"/>
            <ac:spMk id="22" creationId="{67F58691-7CFA-2FA5-F2B6-769C682DB102}"/>
          </ac:spMkLst>
        </pc:spChg>
        <pc:spChg chg="mod ord">
          <ac:chgData name="Aurelien Domont" userId="6da7715ce44349b3" providerId="LiveId" clId="{9149B00E-810E-48AB-9153-54C78195225C}" dt="2023-11-22T00:07:23.851" v="3222"/>
          <ac:spMkLst>
            <pc:docMk/>
            <pc:sldMk cId="2515676013" sldId="3293"/>
            <ac:spMk id="27" creationId="{11297F6C-D1F5-9B4A-D4A1-3C545BEDB932}"/>
          </ac:spMkLst>
        </pc:spChg>
        <pc:spChg chg="add del mod modVis">
          <ac:chgData name="Aurelien Domont" userId="6da7715ce44349b3" providerId="LiveId" clId="{9149B00E-810E-48AB-9153-54C78195225C}" dt="2023-11-22T00:03:22.868" v="779"/>
          <ac:spMkLst>
            <pc:docMk/>
            <pc:sldMk cId="2515676013" sldId="3293"/>
            <ac:spMk id="28" creationId="{7F7E2B44-1143-6150-B513-CDB13963A98E}"/>
          </ac:spMkLst>
        </pc:spChg>
        <pc:spChg chg="add del mod modVis">
          <ac:chgData name="Aurelien Domont" userId="6da7715ce44349b3" providerId="LiveId" clId="{9149B00E-810E-48AB-9153-54C78195225C}" dt="2023-11-22T00:03:28.222" v="849"/>
          <ac:spMkLst>
            <pc:docMk/>
            <pc:sldMk cId="2515676013" sldId="3293"/>
            <ac:spMk id="30" creationId="{7586F692-9936-81D4-6B09-0F4690A65450}"/>
          </ac:spMkLst>
        </pc:spChg>
        <pc:spChg chg="add del mod modVis">
          <ac:chgData name="Aurelien Domont" userId="6da7715ce44349b3" providerId="LiveId" clId="{9149B00E-810E-48AB-9153-54C78195225C}" dt="2023-11-22T00:03:31.913" v="914"/>
          <ac:spMkLst>
            <pc:docMk/>
            <pc:sldMk cId="2515676013" sldId="3293"/>
            <ac:spMk id="32" creationId="{5D5E50BC-6B52-4404-CD7E-419E561585D1}"/>
          </ac:spMkLst>
        </pc:spChg>
        <pc:spChg chg="add del mod modVis">
          <ac:chgData name="Aurelien Domont" userId="6da7715ce44349b3" providerId="LiveId" clId="{9149B00E-810E-48AB-9153-54C78195225C}" dt="2023-11-22T00:04:03.570" v="1052"/>
          <ac:spMkLst>
            <pc:docMk/>
            <pc:sldMk cId="2515676013" sldId="3293"/>
            <ac:spMk id="35" creationId="{9FCA2EF2-25EE-104E-A0A9-8E280FA3EC59}"/>
          </ac:spMkLst>
        </pc:spChg>
        <pc:spChg chg="add del mod modVis">
          <ac:chgData name="Aurelien Domont" userId="6da7715ce44349b3" providerId="LiveId" clId="{9149B00E-810E-48AB-9153-54C78195225C}" dt="2023-11-22T00:04:29.769" v="1200"/>
          <ac:spMkLst>
            <pc:docMk/>
            <pc:sldMk cId="2515676013" sldId="3293"/>
            <ac:spMk id="38" creationId="{E60223BE-C2F8-36F5-F03A-0E2C536CC43C}"/>
          </ac:spMkLst>
        </pc:spChg>
        <pc:spChg chg="add del mod modVis">
          <ac:chgData name="Aurelien Domont" userId="6da7715ce44349b3" providerId="LiveId" clId="{9149B00E-810E-48AB-9153-54C78195225C}" dt="2023-11-22T00:04:36.033" v="1264"/>
          <ac:spMkLst>
            <pc:docMk/>
            <pc:sldMk cId="2515676013" sldId="3293"/>
            <ac:spMk id="40" creationId="{11400DF3-F33F-5A56-D2AD-5E94701D0284}"/>
          </ac:spMkLst>
        </pc:spChg>
        <pc:spChg chg="del">
          <ac:chgData name="Aurelien Domont" userId="6da7715ce44349b3" providerId="LiveId" clId="{9149B00E-810E-48AB-9153-54C78195225C}" dt="2023-11-22T00:01:20.672" v="449" actId="478"/>
          <ac:spMkLst>
            <pc:docMk/>
            <pc:sldMk cId="2515676013" sldId="3293"/>
            <ac:spMk id="42" creationId="{9CBDA2C3-EB05-A22E-4E9E-E27E1370CB1B}"/>
          </ac:spMkLst>
        </pc:spChg>
        <pc:spChg chg="del">
          <ac:chgData name="Aurelien Domont" userId="6da7715ce44349b3" providerId="LiveId" clId="{9149B00E-810E-48AB-9153-54C78195225C}" dt="2023-11-22T00:01:20.672" v="449" actId="478"/>
          <ac:spMkLst>
            <pc:docMk/>
            <pc:sldMk cId="2515676013" sldId="3293"/>
            <ac:spMk id="43" creationId="{48B7B85F-8811-E9CE-0D48-58E0E553B114}"/>
          </ac:spMkLst>
        </pc:spChg>
        <pc:spChg chg="del">
          <ac:chgData name="Aurelien Domont" userId="6da7715ce44349b3" providerId="LiveId" clId="{9149B00E-810E-48AB-9153-54C78195225C}" dt="2023-11-22T00:01:20.672" v="449" actId="478"/>
          <ac:spMkLst>
            <pc:docMk/>
            <pc:sldMk cId="2515676013" sldId="3293"/>
            <ac:spMk id="44" creationId="{BA6B0B1E-ACDC-4B47-CB9B-5A2EFB8AB65B}"/>
          </ac:spMkLst>
        </pc:spChg>
        <pc:spChg chg="del">
          <ac:chgData name="Aurelien Domont" userId="6da7715ce44349b3" providerId="LiveId" clId="{9149B00E-810E-48AB-9153-54C78195225C}" dt="2023-11-22T00:01:20.672" v="449" actId="478"/>
          <ac:spMkLst>
            <pc:docMk/>
            <pc:sldMk cId="2515676013" sldId="3293"/>
            <ac:spMk id="45" creationId="{8E80AF14-455F-E6E5-E9B7-7C7C245C8E95}"/>
          </ac:spMkLst>
        </pc:spChg>
        <pc:spChg chg="del">
          <ac:chgData name="Aurelien Domont" userId="6da7715ce44349b3" providerId="LiveId" clId="{9149B00E-810E-48AB-9153-54C78195225C}" dt="2023-11-22T00:01:20.672" v="449" actId="478"/>
          <ac:spMkLst>
            <pc:docMk/>
            <pc:sldMk cId="2515676013" sldId="3293"/>
            <ac:spMk id="46" creationId="{DB9BF63D-1C77-A5BF-975B-FDD6F927B76D}"/>
          </ac:spMkLst>
        </pc:spChg>
        <pc:spChg chg="del">
          <ac:chgData name="Aurelien Domont" userId="6da7715ce44349b3" providerId="LiveId" clId="{9149B00E-810E-48AB-9153-54C78195225C}" dt="2023-11-22T00:01:20.672" v="449" actId="478"/>
          <ac:spMkLst>
            <pc:docMk/>
            <pc:sldMk cId="2515676013" sldId="3293"/>
            <ac:spMk id="47" creationId="{29EFB477-B352-6809-2940-0A1C7AA83BFB}"/>
          </ac:spMkLst>
        </pc:spChg>
        <pc:spChg chg="del">
          <ac:chgData name="Aurelien Domont" userId="6da7715ce44349b3" providerId="LiveId" clId="{9149B00E-810E-48AB-9153-54C78195225C}" dt="2023-11-22T00:01:20.672" v="449" actId="478"/>
          <ac:spMkLst>
            <pc:docMk/>
            <pc:sldMk cId="2515676013" sldId="3293"/>
            <ac:spMk id="48" creationId="{DFEBF05B-CA8E-74E9-DCFB-6D9F37636EE2}"/>
          </ac:spMkLst>
        </pc:spChg>
        <pc:spChg chg="del">
          <ac:chgData name="Aurelien Domont" userId="6da7715ce44349b3" providerId="LiveId" clId="{9149B00E-810E-48AB-9153-54C78195225C}" dt="2023-11-22T00:01:20.672" v="449" actId="478"/>
          <ac:spMkLst>
            <pc:docMk/>
            <pc:sldMk cId="2515676013" sldId="3293"/>
            <ac:spMk id="49" creationId="{0CEF9C05-260A-5E8E-627D-D59E2819E7F0}"/>
          </ac:spMkLst>
        </pc:spChg>
        <pc:spChg chg="del">
          <ac:chgData name="Aurelien Domont" userId="6da7715ce44349b3" providerId="LiveId" clId="{9149B00E-810E-48AB-9153-54C78195225C}" dt="2023-11-22T00:01:20.672" v="449" actId="478"/>
          <ac:spMkLst>
            <pc:docMk/>
            <pc:sldMk cId="2515676013" sldId="3293"/>
            <ac:spMk id="50" creationId="{C0000968-055A-1E02-E6DE-54FD8132B19D}"/>
          </ac:spMkLst>
        </pc:spChg>
        <pc:spChg chg="del">
          <ac:chgData name="Aurelien Domont" userId="6da7715ce44349b3" providerId="LiveId" clId="{9149B00E-810E-48AB-9153-54C78195225C}" dt="2023-11-22T00:01:20.672" v="449" actId="478"/>
          <ac:spMkLst>
            <pc:docMk/>
            <pc:sldMk cId="2515676013" sldId="3293"/>
            <ac:spMk id="51" creationId="{B9E1C5D4-2371-B762-88DC-871DBD07BAF8}"/>
          </ac:spMkLst>
        </pc:spChg>
        <pc:spChg chg="mod ord">
          <ac:chgData name="Aurelien Domont" userId="6da7715ce44349b3" providerId="LiveId" clId="{9149B00E-810E-48AB-9153-54C78195225C}" dt="2023-11-22T00:07:23.851" v="3224"/>
          <ac:spMkLst>
            <pc:docMk/>
            <pc:sldMk cId="2515676013" sldId="3293"/>
            <ac:spMk id="52" creationId="{E68E3337-3CAB-5867-805E-B494A4F01F7C}"/>
          </ac:spMkLst>
        </pc:spChg>
        <pc:spChg chg="add del mod replST">
          <ac:chgData name="Aurelien Domont" userId="6da7715ce44349b3" providerId="LiveId" clId="{9149B00E-810E-48AB-9153-54C78195225C}" dt="2023-11-22T00:05:00.336" v="1454"/>
          <ac:spMkLst>
            <pc:docMk/>
            <pc:sldMk cId="2515676013" sldId="3293"/>
            <ac:spMk id="55" creationId="{44B17349-BE56-CE39-AB36-F17B12B603FA}"/>
          </ac:spMkLst>
        </pc:spChg>
        <pc:spChg chg="add del mod modVis">
          <ac:chgData name="Aurelien Domont" userId="6da7715ce44349b3" providerId="LiveId" clId="{9149B00E-810E-48AB-9153-54C78195225C}" dt="2023-11-22T00:04:53.412" v="1447"/>
          <ac:spMkLst>
            <pc:docMk/>
            <pc:sldMk cId="2515676013" sldId="3293"/>
            <ac:spMk id="56" creationId="{7C90291B-2F98-2D99-43B5-B867B2C10D38}"/>
          </ac:spMkLst>
        </pc:spChg>
        <pc:spChg chg="add del mod replST">
          <ac:chgData name="Aurelien Domont" userId="6da7715ce44349b3" providerId="LiveId" clId="{9149B00E-810E-48AB-9153-54C78195225C}" dt="2023-11-22T00:05:06.523" v="1591"/>
          <ac:spMkLst>
            <pc:docMk/>
            <pc:sldMk cId="2515676013" sldId="3293"/>
            <ac:spMk id="59" creationId="{EE66F2E1-DCEB-201D-FF8D-4AF7CDE592CF}"/>
          </ac:spMkLst>
        </pc:spChg>
        <pc:spChg chg="add del mod modVis">
          <ac:chgData name="Aurelien Domont" userId="6da7715ce44349b3" providerId="LiveId" clId="{9149B00E-810E-48AB-9153-54C78195225C}" dt="2023-11-22T00:05:02.235" v="1584"/>
          <ac:spMkLst>
            <pc:docMk/>
            <pc:sldMk cId="2515676013" sldId="3293"/>
            <ac:spMk id="60" creationId="{51837774-C2E9-4C83-D4EA-1F5F86DE1DCA}"/>
          </ac:spMkLst>
        </pc:spChg>
        <pc:spChg chg="add del mod modVis">
          <ac:chgData name="Aurelien Domont" userId="6da7715ce44349b3" providerId="LiveId" clId="{9149B00E-810E-48AB-9153-54C78195225C}" dt="2023-11-22T00:05:12.017" v="1680"/>
          <ac:spMkLst>
            <pc:docMk/>
            <pc:sldMk cId="2515676013" sldId="3293"/>
            <ac:spMk id="63" creationId="{81AAD3CC-16B7-D7F8-24D7-759F22D8A00E}"/>
          </ac:spMkLst>
        </pc:spChg>
        <pc:spChg chg="add del mod replST">
          <ac:chgData name="Aurelien Domont" userId="6da7715ce44349b3" providerId="LiveId" clId="{9149B00E-810E-48AB-9153-54C78195225C}" dt="2023-11-22T00:05:21.967" v="1788"/>
          <ac:spMkLst>
            <pc:docMk/>
            <pc:sldMk cId="2515676013" sldId="3293"/>
            <ac:spMk id="65" creationId="{1B7E569A-DE90-C370-5E91-CDF444CA2B32}"/>
          </ac:spMkLst>
        </pc:spChg>
        <pc:spChg chg="add del mod modVis">
          <ac:chgData name="Aurelien Domont" userId="6da7715ce44349b3" providerId="LiveId" clId="{9149B00E-810E-48AB-9153-54C78195225C}" dt="2023-11-22T00:05:18.592" v="1781"/>
          <ac:spMkLst>
            <pc:docMk/>
            <pc:sldMk cId="2515676013" sldId="3293"/>
            <ac:spMk id="66" creationId="{FD865410-59E6-3775-A8E3-F8FF07C99A31}"/>
          </ac:spMkLst>
        </pc:spChg>
        <pc:spChg chg="add del mod replST delST">
          <ac:chgData name="Aurelien Domont" userId="6da7715ce44349b3" providerId="LiveId" clId="{9149B00E-810E-48AB-9153-54C78195225C}" dt="2023-11-22T00:05:23.961" v="1984"/>
          <ac:spMkLst>
            <pc:docMk/>
            <pc:sldMk cId="2515676013" sldId="3293"/>
            <ac:spMk id="69" creationId="{44793477-4BD8-B1B7-3D73-5A60D23399EE}"/>
          </ac:spMkLst>
        </pc:spChg>
        <pc:spChg chg="add del mod modVis">
          <ac:chgData name="Aurelien Domont" userId="6da7715ce44349b3" providerId="LiveId" clId="{9149B00E-810E-48AB-9153-54C78195225C}" dt="2023-11-22T00:05:23.961" v="1984"/>
          <ac:spMkLst>
            <pc:docMk/>
            <pc:sldMk cId="2515676013" sldId="3293"/>
            <ac:spMk id="70" creationId="{F1228C7F-EAF9-6950-BAE0-63BF4A5E67BD}"/>
          </ac:spMkLst>
        </pc:spChg>
        <pc:spChg chg="add del mod modVis">
          <ac:chgData name="Aurelien Domont" userId="6da7715ce44349b3" providerId="LiveId" clId="{9149B00E-810E-48AB-9153-54C78195225C}" dt="2023-11-22T00:05:24.966" v="2113"/>
          <ac:spMkLst>
            <pc:docMk/>
            <pc:sldMk cId="2515676013" sldId="3293"/>
            <ac:spMk id="72" creationId="{7ED36061-4C33-8DD3-C2CE-EA96A795AEA1}"/>
          </ac:spMkLst>
        </pc:spChg>
        <pc:spChg chg="add del mod replST">
          <ac:chgData name="Aurelien Domont" userId="6da7715ce44349b3" providerId="LiveId" clId="{9149B00E-810E-48AB-9153-54C78195225C}" dt="2023-11-22T00:05:26.628" v="2120"/>
          <ac:spMkLst>
            <pc:docMk/>
            <pc:sldMk cId="2515676013" sldId="3293"/>
            <ac:spMk id="73" creationId="{A67228E1-D65E-4658-46BF-3C3F7A0DDB1E}"/>
          </ac:spMkLst>
        </pc:spChg>
        <pc:spChg chg="add del mod replST">
          <ac:chgData name="Aurelien Domont" userId="6da7715ce44349b3" providerId="LiveId" clId="{9149B00E-810E-48AB-9153-54C78195225C}" dt="2023-11-22T00:05:37.414" v="2258"/>
          <ac:spMkLst>
            <pc:docMk/>
            <pc:sldMk cId="2515676013" sldId="3293"/>
            <ac:spMk id="76" creationId="{FA244326-49A5-23F0-B543-E3EDF5FE30A7}"/>
          </ac:spMkLst>
        </pc:spChg>
        <pc:spChg chg="add del mod modVis">
          <ac:chgData name="Aurelien Domont" userId="6da7715ce44349b3" providerId="LiveId" clId="{9149B00E-810E-48AB-9153-54C78195225C}" dt="2023-11-22T00:05:28.827" v="2251"/>
          <ac:spMkLst>
            <pc:docMk/>
            <pc:sldMk cId="2515676013" sldId="3293"/>
            <ac:spMk id="77" creationId="{81399428-8157-C112-389E-D77637B94D61}"/>
          </ac:spMkLst>
        </pc:spChg>
        <pc:spChg chg="add del mod modVis">
          <ac:chgData name="Aurelien Domont" userId="6da7715ce44349b3" providerId="LiveId" clId="{9149B00E-810E-48AB-9153-54C78195225C}" dt="2023-11-22T00:06:23.492" v="2484"/>
          <ac:spMkLst>
            <pc:docMk/>
            <pc:sldMk cId="2515676013" sldId="3293"/>
            <ac:spMk id="80" creationId="{E3A755F5-EC33-BAE2-F45C-5E625389E09D}"/>
          </ac:spMkLst>
        </pc:spChg>
        <pc:spChg chg="add mod replST">
          <ac:chgData name="Aurelien Domont" userId="6da7715ce44349b3" providerId="LiveId" clId="{9149B00E-810E-48AB-9153-54C78195225C}" dt="2023-11-22T00:07:23.851" v="3231"/>
          <ac:spMkLst>
            <pc:docMk/>
            <pc:sldMk cId="2515676013" sldId="3293"/>
            <ac:spMk id="81" creationId="{21F40025-3726-C86E-230B-BA3AF697714C}"/>
          </ac:spMkLst>
        </pc:spChg>
        <pc:spChg chg="add mod replST">
          <ac:chgData name="Aurelien Domont" userId="6da7715ce44349b3" providerId="LiveId" clId="{9149B00E-810E-48AB-9153-54C78195225C}" dt="2023-11-22T00:07:23.851" v="3232"/>
          <ac:spMkLst>
            <pc:docMk/>
            <pc:sldMk cId="2515676013" sldId="3293"/>
            <ac:spMk id="82" creationId="{4EF01FA5-64F8-5BEF-8C42-D26F0EFC02CE}"/>
          </ac:spMkLst>
        </pc:spChg>
        <pc:spChg chg="add del mod replST">
          <ac:chgData name="Aurelien Domont" userId="6da7715ce44349b3" providerId="LiveId" clId="{9149B00E-810E-48AB-9153-54C78195225C}" dt="2023-11-22T00:06:39.599" v="2767"/>
          <ac:spMkLst>
            <pc:docMk/>
            <pc:sldMk cId="2515676013" sldId="3293"/>
            <ac:spMk id="83" creationId="{F03E4F08-8B01-8ABA-5038-859026DF7713}"/>
          </ac:spMkLst>
        </pc:spChg>
        <pc:spChg chg="add del mod modVis">
          <ac:chgData name="Aurelien Domont" userId="6da7715ce44349b3" providerId="LiveId" clId="{9149B00E-810E-48AB-9153-54C78195225C}" dt="2023-11-22T00:06:31.114" v="2554"/>
          <ac:spMkLst>
            <pc:docMk/>
            <pc:sldMk cId="2515676013" sldId="3293"/>
            <ac:spMk id="85" creationId="{CE3B6937-7CB2-E8A1-229A-E5395C7F1B7A}"/>
          </ac:spMkLst>
        </pc:spChg>
        <pc:spChg chg="add del mod modVis">
          <ac:chgData name="Aurelien Domont" userId="6da7715ce44349b3" providerId="LiveId" clId="{9149B00E-810E-48AB-9153-54C78195225C}" dt="2023-11-22T00:06:34.436" v="2624"/>
          <ac:spMkLst>
            <pc:docMk/>
            <pc:sldMk cId="2515676013" sldId="3293"/>
            <ac:spMk id="87" creationId="{02E1F334-D383-7F38-F2C2-CA4CC2AF69EB}"/>
          </ac:spMkLst>
        </pc:spChg>
        <pc:spChg chg="add del mod modVis">
          <ac:chgData name="Aurelien Domont" userId="6da7715ce44349b3" providerId="LiveId" clId="{9149B00E-810E-48AB-9153-54C78195225C}" dt="2023-11-22T00:06:35.645" v="2694"/>
          <ac:spMkLst>
            <pc:docMk/>
            <pc:sldMk cId="2515676013" sldId="3293"/>
            <ac:spMk id="89" creationId="{411484BD-ECB5-3D05-CA39-41286CA1DD18}"/>
          </ac:spMkLst>
        </pc:spChg>
        <pc:spChg chg="add del mod modVis">
          <ac:chgData name="Aurelien Domont" userId="6da7715ce44349b3" providerId="LiveId" clId="{9149B00E-810E-48AB-9153-54C78195225C}" dt="2023-11-22T00:06:36.934" v="2764"/>
          <ac:spMkLst>
            <pc:docMk/>
            <pc:sldMk cId="2515676013" sldId="3293"/>
            <ac:spMk id="91" creationId="{B2E7899F-23F2-BDA2-BEDC-E63C13577F2C}"/>
          </ac:spMkLst>
        </pc:spChg>
        <pc:spChg chg="add del mod modVis">
          <ac:chgData name="Aurelien Domont" userId="6da7715ce44349b3" providerId="LiveId" clId="{9149B00E-810E-48AB-9153-54C78195225C}" dt="2023-11-22T00:07:05.464" v="2963"/>
          <ac:spMkLst>
            <pc:docMk/>
            <pc:sldMk cId="2515676013" sldId="3293"/>
            <ac:spMk id="96" creationId="{34FDA7E6-F134-ADD6-867B-988A64552953}"/>
          </ac:spMkLst>
        </pc:spChg>
        <pc:spChg chg="add del mod modVis">
          <ac:chgData name="Aurelien Domont" userId="6da7715ce44349b3" providerId="LiveId" clId="{9149B00E-810E-48AB-9153-54C78195225C}" dt="2023-11-22T00:07:08.843" v="3031"/>
          <ac:spMkLst>
            <pc:docMk/>
            <pc:sldMk cId="2515676013" sldId="3293"/>
            <ac:spMk id="98" creationId="{E7D5625F-D91D-C454-725A-433DBDFFCF1B}"/>
          </ac:spMkLst>
        </pc:spChg>
        <pc:spChg chg="add del mod modVis">
          <ac:chgData name="Aurelien Domont" userId="6da7715ce44349b3" providerId="LiveId" clId="{9149B00E-810E-48AB-9153-54C78195225C}" dt="2023-11-22T00:07:10.946" v="3095"/>
          <ac:spMkLst>
            <pc:docMk/>
            <pc:sldMk cId="2515676013" sldId="3293"/>
            <ac:spMk id="100" creationId="{E2C8C3C8-5711-03C7-9FDA-C7E19B76DB7A}"/>
          </ac:spMkLst>
        </pc:spChg>
        <pc:spChg chg="add del mod modVis">
          <ac:chgData name="Aurelien Domont" userId="6da7715ce44349b3" providerId="LiveId" clId="{9149B00E-810E-48AB-9153-54C78195225C}" dt="2023-11-22T00:07:11.715" v="3159"/>
          <ac:spMkLst>
            <pc:docMk/>
            <pc:sldMk cId="2515676013" sldId="3293"/>
            <ac:spMk id="102" creationId="{9965256E-FD6C-F22C-FA52-095AE48E125E}"/>
          </ac:spMkLst>
        </pc:spChg>
        <pc:spChg chg="add del mod modVis">
          <ac:chgData name="Aurelien Domont" userId="6da7715ce44349b3" providerId="LiveId" clId="{9149B00E-810E-48AB-9153-54C78195225C}" dt="2023-11-22T00:07:23.851" v="3236"/>
          <ac:spMkLst>
            <pc:docMk/>
            <pc:sldMk cId="2515676013" sldId="3293"/>
            <ac:spMk id="104" creationId="{4C613F15-B959-52D5-1636-136BBE061B64}"/>
          </ac:spMkLst>
        </pc:spChg>
        <pc:grpChg chg="mod ord">
          <ac:chgData name="Aurelien Domont" userId="6da7715ce44349b3" providerId="LiveId" clId="{9149B00E-810E-48AB-9153-54C78195225C}" dt="2023-11-22T00:07:23.851" v="3216"/>
          <ac:grpSpMkLst>
            <pc:docMk/>
            <pc:sldMk cId="2515676013" sldId="3293"/>
            <ac:grpSpMk id="20" creationId="{F346964D-A932-05EB-E307-5DE6E76C6ACB}"/>
          </ac:grpSpMkLst>
        </pc:grpChg>
        <pc:grpChg chg="mod ord">
          <ac:chgData name="Aurelien Domont" userId="6da7715ce44349b3" providerId="LiveId" clId="{9149B00E-810E-48AB-9153-54C78195225C}" dt="2023-11-22T00:07:23.851" v="3218"/>
          <ac:grpSpMkLst>
            <pc:docMk/>
            <pc:sldMk cId="2515676013" sldId="3293"/>
            <ac:grpSpMk id="23" creationId="{7234FE23-742D-5BB9-0223-ED4E0E1FFEFE}"/>
          </ac:grpSpMkLst>
        </pc:grpChg>
        <pc:graphicFrameChg chg="mod">
          <ac:chgData name="Aurelien Domont" userId="6da7715ce44349b3" providerId="LiveId" clId="{9149B00E-810E-48AB-9153-54C78195225C}" dt="2023-11-22T00:07:23.867" v="3238"/>
          <ac:graphicFrameMkLst>
            <pc:docMk/>
            <pc:sldMk cId="2515676013" sldId="3293"/>
            <ac:graphicFrameMk id="6" creationId="{778C851D-18CB-71FD-A9DF-00B73F828263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3:19.776" v="678"/>
          <ac:graphicFrameMkLst>
            <pc:docMk/>
            <pc:sldMk cId="2515676013" sldId="3293"/>
            <ac:graphicFrameMk id="17" creationId="{F3A79089-9773-23C8-24A0-1AA51B0CB83B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3:22.836" v="748"/>
          <ac:graphicFrameMkLst>
            <pc:docMk/>
            <pc:sldMk cId="2515676013" sldId="3293"/>
            <ac:graphicFrameMk id="19" creationId="{CA759364-7393-5AE4-796E-9012F3C4BEB8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3:28.191" v="818"/>
          <ac:graphicFrameMkLst>
            <pc:docMk/>
            <pc:sldMk cId="2515676013" sldId="3293"/>
            <ac:graphicFrameMk id="29" creationId="{AB23D860-8FDE-7CA5-8EAF-28CAE1202C87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3:31.870" v="884"/>
          <ac:graphicFrameMkLst>
            <pc:docMk/>
            <pc:sldMk cId="2515676013" sldId="3293"/>
            <ac:graphicFrameMk id="31" creationId="{EF5C6BD3-8D6F-0FEA-A918-65E12FE6A9B3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4:03.538" v="1022"/>
          <ac:graphicFrameMkLst>
            <pc:docMk/>
            <pc:sldMk cId="2515676013" sldId="3293"/>
            <ac:graphicFrameMk id="33" creationId="{454419B8-C551-67A3-3ABD-CDF4111478D2}"/>
          </ac:graphicFrameMkLst>
        </pc:graphicFrameChg>
        <pc:graphicFrameChg chg="add mod ord replST delST">
          <ac:chgData name="Aurelien Domont" userId="6da7715ce44349b3" providerId="LiveId" clId="{9149B00E-810E-48AB-9153-54C78195225C}" dt="2023-11-22T00:04:00.664" v="968"/>
          <ac:graphicFrameMkLst>
            <pc:docMk/>
            <pc:sldMk cId="2515676013" sldId="3293"/>
            <ac:graphicFrameMk id="34" creationId="{35377889-5B91-B967-0A82-5F83E55AFD93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4:29.738" v="1170"/>
          <ac:graphicFrameMkLst>
            <pc:docMk/>
            <pc:sldMk cId="2515676013" sldId="3293"/>
            <ac:graphicFrameMk id="36" creationId="{372BC899-565C-F92E-97DD-A827C2BF20FE}"/>
          </ac:graphicFrameMkLst>
        </pc:graphicFrameChg>
        <pc:graphicFrameChg chg="add mod ord replST delST">
          <ac:chgData name="Aurelien Domont" userId="6da7715ce44349b3" providerId="LiveId" clId="{9149B00E-810E-48AB-9153-54C78195225C}" dt="2023-11-22T00:04:15.721" v="1108"/>
          <ac:graphicFrameMkLst>
            <pc:docMk/>
            <pc:sldMk cId="2515676013" sldId="3293"/>
            <ac:graphicFrameMk id="37" creationId="{C498A208-1F20-118A-9E95-2BB5E2272903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4:36.002" v="1234"/>
          <ac:graphicFrameMkLst>
            <pc:docMk/>
            <pc:sldMk cId="2515676013" sldId="3293"/>
            <ac:graphicFrameMk id="39" creationId="{89BF95C0-B66E-03BA-360D-1FD1ACD1D703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4:39.739" v="1280"/>
          <ac:graphicFrameMkLst>
            <pc:docMk/>
            <pc:sldMk cId="2515676013" sldId="3293"/>
            <ac:graphicFrameMk id="41" creationId="{618FF40E-41A0-96C2-36AD-189C5C50BBF2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4:42.127" v="1319"/>
          <ac:graphicFrameMkLst>
            <pc:docMk/>
            <pc:sldMk cId="2515676013" sldId="3293"/>
            <ac:graphicFrameMk id="53" creationId="{C61882FE-7A84-964C-8338-4417AA4D9C51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4:53.380" v="1416"/>
          <ac:graphicFrameMkLst>
            <pc:docMk/>
            <pc:sldMk cId="2515676013" sldId="3293"/>
            <ac:graphicFrameMk id="54" creationId="{F788E63A-950B-35A5-F816-363E77082AAB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5:00.336" v="1456"/>
          <ac:graphicFrameMkLst>
            <pc:docMk/>
            <pc:sldMk cId="2515676013" sldId="3293"/>
            <ac:graphicFrameMk id="57" creationId="{6D81448C-3BA5-2D35-860E-2EE4DF38B4EC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5:02.203" v="1553"/>
          <ac:graphicFrameMkLst>
            <pc:docMk/>
            <pc:sldMk cId="2515676013" sldId="3293"/>
            <ac:graphicFrameMk id="58" creationId="{1E694706-27B0-2892-1CD6-62A9228674D7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5:06.523" v="1593"/>
          <ac:graphicFrameMkLst>
            <pc:docMk/>
            <pc:sldMk cId="2515676013" sldId="3293"/>
            <ac:graphicFrameMk id="61" creationId="{A8C55075-EA5B-0351-8ED4-5965A253CF55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5:11.984" v="1650"/>
          <ac:graphicFrameMkLst>
            <pc:docMk/>
            <pc:sldMk cId="2515676013" sldId="3293"/>
            <ac:graphicFrameMk id="62" creationId="{38A78FC5-C2F4-7243-386D-F2A23193B193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5:18.545" v="1750"/>
          <ac:graphicFrameMkLst>
            <pc:docMk/>
            <pc:sldMk cId="2515676013" sldId="3293"/>
            <ac:graphicFrameMk id="64" creationId="{137E41B1-7AAE-76DF-5937-31EBEFA01B4D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5:21.967" v="1790"/>
          <ac:graphicFrameMkLst>
            <pc:docMk/>
            <pc:sldMk cId="2515676013" sldId="3293"/>
            <ac:graphicFrameMk id="67" creationId="{DC3C15C4-4AE0-E80A-4BA5-2DAB35875F50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5:24.919" v="2082"/>
          <ac:graphicFrameMkLst>
            <pc:docMk/>
            <pc:sldMk cId="2515676013" sldId="3293"/>
            <ac:graphicFrameMk id="68" creationId="{CC1273CA-0478-84BF-A7E7-3ED177EB7614}"/>
          </ac:graphicFrameMkLst>
        </pc:graphicFrameChg>
        <pc:graphicFrameChg chg="add mod ord replST delST">
          <ac:chgData name="Aurelien Domont" userId="6da7715ce44349b3" providerId="LiveId" clId="{9149B00E-810E-48AB-9153-54C78195225C}" dt="2023-11-22T00:05:23.961" v="1984"/>
          <ac:graphicFrameMkLst>
            <pc:docMk/>
            <pc:sldMk cId="2515676013" sldId="3293"/>
            <ac:graphicFrameMk id="71" creationId="{CB659D93-3FB6-FE27-9689-95CB70972486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5:26.628" v="2122"/>
          <ac:graphicFrameMkLst>
            <pc:docMk/>
            <pc:sldMk cId="2515676013" sldId="3293"/>
            <ac:graphicFrameMk id="74" creationId="{EE3777F5-5638-8BA7-44B1-DA63AD6753F3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5:28.796" v="2220"/>
          <ac:graphicFrameMkLst>
            <pc:docMk/>
            <pc:sldMk cId="2515676013" sldId="3293"/>
            <ac:graphicFrameMk id="75" creationId="{026ADD3D-614A-E4EF-E55F-B4E28EE349F6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5:37.414" v="2260"/>
          <ac:graphicFrameMkLst>
            <pc:docMk/>
            <pc:sldMk cId="2515676013" sldId="3293"/>
            <ac:graphicFrameMk id="78" creationId="{E39C7C5A-293D-2D01-EBCF-5733F5A4798A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6:14.627" v="2294"/>
          <ac:graphicFrameMkLst>
            <pc:docMk/>
            <pc:sldMk cId="2515676013" sldId="3293"/>
            <ac:graphicFrameMk id="79" creationId="{8476F451-98FA-CB63-D522-CDE374C0E831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6:31.076" v="2523"/>
          <ac:graphicFrameMkLst>
            <pc:docMk/>
            <pc:sldMk cId="2515676013" sldId="3293"/>
            <ac:graphicFrameMk id="84" creationId="{B328F1EF-0E35-F5DF-B8F5-9BF137EF29CD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6:34.404" v="2593"/>
          <ac:graphicFrameMkLst>
            <pc:docMk/>
            <pc:sldMk cId="2515676013" sldId="3293"/>
            <ac:graphicFrameMk id="86" creationId="{CBEE21DA-F296-2E83-3F36-FC5D3DC3BCBE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6:35.613" v="2663"/>
          <ac:graphicFrameMkLst>
            <pc:docMk/>
            <pc:sldMk cId="2515676013" sldId="3293"/>
            <ac:graphicFrameMk id="88" creationId="{1E81DC37-3AD1-2EA0-C3D6-4FFE48EF74E3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6:36.902" v="2733"/>
          <ac:graphicFrameMkLst>
            <pc:docMk/>
            <pc:sldMk cId="2515676013" sldId="3293"/>
            <ac:graphicFrameMk id="90" creationId="{8762F60B-323F-BD1A-C364-24CC832C20B2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6:39.615" v="2780"/>
          <ac:graphicFrameMkLst>
            <pc:docMk/>
            <pc:sldMk cId="2515676013" sldId="3293"/>
            <ac:graphicFrameMk id="92" creationId="{AC2B8612-42F1-2F54-A29A-57970BBB7803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6:45.641" v="2824"/>
          <ac:graphicFrameMkLst>
            <pc:docMk/>
            <pc:sldMk cId="2515676013" sldId="3293"/>
            <ac:graphicFrameMk id="93" creationId="{AE5184A9-9AB4-EF8C-4250-3C4C8F4C77E3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6:47.431" v="2867"/>
          <ac:graphicFrameMkLst>
            <pc:docMk/>
            <pc:sldMk cId="2515676013" sldId="3293"/>
            <ac:graphicFrameMk id="94" creationId="{00462FA6-AB6B-34F8-EC62-E418F56E8C1A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7:05.433" v="2933"/>
          <ac:graphicFrameMkLst>
            <pc:docMk/>
            <pc:sldMk cId="2515676013" sldId="3293"/>
            <ac:graphicFrameMk id="95" creationId="{3DF2827F-EB99-6B17-C05D-F8AC95BE69D5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7:08.811" v="3001"/>
          <ac:graphicFrameMkLst>
            <pc:docMk/>
            <pc:sldMk cId="2515676013" sldId="3293"/>
            <ac:graphicFrameMk id="97" creationId="{432DA765-6461-9914-CF9B-78E658195D34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7:10.915" v="3065"/>
          <ac:graphicFrameMkLst>
            <pc:docMk/>
            <pc:sldMk cId="2515676013" sldId="3293"/>
            <ac:graphicFrameMk id="99" creationId="{44D30A64-C9C1-5419-2CB5-D34DC700D39A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7:11.668" v="3129"/>
          <ac:graphicFrameMkLst>
            <pc:docMk/>
            <pc:sldMk cId="2515676013" sldId="3293"/>
            <ac:graphicFrameMk id="101" creationId="{C1D2832F-36AF-7C30-42DB-10D44BCCC4BE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7:23.835" v="3206"/>
          <ac:graphicFrameMkLst>
            <pc:docMk/>
            <pc:sldMk cId="2515676013" sldId="3293"/>
            <ac:graphicFrameMk id="103" creationId="{F8DA20C2-DD96-D1F3-A1AF-4B9AFBFB4FDC}"/>
          </ac:graphicFrameMkLst>
        </pc:graphicFrameChg>
        <pc:graphicFrameChg chg="add mod ord replST">
          <ac:chgData name="Aurelien Domont" userId="6da7715ce44349b3" providerId="LiveId" clId="{9149B00E-810E-48AB-9153-54C78195225C}" dt="2023-11-22T00:07:23.851" v="3230"/>
          <ac:graphicFrameMkLst>
            <pc:docMk/>
            <pc:sldMk cId="2515676013" sldId="3293"/>
            <ac:graphicFrameMk id="105" creationId="{6BC9BA87-1840-9089-AD9A-A69485EDD43E}"/>
          </ac:graphicFrameMkLst>
        </pc:graphicFrameChg>
        <pc:cxnChg chg="mod ord">
          <ac:chgData name="Aurelien Domont" userId="6da7715ce44349b3" providerId="LiveId" clId="{9149B00E-810E-48AB-9153-54C78195225C}" dt="2023-11-22T00:07:23.851" v="3220"/>
          <ac:cxnSpMkLst>
            <pc:docMk/>
            <pc:sldMk cId="2515676013" sldId="3293"/>
            <ac:cxnSpMk id="26" creationId="{EFA8D06F-3DCC-7731-801E-82BF97521AA1}"/>
          </ac:cxnSpMkLst>
        </pc:cxnChg>
      </pc:sldChg>
      <pc:sldChg chg="addSp delSp modSp add mod">
        <pc:chgData name="Aurelien Domont" userId="6da7715ce44349b3" providerId="LiveId" clId="{9149B00E-810E-48AB-9153-54C78195225C}" dt="2023-11-22T00:20:39.591" v="5444" actId="20577"/>
        <pc:sldMkLst>
          <pc:docMk/>
          <pc:sldMk cId="2839640228" sldId="3294"/>
        </pc:sldMkLst>
        <pc:spChg chg="mod ord">
          <ac:chgData name="Aurelien Domont" userId="6da7715ce44349b3" providerId="LiveId" clId="{9149B00E-810E-48AB-9153-54C78195225C}" dt="2023-11-22T00:14:49.361" v="5256" actId="948"/>
          <ac:spMkLst>
            <pc:docMk/>
            <pc:sldMk cId="2839640228" sldId="3294"/>
            <ac:spMk id="2" creationId="{34A2542B-43BB-B3BF-4169-708E55855120}"/>
          </ac:spMkLst>
        </pc:spChg>
        <pc:spChg chg="add del mod modVis">
          <ac:chgData name="Aurelien Domont" userId="6da7715ce44349b3" providerId="LiveId" clId="{9149B00E-810E-48AB-9153-54C78195225C}" dt="2023-11-22T00:07:55.580" v="3272"/>
          <ac:spMkLst>
            <pc:docMk/>
            <pc:sldMk cId="2839640228" sldId="3294"/>
            <ac:spMk id="3" creationId="{99495F70-8D7E-3A4C-9660-D04B8E015C8E}"/>
          </ac:spMkLst>
        </pc:spChg>
        <pc:spChg chg="add mod replST">
          <ac:chgData name="Aurelien Domont" userId="6da7715ce44349b3" providerId="LiveId" clId="{9149B00E-810E-48AB-9153-54C78195225C}" dt="2023-11-22T00:14:21.918" v="5037"/>
          <ac:spMkLst>
            <pc:docMk/>
            <pc:sldMk cId="2839640228" sldId="3294"/>
            <ac:spMk id="4" creationId="{82794C23-56FA-458F-B8C8-BCB8C0512CB9}"/>
          </ac:spMkLst>
        </pc:spChg>
        <pc:spChg chg="add del mod modVis">
          <ac:chgData name="Aurelien Domont" userId="6da7715ce44349b3" providerId="LiveId" clId="{9149B00E-810E-48AB-9153-54C78195225C}" dt="2023-11-22T00:08:09.941" v="3764"/>
          <ac:spMkLst>
            <pc:docMk/>
            <pc:sldMk cId="2839640228" sldId="3294"/>
            <ac:spMk id="5" creationId="{CE0660B3-6793-5852-751A-EC18D3094BEA}"/>
          </ac:spMkLst>
        </pc:spChg>
        <pc:spChg chg="add del mod replST">
          <ac:chgData name="Aurelien Domont" userId="6da7715ce44349b3" providerId="LiveId" clId="{9149B00E-810E-48AB-9153-54C78195225C}" dt="2023-11-22T00:08:35.595" v="3907"/>
          <ac:spMkLst>
            <pc:docMk/>
            <pc:sldMk cId="2839640228" sldId="3294"/>
            <ac:spMk id="7" creationId="{09ECB1DE-4317-15BB-6731-A516A84540E3}"/>
          </ac:spMkLst>
        </pc:spChg>
        <pc:spChg chg="mod ord">
          <ac:chgData name="Aurelien Domont" userId="6da7715ce44349b3" providerId="LiveId" clId="{9149B00E-810E-48AB-9153-54C78195225C}" dt="2023-11-22T00:14:21.918" v="5032"/>
          <ac:spMkLst>
            <pc:docMk/>
            <pc:sldMk cId="2839640228" sldId="3294"/>
            <ac:spMk id="8" creationId="{4DC3721D-2A17-C6E1-1E60-37861DCFF387}"/>
          </ac:spMkLst>
        </pc:spChg>
        <pc:spChg chg="mod ord">
          <ac:chgData name="Aurelien Domont" userId="6da7715ce44349b3" providerId="LiveId" clId="{9149B00E-810E-48AB-9153-54C78195225C}" dt="2023-11-22T00:14:21.918" v="5034"/>
          <ac:spMkLst>
            <pc:docMk/>
            <pc:sldMk cId="2839640228" sldId="3294"/>
            <ac:spMk id="9" creationId="{C1F162A5-2466-AD19-C49B-B28E524212CD}"/>
          </ac:spMkLst>
        </pc:spChg>
        <pc:spChg chg="add del mod replST">
          <ac:chgData name="Aurelien Domont" userId="6da7715ce44349b3" providerId="LiveId" clId="{9149B00E-810E-48AB-9153-54C78195225C}" dt="2023-11-22T00:08:35.595" v="3909"/>
          <ac:spMkLst>
            <pc:docMk/>
            <pc:sldMk cId="2839640228" sldId="3294"/>
            <ac:spMk id="10" creationId="{82C1240E-132B-8AC2-C370-C5668BF034BA}"/>
          </ac:spMkLst>
        </pc:spChg>
        <pc:spChg chg="add del mod replST">
          <ac:chgData name="Aurelien Domont" userId="6da7715ce44349b3" providerId="LiveId" clId="{9149B00E-810E-48AB-9153-54C78195225C}" dt="2023-11-22T00:09:30.652" v="4280"/>
          <ac:spMkLst>
            <pc:docMk/>
            <pc:sldMk cId="2839640228" sldId="3294"/>
            <ac:spMk id="11" creationId="{A291141E-BC30-2170-E680-1E59F49064B0}"/>
          </ac:spMkLst>
        </pc:spChg>
        <pc:spChg chg="add del mod replST">
          <ac:chgData name="Aurelien Domont" userId="6da7715ce44349b3" providerId="LiveId" clId="{9149B00E-810E-48AB-9153-54C78195225C}" dt="2023-11-22T00:08:24.099" v="3767"/>
          <ac:spMkLst>
            <pc:docMk/>
            <pc:sldMk cId="2839640228" sldId="3294"/>
            <ac:spMk id="12" creationId="{42CC611C-0050-DEFA-BB5B-9F8539BE5092}"/>
          </ac:spMkLst>
        </pc:spChg>
        <pc:spChg chg="add del mod replST">
          <ac:chgData name="Aurelien Domont" userId="6da7715ce44349b3" providerId="LiveId" clId="{9149B00E-810E-48AB-9153-54C78195225C}" dt="2023-11-22T00:08:24.099" v="3768"/>
          <ac:spMkLst>
            <pc:docMk/>
            <pc:sldMk cId="2839640228" sldId="3294"/>
            <ac:spMk id="13" creationId="{04275FCE-1376-2F38-D8BA-D069CB0C4479}"/>
          </ac:spMkLst>
        </pc:spChg>
        <pc:spChg chg="add del mod replST">
          <ac:chgData name="Aurelien Domont" userId="6da7715ce44349b3" providerId="LiveId" clId="{9149B00E-810E-48AB-9153-54C78195225C}" dt="2023-11-22T00:08:24.196" v="3828"/>
          <ac:spMkLst>
            <pc:docMk/>
            <pc:sldMk cId="2839640228" sldId="3294"/>
            <ac:spMk id="14" creationId="{67BACE46-57C0-2421-552F-32BAC18C455B}"/>
          </ac:spMkLst>
        </pc:spChg>
        <pc:spChg chg="add del mod replST">
          <ac:chgData name="Aurelien Domont" userId="6da7715ce44349b3" providerId="LiveId" clId="{9149B00E-810E-48AB-9153-54C78195225C}" dt="2023-11-22T00:08:24.196" v="3829"/>
          <ac:spMkLst>
            <pc:docMk/>
            <pc:sldMk cId="2839640228" sldId="3294"/>
            <ac:spMk id="15" creationId="{DD09332B-659F-1072-EA24-C4167FCC7F76}"/>
          </ac:spMkLst>
        </pc:spChg>
        <pc:spChg chg="add del mod replST">
          <ac:chgData name="Aurelien Domont" userId="6da7715ce44349b3" providerId="LiveId" clId="{9149B00E-810E-48AB-9153-54C78195225C}" dt="2023-11-22T00:08:24.196" v="3830"/>
          <ac:spMkLst>
            <pc:docMk/>
            <pc:sldMk cId="2839640228" sldId="3294"/>
            <ac:spMk id="16" creationId="{D6248EB0-A1AF-E781-1284-26A592874362}"/>
          </ac:spMkLst>
        </pc:spChg>
        <pc:spChg chg="add del mod modVis">
          <ac:chgData name="Aurelien Domont" userId="6da7715ce44349b3" providerId="LiveId" clId="{9149B00E-810E-48AB-9153-54C78195225C}" dt="2023-11-22T00:08:24.225" v="3866"/>
          <ac:spMkLst>
            <pc:docMk/>
            <pc:sldMk cId="2839640228" sldId="3294"/>
            <ac:spMk id="18" creationId="{22BB9EBB-C3C2-2CE4-0EC3-652C503D263F}"/>
          </ac:spMkLst>
        </pc:spChg>
        <pc:spChg chg="mod">
          <ac:chgData name="Aurelien Domont" userId="6da7715ce44349b3" providerId="LiveId" clId="{9149B00E-810E-48AB-9153-54C78195225C}" dt="2023-11-22T00:11:34.947" v="4843" actId="20577"/>
          <ac:spMkLst>
            <pc:docMk/>
            <pc:sldMk cId="2839640228" sldId="3294"/>
            <ac:spMk id="25" creationId="{F6154472-D7ED-9B87-478B-97EDC93E23DA}"/>
          </ac:spMkLst>
        </pc:spChg>
        <pc:spChg chg="mod ord">
          <ac:chgData name="Aurelien Domont" userId="6da7715ce44349b3" providerId="LiveId" clId="{9149B00E-810E-48AB-9153-54C78195225C}" dt="2023-11-22T00:20:39.591" v="5444" actId="20577"/>
          <ac:spMkLst>
            <pc:docMk/>
            <pc:sldMk cId="2839640228" sldId="3294"/>
            <ac:spMk id="27" creationId="{11297F6C-D1F5-9B4A-D4A1-3C545BEDB932}"/>
          </ac:spMkLst>
        </pc:spChg>
        <pc:spChg chg="add del mod modVis">
          <ac:chgData name="Aurelien Domont" userId="6da7715ce44349b3" providerId="LiveId" clId="{9149B00E-810E-48AB-9153-54C78195225C}" dt="2023-11-22T00:08:35.642" v="3947"/>
          <ac:spMkLst>
            <pc:docMk/>
            <pc:sldMk cId="2839640228" sldId="3294"/>
            <ac:spMk id="28" creationId="{337A974D-8AAA-121D-5BEB-B0FEEF260B89}"/>
          </ac:spMkLst>
        </pc:spChg>
        <pc:spChg chg="add mod replST">
          <ac:chgData name="Aurelien Domont" userId="6da7715ce44349b3" providerId="LiveId" clId="{9149B00E-810E-48AB-9153-54C78195225C}" dt="2023-11-22T00:14:21.918" v="5038"/>
          <ac:spMkLst>
            <pc:docMk/>
            <pc:sldMk cId="2839640228" sldId="3294"/>
            <ac:spMk id="30" creationId="{071A5276-99D6-E0CC-A4AF-8B521BF45C37}"/>
          </ac:spMkLst>
        </pc:spChg>
        <pc:spChg chg="add del mod modVis">
          <ac:chgData name="Aurelien Domont" userId="6da7715ce44349b3" providerId="LiveId" clId="{9149B00E-810E-48AB-9153-54C78195225C}" dt="2023-11-22T00:08:40.102" v="4027"/>
          <ac:spMkLst>
            <pc:docMk/>
            <pc:sldMk cId="2839640228" sldId="3294"/>
            <ac:spMk id="31" creationId="{F817CD9E-9D0F-6753-2436-22C1040F2144}"/>
          </ac:spMkLst>
        </pc:spChg>
        <pc:spChg chg="add del mod modVis">
          <ac:chgData name="Aurelien Domont" userId="6da7715ce44349b3" providerId="LiveId" clId="{9149B00E-810E-48AB-9153-54C78195225C}" dt="2023-11-22T00:08:57.653" v="4126"/>
          <ac:spMkLst>
            <pc:docMk/>
            <pc:sldMk cId="2839640228" sldId="3294"/>
            <ac:spMk id="34" creationId="{3C217671-560B-BCF3-35C3-8AC1A90F952E}"/>
          </ac:spMkLst>
        </pc:spChg>
        <pc:spChg chg="add del mod modVis">
          <ac:chgData name="Aurelien Domont" userId="6da7715ce44349b3" providerId="LiveId" clId="{9149B00E-810E-48AB-9153-54C78195225C}" dt="2023-11-22T00:09:02.035" v="4186"/>
          <ac:spMkLst>
            <pc:docMk/>
            <pc:sldMk cId="2839640228" sldId="3294"/>
            <ac:spMk id="36" creationId="{A2B7FC81-1BF0-FA55-EF47-1A9B2CBB564D}"/>
          </ac:spMkLst>
        </pc:spChg>
        <pc:spChg chg="add del mod replST">
          <ac:chgData name="Aurelien Domont" userId="6da7715ce44349b3" providerId="LiveId" clId="{9149B00E-810E-48AB-9153-54C78195225C}" dt="2023-11-22T00:09:37.112" v="4420"/>
          <ac:spMkLst>
            <pc:docMk/>
            <pc:sldMk cId="2839640228" sldId="3294"/>
            <ac:spMk id="41" creationId="{C21CFA39-9C5F-90E6-301F-DF241F56941A}"/>
          </ac:spMkLst>
        </pc:spChg>
        <pc:spChg chg="add del mod modVis">
          <ac:chgData name="Aurelien Domont" userId="6da7715ce44349b3" providerId="LiveId" clId="{9149B00E-810E-48AB-9153-54C78195225C}" dt="2023-11-22T00:09:33.863" v="4413"/>
          <ac:spMkLst>
            <pc:docMk/>
            <pc:sldMk cId="2839640228" sldId="3294"/>
            <ac:spMk id="42" creationId="{FEA049EE-45F5-A3E9-355A-132E49218CFB}"/>
          </ac:spMkLst>
        </pc:spChg>
        <pc:spChg chg="add del mod modVis">
          <ac:chgData name="Aurelien Domont" userId="6da7715ce44349b3" providerId="LiveId" clId="{9149B00E-810E-48AB-9153-54C78195225C}" dt="2023-11-22T00:09:43.677" v="4508"/>
          <ac:spMkLst>
            <pc:docMk/>
            <pc:sldMk cId="2839640228" sldId="3294"/>
            <ac:spMk id="45" creationId="{69CDF4A7-0E1C-75BD-358D-9DEBC6E46803}"/>
          </ac:spMkLst>
        </pc:spChg>
        <pc:spChg chg="add del mod replST">
          <ac:chgData name="Aurelien Domont" userId="6da7715ce44349b3" providerId="LiveId" clId="{9149B00E-810E-48AB-9153-54C78195225C}" dt="2023-11-22T00:10:08.600" v="4650"/>
          <ac:spMkLst>
            <pc:docMk/>
            <pc:sldMk cId="2839640228" sldId="3294"/>
            <ac:spMk id="48" creationId="{8C474293-2DE6-A27B-4266-6DEB562412C0}"/>
          </ac:spMkLst>
        </pc:spChg>
        <pc:spChg chg="add del mod modVis">
          <ac:chgData name="Aurelien Domont" userId="6da7715ce44349b3" providerId="LiveId" clId="{9149B00E-810E-48AB-9153-54C78195225C}" dt="2023-11-22T00:10:03.296" v="4643"/>
          <ac:spMkLst>
            <pc:docMk/>
            <pc:sldMk cId="2839640228" sldId="3294"/>
            <ac:spMk id="49" creationId="{5FB49D4C-251A-08A9-02A9-52A1697CFF76}"/>
          </ac:spMkLst>
        </pc:spChg>
        <pc:spChg chg="mod ord">
          <ac:chgData name="Aurelien Domont" userId="6da7715ce44349b3" providerId="LiveId" clId="{9149B00E-810E-48AB-9153-54C78195225C}" dt="2023-11-22T00:14:21.918" v="5030"/>
          <ac:spMkLst>
            <pc:docMk/>
            <pc:sldMk cId="2839640228" sldId="3294"/>
            <ac:spMk id="52" creationId="{E68E3337-3CAB-5867-805E-B494A4F01F7C}"/>
          </ac:spMkLst>
        </pc:spChg>
        <pc:spChg chg="add del mod modVis">
          <ac:chgData name="Aurelien Domont" userId="6da7715ce44349b3" providerId="LiveId" clId="{9149B00E-810E-48AB-9153-54C78195225C}" dt="2023-11-22T00:10:12.368" v="4739"/>
          <ac:spMkLst>
            <pc:docMk/>
            <pc:sldMk cId="2839640228" sldId="3294"/>
            <ac:spMk id="53" creationId="{D5D2BC73-96DC-2E54-EB03-B83CE4A9C740}"/>
          </ac:spMkLst>
        </pc:spChg>
        <pc:spChg chg="add del mod modVis">
          <ac:chgData name="Aurelien Domont" userId="6da7715ce44349b3" providerId="LiveId" clId="{9149B00E-810E-48AB-9153-54C78195225C}" dt="2023-11-22T00:10:27.413" v="4818"/>
          <ac:spMkLst>
            <pc:docMk/>
            <pc:sldMk cId="2839640228" sldId="3294"/>
            <ac:spMk id="55" creationId="{B55408EA-B2F3-5F1A-B654-7181867D036D}"/>
          </ac:spMkLst>
        </pc:spChg>
        <pc:spChg chg="add del mod modVis">
          <ac:chgData name="Aurelien Domont" userId="6da7715ce44349b3" providerId="LiveId" clId="{9149B00E-810E-48AB-9153-54C78195225C}" dt="2023-11-22T00:14:19.625" v="4985"/>
          <ac:spMkLst>
            <pc:docMk/>
            <pc:sldMk cId="2839640228" sldId="3294"/>
            <ac:spMk id="59" creationId="{5194F385-A30A-9EA3-123D-B491B832A737}"/>
          </ac:spMkLst>
        </pc:spChg>
        <pc:spChg chg="add del mod modVis">
          <ac:chgData name="Aurelien Domont" userId="6da7715ce44349b3" providerId="LiveId" clId="{9149B00E-810E-48AB-9153-54C78195225C}" dt="2023-11-22T00:14:21.933" v="5042"/>
          <ac:spMkLst>
            <pc:docMk/>
            <pc:sldMk cId="2839640228" sldId="3294"/>
            <ac:spMk id="61" creationId="{F3BDA5AE-A418-B7E5-2914-C1D5691F3A9B}"/>
          </ac:spMkLst>
        </pc:spChg>
        <pc:spChg chg="add del mod modVis">
          <ac:chgData name="Aurelien Domont" userId="6da7715ce44349b3" providerId="LiveId" clId="{9149B00E-810E-48AB-9153-54C78195225C}" dt="2023-11-22T00:14:36.679" v="5077"/>
          <ac:spMkLst>
            <pc:docMk/>
            <pc:sldMk cId="2839640228" sldId="3294"/>
            <ac:spMk id="63" creationId="{EEF931B9-4EAD-B532-C979-B3C84D02F8BB}"/>
          </ac:spMkLst>
        </pc:spChg>
        <pc:spChg chg="add del mod modVis">
          <ac:chgData name="Aurelien Domont" userId="6da7715ce44349b3" providerId="LiveId" clId="{9149B00E-810E-48AB-9153-54C78195225C}" dt="2023-11-22T00:14:38.330" v="5114"/>
          <ac:spMkLst>
            <pc:docMk/>
            <pc:sldMk cId="2839640228" sldId="3294"/>
            <ac:spMk id="64" creationId="{7A72DF99-26D8-EBAA-F557-D0588863A505}"/>
          </ac:spMkLst>
        </pc:spChg>
        <pc:spChg chg="add del mod modVis">
          <ac:chgData name="Aurelien Domont" userId="6da7715ce44349b3" providerId="LiveId" clId="{9149B00E-810E-48AB-9153-54C78195225C}" dt="2023-11-22T00:14:40.925" v="5155"/>
          <ac:spMkLst>
            <pc:docMk/>
            <pc:sldMk cId="2839640228" sldId="3294"/>
            <ac:spMk id="65" creationId="{8F89A47F-4845-D7D4-C668-F9C0D0645D8C}"/>
          </ac:spMkLst>
        </pc:spChg>
        <pc:spChg chg="add del mod modVis">
          <ac:chgData name="Aurelien Domont" userId="6da7715ce44349b3" providerId="LiveId" clId="{9149B00E-810E-48AB-9153-54C78195225C}" dt="2023-11-22T00:14:41.820" v="5187"/>
          <ac:spMkLst>
            <pc:docMk/>
            <pc:sldMk cId="2839640228" sldId="3294"/>
            <ac:spMk id="66" creationId="{7D0BFAD8-4283-E584-C6A7-7442F7C250AF}"/>
          </ac:spMkLst>
        </pc:spChg>
        <pc:spChg chg="add del mod modVis">
          <ac:chgData name="Aurelien Domont" userId="6da7715ce44349b3" providerId="LiveId" clId="{9149B00E-810E-48AB-9153-54C78195225C}" dt="2023-11-22T00:14:42.667" v="5219"/>
          <ac:spMkLst>
            <pc:docMk/>
            <pc:sldMk cId="2839640228" sldId="3294"/>
            <ac:spMk id="67" creationId="{8BA0E231-0743-A2E6-B218-8F883A9AA913}"/>
          </ac:spMkLst>
        </pc:spChg>
        <pc:spChg chg="add del mod modVis">
          <ac:chgData name="Aurelien Domont" userId="6da7715ce44349b3" providerId="LiveId" clId="{9149B00E-810E-48AB-9153-54C78195225C}" dt="2023-11-22T00:14:44.208" v="5252"/>
          <ac:spMkLst>
            <pc:docMk/>
            <pc:sldMk cId="2839640228" sldId="3294"/>
            <ac:spMk id="68" creationId="{5AA53D87-0D16-14EB-8FBC-6FAB98401E0C}"/>
          </ac:spMkLst>
        </pc:spChg>
        <pc:spChg chg="add del mod modVis">
          <ac:chgData name="Aurelien Domont" userId="6da7715ce44349b3" providerId="LiveId" clId="{9149B00E-810E-48AB-9153-54C78195225C}" dt="2023-11-22T00:14:49.393" v="5284"/>
          <ac:spMkLst>
            <pc:docMk/>
            <pc:sldMk cId="2839640228" sldId="3294"/>
            <ac:spMk id="69" creationId="{260670E0-8D84-F628-6782-41B96D9C2DD8}"/>
          </ac:spMkLst>
        </pc:spChg>
        <pc:spChg chg="del">
          <ac:chgData name="Aurelien Domont" userId="6da7715ce44349b3" providerId="LiveId" clId="{9149B00E-810E-48AB-9153-54C78195225C}" dt="2023-11-22T00:07:55.549" v="3241"/>
          <ac:spMkLst>
            <pc:docMk/>
            <pc:sldMk cId="2839640228" sldId="3294"/>
            <ac:spMk id="81" creationId="{21F40025-3726-C86E-230B-BA3AF697714C}"/>
          </ac:spMkLst>
        </pc:spChg>
        <pc:spChg chg="del">
          <ac:chgData name="Aurelien Domont" userId="6da7715ce44349b3" providerId="LiveId" clId="{9149B00E-810E-48AB-9153-54C78195225C}" dt="2023-11-22T00:07:55.549" v="3240"/>
          <ac:spMkLst>
            <pc:docMk/>
            <pc:sldMk cId="2839640228" sldId="3294"/>
            <ac:spMk id="82" creationId="{4EF01FA5-64F8-5BEF-8C42-D26F0EFC02CE}"/>
          </ac:spMkLst>
        </pc:spChg>
        <pc:grpChg chg="mod ord">
          <ac:chgData name="Aurelien Domont" userId="6da7715ce44349b3" providerId="LiveId" clId="{9149B00E-810E-48AB-9153-54C78195225C}" dt="2023-11-22T00:14:21.902" v="5022"/>
          <ac:grpSpMkLst>
            <pc:docMk/>
            <pc:sldMk cId="2839640228" sldId="3294"/>
            <ac:grpSpMk id="20" creationId="{F346964D-A932-05EB-E307-5DE6E76C6ACB}"/>
          </ac:grpSpMkLst>
        </pc:grpChg>
        <pc:grpChg chg="mod ord">
          <ac:chgData name="Aurelien Domont" userId="6da7715ce44349b3" providerId="LiveId" clId="{9149B00E-810E-48AB-9153-54C78195225C}" dt="2023-11-22T00:14:21.918" v="5024"/>
          <ac:grpSpMkLst>
            <pc:docMk/>
            <pc:sldMk cId="2839640228" sldId="3294"/>
            <ac:grpSpMk id="23" creationId="{7234FE23-742D-5BB9-0223-ED4E0E1FFEFE}"/>
          </ac:grpSpMkLst>
        </pc:grpChg>
        <pc:graphicFrameChg chg="mod">
          <ac:chgData name="Aurelien Domont" userId="6da7715ce44349b3" providerId="LiveId" clId="{9149B00E-810E-48AB-9153-54C78195225C}" dt="2023-11-22T00:14:49.409" v="5286"/>
          <ac:graphicFrameMkLst>
            <pc:docMk/>
            <pc:sldMk cId="2839640228" sldId="3294"/>
            <ac:graphicFrameMk id="6" creationId="{778C851D-18CB-71FD-A9DF-00B73F828263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8:24.196" v="3834"/>
          <ac:graphicFrameMkLst>
            <pc:docMk/>
            <pc:sldMk cId="2839640228" sldId="3294"/>
            <ac:graphicFrameMk id="17" creationId="{99037574-C368-FC00-6123-3E0CFA669555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8:35.610" v="3917"/>
          <ac:graphicFrameMkLst>
            <pc:docMk/>
            <pc:sldMk cId="2839640228" sldId="3294"/>
            <ac:graphicFrameMk id="19" creationId="{C2B9007D-D76C-6ED4-BD45-F33513D70AF3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8:40.071" v="3996"/>
          <ac:graphicFrameMkLst>
            <pc:docMk/>
            <pc:sldMk cId="2839640228" sldId="3294"/>
            <ac:graphicFrameMk id="29" creationId="{CCF43D09-D05E-B7FE-723E-958066988B85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8:44.042" v="4037"/>
          <ac:graphicFrameMkLst>
            <pc:docMk/>
            <pc:sldMk cId="2839640228" sldId="3294"/>
            <ac:graphicFrameMk id="32" creationId="{C7FCF9FF-FC24-80BF-681A-FAEFDE5BC5B0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8:57.606" v="4095"/>
          <ac:graphicFrameMkLst>
            <pc:docMk/>
            <pc:sldMk cId="2839640228" sldId="3294"/>
            <ac:graphicFrameMk id="33" creationId="{2B8038B3-BB7D-741D-ED9C-A3B7C00BC9F4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9:02.003" v="4155"/>
          <ac:graphicFrameMkLst>
            <pc:docMk/>
            <pc:sldMk cId="2839640228" sldId="3294"/>
            <ac:graphicFrameMk id="35" creationId="{1640F1EF-026C-9F71-7DE2-342F7A7D9F66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9:19.096" v="4204"/>
          <ac:graphicFrameMkLst>
            <pc:docMk/>
            <pc:sldMk cId="2839640228" sldId="3294"/>
            <ac:graphicFrameMk id="37" creationId="{4A81FF2C-CDF3-773C-9056-37EACE73BF04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9:20.792" v="4248"/>
          <ac:graphicFrameMkLst>
            <pc:docMk/>
            <pc:sldMk cId="2839640228" sldId="3294"/>
            <ac:graphicFrameMk id="38" creationId="{EA078B50-847A-857F-836D-0D8B4A7A15FC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9:30.662" v="4285"/>
          <ac:graphicFrameMkLst>
            <pc:docMk/>
            <pc:sldMk cId="2839640228" sldId="3294"/>
            <ac:graphicFrameMk id="39" creationId="{49CF2D6D-E335-DD92-B0D3-930F98A5BAD9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9:33.832" v="4382"/>
          <ac:graphicFrameMkLst>
            <pc:docMk/>
            <pc:sldMk cId="2839640228" sldId="3294"/>
            <ac:graphicFrameMk id="40" creationId="{6E748533-3255-82A7-51DF-53ED207FFD5A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9:37.112" v="4422"/>
          <ac:graphicFrameMkLst>
            <pc:docMk/>
            <pc:sldMk cId="2839640228" sldId="3294"/>
            <ac:graphicFrameMk id="43" creationId="{8ACA268E-636D-13F3-4F2F-05397D66C2B2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9:43.630" v="4478"/>
          <ac:graphicFrameMkLst>
            <pc:docMk/>
            <pc:sldMk cId="2839640228" sldId="3294"/>
            <ac:graphicFrameMk id="44" creationId="{007F4C1A-5D11-67F4-787F-817A81687695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09:55.713" v="4515"/>
          <ac:graphicFrameMkLst>
            <pc:docMk/>
            <pc:sldMk cId="2839640228" sldId="3294"/>
            <ac:graphicFrameMk id="46" creationId="{B1540F15-D2B7-1C56-EE32-2C4AA7BD798D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10:03.265" v="4612"/>
          <ac:graphicFrameMkLst>
            <pc:docMk/>
            <pc:sldMk cId="2839640228" sldId="3294"/>
            <ac:graphicFrameMk id="47" creationId="{499E8AED-5B65-F947-4E4B-26A1C578EA74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10:08.600" v="4652"/>
          <ac:graphicFrameMkLst>
            <pc:docMk/>
            <pc:sldMk cId="2839640228" sldId="3294"/>
            <ac:graphicFrameMk id="50" creationId="{A7E6B99A-C8C9-BDB6-FEA1-B622377AC0FC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10:12.336" v="4709"/>
          <ac:graphicFrameMkLst>
            <pc:docMk/>
            <pc:sldMk cId="2839640228" sldId="3294"/>
            <ac:graphicFrameMk id="51" creationId="{DA34ED00-8AC4-4760-A6D9-4BD4F22D0511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10:27.381" v="4788"/>
          <ac:graphicFrameMkLst>
            <pc:docMk/>
            <pc:sldMk cId="2839640228" sldId="3294"/>
            <ac:graphicFrameMk id="54" creationId="{759673F8-794E-DB24-2B75-EDCE2C3D0B3A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12:04.565" v="4860"/>
          <ac:graphicFrameMkLst>
            <pc:docMk/>
            <pc:sldMk cId="2839640228" sldId="3294"/>
            <ac:graphicFrameMk id="56" creationId="{9B3D5BB6-0BEF-E658-6803-5F931A64891B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12:06.684" v="4900"/>
          <ac:graphicFrameMkLst>
            <pc:docMk/>
            <pc:sldMk cId="2839640228" sldId="3294"/>
            <ac:graphicFrameMk id="57" creationId="{7B5A8D9D-6557-1F2F-32E5-8E5FE143277D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14:19.578" v="4955"/>
          <ac:graphicFrameMkLst>
            <pc:docMk/>
            <pc:sldMk cId="2839640228" sldId="3294"/>
            <ac:graphicFrameMk id="58" creationId="{BF9414CC-AAA1-C8E1-D648-CA87DD868F92}"/>
          </ac:graphicFrameMkLst>
        </pc:graphicFrameChg>
        <pc:graphicFrameChg chg="add del mod ord replST">
          <ac:chgData name="Aurelien Domont" userId="6da7715ce44349b3" providerId="LiveId" clId="{9149B00E-810E-48AB-9153-54C78195225C}" dt="2023-11-22T00:14:21.871" v="5012"/>
          <ac:graphicFrameMkLst>
            <pc:docMk/>
            <pc:sldMk cId="2839640228" sldId="3294"/>
            <ac:graphicFrameMk id="60" creationId="{C002BEEE-B5BF-90CF-E260-4FFC8DE16BAC}"/>
          </ac:graphicFrameMkLst>
        </pc:graphicFrameChg>
        <pc:graphicFrameChg chg="add mod ord replST">
          <ac:chgData name="Aurelien Domont" userId="6da7715ce44349b3" providerId="LiveId" clId="{9149B00E-810E-48AB-9153-54C78195225C}" dt="2023-11-22T00:14:21.918" v="5036"/>
          <ac:graphicFrameMkLst>
            <pc:docMk/>
            <pc:sldMk cId="2839640228" sldId="3294"/>
            <ac:graphicFrameMk id="62" creationId="{58164416-0044-A8DB-4BDF-21B3468AFCE9}"/>
          </ac:graphicFrameMkLst>
        </pc:graphicFrameChg>
        <pc:graphicFrameChg chg="del">
          <ac:chgData name="Aurelien Domont" userId="6da7715ce44349b3" providerId="LiveId" clId="{9149B00E-810E-48AB-9153-54C78195225C}" dt="2023-11-22T00:07:55.549" v="3243"/>
          <ac:graphicFrameMkLst>
            <pc:docMk/>
            <pc:sldMk cId="2839640228" sldId="3294"/>
            <ac:graphicFrameMk id="105" creationId="{6BC9BA87-1840-9089-AD9A-A69485EDD43E}"/>
          </ac:graphicFrameMkLst>
        </pc:graphicFrameChg>
        <pc:cxnChg chg="mod ord">
          <ac:chgData name="Aurelien Domont" userId="6da7715ce44349b3" providerId="LiveId" clId="{9149B00E-810E-48AB-9153-54C78195225C}" dt="2023-11-22T00:14:21.918" v="5026"/>
          <ac:cxnSpMkLst>
            <pc:docMk/>
            <pc:sldMk cId="2839640228" sldId="3294"/>
            <ac:cxnSpMk id="26" creationId="{EFA8D06F-3DCC-7731-801E-82BF97521AA1}"/>
          </ac:cxnSpMkLst>
        </pc:cxnChg>
      </pc:sldChg>
      <pc:sldChg chg="addSp delSp modSp add del mod addCm delCm modCm modNotesTx">
        <pc:chgData name="Aurelien Domont" userId="6da7715ce44349b3" providerId="LiveId" clId="{9149B00E-810E-48AB-9153-54C78195225C}" dt="2023-11-24T06:13:17.339" v="7267" actId="47"/>
        <pc:sldMkLst>
          <pc:docMk/>
          <pc:sldMk cId="3022687460" sldId="3295"/>
        </pc:sldMkLst>
        <pc:spChg chg="add mod">
          <ac:chgData name="Aurelien Domont" userId="6da7715ce44349b3" providerId="LiveId" clId="{9149B00E-810E-48AB-9153-54C78195225C}" dt="2023-11-22T00:29:40.612" v="6126" actId="408"/>
          <ac:spMkLst>
            <pc:docMk/>
            <pc:sldMk cId="3022687460" sldId="3295"/>
            <ac:spMk id="3" creationId="{A9AD3861-6FA4-B3F4-F334-05F47222B5A4}"/>
          </ac:spMkLst>
        </pc:spChg>
        <pc:spChg chg="add mod">
          <ac:chgData name="Aurelien Domont" userId="6da7715ce44349b3" providerId="LiveId" clId="{9149B00E-810E-48AB-9153-54C78195225C}" dt="2023-11-22T02:26:42.435" v="6290" actId="20577"/>
          <ac:spMkLst>
            <pc:docMk/>
            <pc:sldMk cId="3022687460" sldId="3295"/>
            <ac:spMk id="4" creationId="{B2CAF000-1C65-ED69-7914-DC9BE4ABCFAB}"/>
          </ac:spMkLst>
        </pc:spChg>
        <pc:spChg chg="add mod">
          <ac:chgData name="Aurelien Domont" userId="6da7715ce44349b3" providerId="LiveId" clId="{9149B00E-810E-48AB-9153-54C78195225C}" dt="2023-11-22T00:29:40.612" v="6126" actId="408"/>
          <ac:spMkLst>
            <pc:docMk/>
            <pc:sldMk cId="3022687460" sldId="3295"/>
            <ac:spMk id="5" creationId="{736E5DD6-0DCB-801F-5229-3552AFBAD71D}"/>
          </ac:spMkLst>
        </pc:spChg>
        <pc:spChg chg="add mod">
          <ac:chgData name="Aurelien Domont" userId="6da7715ce44349b3" providerId="LiveId" clId="{9149B00E-810E-48AB-9153-54C78195225C}" dt="2023-11-22T00:29:40.612" v="6126" actId="408"/>
          <ac:spMkLst>
            <pc:docMk/>
            <pc:sldMk cId="3022687460" sldId="3295"/>
            <ac:spMk id="7" creationId="{51CEF7F3-3EA5-A7E9-CD47-74CEF1CBD3AA}"/>
          </ac:spMkLst>
        </pc:spChg>
        <pc:spChg chg="add mod">
          <ac:chgData name="Aurelien Domont" userId="6da7715ce44349b3" providerId="LiveId" clId="{9149B00E-810E-48AB-9153-54C78195225C}" dt="2023-11-22T00:28:48.405" v="6105" actId="14100"/>
          <ac:spMkLst>
            <pc:docMk/>
            <pc:sldMk cId="3022687460" sldId="3295"/>
            <ac:spMk id="10" creationId="{9D924D83-E0FB-A14F-5F7E-459DC94AF895}"/>
          </ac:spMkLst>
        </pc:spChg>
        <pc:spChg chg="add del mod">
          <ac:chgData name="Aurelien Domont" userId="6da7715ce44349b3" providerId="LiveId" clId="{9149B00E-810E-48AB-9153-54C78195225C}" dt="2023-11-22T00:29:06.457" v="6107" actId="478"/>
          <ac:spMkLst>
            <pc:docMk/>
            <pc:sldMk cId="3022687460" sldId="3295"/>
            <ac:spMk id="11" creationId="{5FF3A8CC-8A18-F6E7-8925-217442D2F7CA}"/>
          </ac:spMkLst>
        </pc:spChg>
        <pc:spChg chg="add mod">
          <ac:chgData name="Aurelien Domont" userId="6da7715ce44349b3" providerId="LiveId" clId="{9149B00E-810E-48AB-9153-54C78195225C}" dt="2023-11-23T05:25:12.627" v="6474" actId="20577"/>
          <ac:spMkLst>
            <pc:docMk/>
            <pc:sldMk cId="3022687460" sldId="3295"/>
            <ac:spMk id="11" creationId="{BA82A173-8BCA-BA5A-6933-A4F2A01A68DC}"/>
          </ac:spMkLst>
        </pc:spChg>
        <pc:spChg chg="add del mod">
          <ac:chgData name="Aurelien Domont" userId="6da7715ce44349b3" providerId="LiveId" clId="{9149B00E-810E-48AB-9153-54C78195225C}" dt="2023-11-23T02:24:58.902" v="6365" actId="478"/>
          <ac:spMkLst>
            <pc:docMk/>
            <pc:sldMk cId="3022687460" sldId="3295"/>
            <ac:spMk id="12" creationId="{A7C9B30E-7885-2FB1-DEBD-3AE0F98EFDBF}"/>
          </ac:spMkLst>
        </pc:spChg>
        <pc:spChg chg="add mod">
          <ac:chgData name="Aurelien Domont" userId="6da7715ce44349b3" providerId="LiveId" clId="{9149B00E-810E-48AB-9153-54C78195225C}" dt="2023-11-23T05:25:13.006" v="6475" actId="571"/>
          <ac:spMkLst>
            <pc:docMk/>
            <pc:sldMk cId="3022687460" sldId="3295"/>
            <ac:spMk id="13" creationId="{267DDCEF-3814-7C89-F025-A9E96BBC0F89}"/>
          </ac:spMkLst>
        </pc:spChg>
        <pc:spChg chg="add del mod">
          <ac:chgData name="Aurelien Domont" userId="6da7715ce44349b3" providerId="LiveId" clId="{9149B00E-810E-48AB-9153-54C78195225C}" dt="2023-11-24T06:13:15.864" v="7266" actId="21"/>
          <ac:spMkLst>
            <pc:docMk/>
            <pc:sldMk cId="3022687460" sldId="3295"/>
            <ac:spMk id="14" creationId="{19CB2D1E-97E5-4781-57A1-AE74422B0992}"/>
          </ac:spMkLst>
        </pc:spChg>
        <pc:spChg chg="add mod">
          <ac:chgData name="Aurelien Domont" userId="6da7715ce44349b3" providerId="LiveId" clId="{9149B00E-810E-48AB-9153-54C78195225C}" dt="2023-11-22T02:33:07.419" v="6329" actId="20577"/>
          <ac:spMkLst>
            <pc:docMk/>
            <pc:sldMk cId="3022687460" sldId="3295"/>
            <ac:spMk id="25" creationId="{AC2EE0FE-7F2E-7FC2-1816-49176A3E26E1}"/>
          </ac:spMkLst>
        </pc:spChg>
        <pc:spChg chg="add mod">
          <ac:chgData name="Aurelien Domont" userId="6da7715ce44349b3" providerId="LiveId" clId="{9149B00E-810E-48AB-9153-54C78195225C}" dt="2023-11-22T00:28:17.588" v="6093"/>
          <ac:spMkLst>
            <pc:docMk/>
            <pc:sldMk cId="3022687460" sldId="3295"/>
            <ac:spMk id="26" creationId="{F8D08909-F9C5-66B9-DBE5-21AF395F294F}"/>
          </ac:spMkLst>
        </pc:spChg>
        <pc:spChg chg="add mod">
          <ac:chgData name="Aurelien Domont" userId="6da7715ce44349b3" providerId="LiveId" clId="{9149B00E-810E-48AB-9153-54C78195225C}" dt="2023-11-23T02:31:20.729" v="6394" actId="20577"/>
          <ac:spMkLst>
            <pc:docMk/>
            <pc:sldMk cId="3022687460" sldId="3295"/>
            <ac:spMk id="27" creationId="{E76FFC16-84F0-0AD9-5B09-C2EBCFB94C77}"/>
          </ac:spMkLst>
        </pc:spChg>
        <pc:spChg chg="add mod">
          <ac:chgData name="Aurelien Domont" userId="6da7715ce44349b3" providerId="LiveId" clId="{9149B00E-810E-48AB-9153-54C78195225C}" dt="2023-11-24T04:56:04.133" v="6735" actId="20577"/>
          <ac:spMkLst>
            <pc:docMk/>
            <pc:sldMk cId="3022687460" sldId="3295"/>
            <ac:spMk id="29" creationId="{CAA519A6-F8B8-612B-8DEC-2C1A98832D6D}"/>
          </ac:spMkLst>
        </pc:spChg>
        <pc:spChg chg="add mod">
          <ac:chgData name="Aurelien Domont" userId="6da7715ce44349b3" providerId="LiveId" clId="{9149B00E-810E-48AB-9153-54C78195225C}" dt="2023-11-23T02:33:44.410" v="6396" actId="14100"/>
          <ac:spMkLst>
            <pc:docMk/>
            <pc:sldMk cId="3022687460" sldId="3295"/>
            <ac:spMk id="31" creationId="{1AC81146-0B13-8BA0-615D-4F2970937EC0}"/>
          </ac:spMkLst>
        </pc:spChg>
        <pc:spChg chg="add mod">
          <ac:chgData name="Aurelien Domont" userId="6da7715ce44349b3" providerId="LiveId" clId="{9149B00E-810E-48AB-9153-54C78195225C}" dt="2023-11-22T00:29:57.569" v="6128" actId="108"/>
          <ac:spMkLst>
            <pc:docMk/>
            <pc:sldMk cId="3022687460" sldId="3295"/>
            <ac:spMk id="32" creationId="{0B568A61-60CB-105A-C975-F0A6785BA5E7}"/>
          </ac:spMkLst>
        </pc:spChg>
        <pc:spChg chg="add mod">
          <ac:chgData name="Aurelien Domont" userId="6da7715ce44349b3" providerId="LiveId" clId="{9149B00E-810E-48AB-9153-54C78195225C}" dt="2023-11-22T00:35:55.930" v="6202"/>
          <ac:spMkLst>
            <pc:docMk/>
            <pc:sldMk cId="3022687460" sldId="3295"/>
            <ac:spMk id="40" creationId="{C71F5E4B-A265-CD5B-9011-6417C628431E}"/>
          </ac:spMkLst>
        </pc:spChg>
        <pc:spChg chg="add mod">
          <ac:chgData name="Aurelien Domont" userId="6da7715ce44349b3" providerId="LiveId" clId="{9149B00E-810E-48AB-9153-54C78195225C}" dt="2023-11-22T00:35:55.930" v="6202"/>
          <ac:spMkLst>
            <pc:docMk/>
            <pc:sldMk cId="3022687460" sldId="3295"/>
            <ac:spMk id="41" creationId="{6A2738C6-A615-733B-B594-EE20B9CD6746}"/>
          </ac:spMkLst>
        </pc:spChg>
        <pc:spChg chg="add mod">
          <ac:chgData name="Aurelien Domont" userId="6da7715ce44349b3" providerId="LiveId" clId="{9149B00E-810E-48AB-9153-54C78195225C}" dt="2023-11-22T00:35:55.930" v="6202"/>
          <ac:spMkLst>
            <pc:docMk/>
            <pc:sldMk cId="3022687460" sldId="3295"/>
            <ac:spMk id="42" creationId="{72BBCDC9-C214-08F4-C81B-E13DCBE9F6FE}"/>
          </ac:spMkLst>
        </pc:spChg>
        <pc:spChg chg="add mod">
          <ac:chgData name="Aurelien Domont" userId="6da7715ce44349b3" providerId="LiveId" clId="{9149B00E-810E-48AB-9153-54C78195225C}" dt="2023-11-22T00:36:18.987" v="6216" actId="20577"/>
          <ac:spMkLst>
            <pc:docMk/>
            <pc:sldMk cId="3022687460" sldId="3295"/>
            <ac:spMk id="43" creationId="{AA421F85-19F6-9C35-A2B1-57E421C18C7B}"/>
          </ac:spMkLst>
        </pc:spChg>
        <pc:spChg chg="add mod">
          <ac:chgData name="Aurelien Domont" userId="6da7715ce44349b3" providerId="LiveId" clId="{9149B00E-810E-48AB-9153-54C78195225C}" dt="2023-11-22T00:36:21.013" v="6217" actId="20577"/>
          <ac:spMkLst>
            <pc:docMk/>
            <pc:sldMk cId="3022687460" sldId="3295"/>
            <ac:spMk id="44" creationId="{1DDDCA4A-2B6F-BA1F-8278-26F3AADC1750}"/>
          </ac:spMkLst>
        </pc:spChg>
        <pc:spChg chg="add mod">
          <ac:chgData name="Aurelien Domont" userId="6da7715ce44349b3" providerId="LiveId" clId="{9149B00E-810E-48AB-9153-54C78195225C}" dt="2023-11-22T00:36:23.604" v="6220" actId="20577"/>
          <ac:spMkLst>
            <pc:docMk/>
            <pc:sldMk cId="3022687460" sldId="3295"/>
            <ac:spMk id="45" creationId="{772776BA-6100-A528-72EA-3B777185EB2E}"/>
          </ac:spMkLst>
        </pc:spChg>
        <pc:spChg chg="add mod">
          <ac:chgData name="Aurelien Domont" userId="6da7715ce44349b3" providerId="LiveId" clId="{9149B00E-810E-48AB-9153-54C78195225C}" dt="2023-11-23T02:34:04.746" v="6397" actId="3064"/>
          <ac:spMkLst>
            <pc:docMk/>
            <pc:sldMk cId="3022687460" sldId="3295"/>
            <ac:spMk id="46" creationId="{31AA689B-8955-ED5A-4B2D-E38A169F1CCC}"/>
          </ac:spMkLst>
        </pc:spChg>
        <pc:picChg chg="add del mod">
          <ac:chgData name="Aurelien Domont" userId="6da7715ce44349b3" providerId="LiveId" clId="{9149B00E-810E-48AB-9153-54C78195225C}" dt="2023-11-22T00:30:25.291" v="6130" actId="478"/>
          <ac:picMkLst>
            <pc:docMk/>
            <pc:sldMk cId="3022687460" sldId="3295"/>
            <ac:picMk id="12" creationId="{758B79F1-A53D-74ED-4F44-FF504ABC252D}"/>
          </ac:picMkLst>
        </pc:picChg>
        <pc:picChg chg="add del mod">
          <ac:chgData name="Aurelien Domont" userId="6da7715ce44349b3" providerId="LiveId" clId="{9149B00E-810E-48AB-9153-54C78195225C}" dt="2023-11-22T00:30:27.631" v="6131" actId="478"/>
          <ac:picMkLst>
            <pc:docMk/>
            <pc:sldMk cId="3022687460" sldId="3295"/>
            <ac:picMk id="13" creationId="{044A36DB-DADE-4BE5-217C-AF3CFA878E07}"/>
          </ac:picMkLst>
        </pc:picChg>
        <pc:picChg chg="add del mod">
          <ac:chgData name="Aurelien Domont" userId="6da7715ce44349b3" providerId="LiveId" clId="{9149B00E-810E-48AB-9153-54C78195225C}" dt="2023-11-22T00:30:25.291" v="6130" actId="478"/>
          <ac:picMkLst>
            <pc:docMk/>
            <pc:sldMk cId="3022687460" sldId="3295"/>
            <ac:picMk id="14" creationId="{509881CB-3166-E2D0-8900-A71B72F27AA9}"/>
          </ac:picMkLst>
        </pc:picChg>
        <pc:picChg chg="add del mod">
          <ac:chgData name="Aurelien Domont" userId="6da7715ce44349b3" providerId="LiveId" clId="{9149B00E-810E-48AB-9153-54C78195225C}" dt="2023-11-22T00:30:25.291" v="6130" actId="478"/>
          <ac:picMkLst>
            <pc:docMk/>
            <pc:sldMk cId="3022687460" sldId="3295"/>
            <ac:picMk id="15" creationId="{18233AD4-0328-06ED-CB32-8CC7899DE01F}"/>
          </ac:picMkLst>
        </pc:picChg>
        <pc:picChg chg="add del mod">
          <ac:chgData name="Aurelien Domont" userId="6da7715ce44349b3" providerId="LiveId" clId="{9149B00E-810E-48AB-9153-54C78195225C}" dt="2023-11-22T00:30:25.291" v="6130" actId="478"/>
          <ac:picMkLst>
            <pc:docMk/>
            <pc:sldMk cId="3022687460" sldId="3295"/>
            <ac:picMk id="16" creationId="{CB45B22D-8690-8EBF-CCEA-5370CE51206F}"/>
          </ac:picMkLst>
        </pc:picChg>
        <pc:picChg chg="del">
          <ac:chgData name="Aurelien Domont" userId="6da7715ce44349b3" providerId="LiveId" clId="{9149B00E-810E-48AB-9153-54C78195225C}" dt="2023-11-22T00:28:08.640" v="6090" actId="478"/>
          <ac:picMkLst>
            <pc:docMk/>
            <pc:sldMk cId="3022687460" sldId="3295"/>
            <ac:picMk id="21" creationId="{55C0EEEA-D196-5D4A-0E6C-48562BA818D4}"/>
          </ac:picMkLst>
        </pc:picChg>
        <pc:picChg chg="del">
          <ac:chgData name="Aurelien Domont" userId="6da7715ce44349b3" providerId="LiveId" clId="{9149B00E-810E-48AB-9153-54C78195225C}" dt="2023-11-22T00:28:08.640" v="6090" actId="478"/>
          <ac:picMkLst>
            <pc:docMk/>
            <pc:sldMk cId="3022687460" sldId="3295"/>
            <ac:picMk id="22" creationId="{A505F267-E3B5-4559-8DBB-D387D74271CB}"/>
          </ac:picMkLst>
        </pc:picChg>
        <pc:picChg chg="del">
          <ac:chgData name="Aurelien Domont" userId="6da7715ce44349b3" providerId="LiveId" clId="{9149B00E-810E-48AB-9153-54C78195225C}" dt="2023-11-22T00:28:08.640" v="6090" actId="478"/>
          <ac:picMkLst>
            <pc:docMk/>
            <pc:sldMk cId="3022687460" sldId="3295"/>
            <ac:picMk id="24" creationId="{C3E08E48-91DC-4C1F-99DB-2B28D33A03AF}"/>
          </ac:picMkLst>
        </pc:picChg>
        <pc:picChg chg="del">
          <ac:chgData name="Aurelien Domont" userId="6da7715ce44349b3" providerId="LiveId" clId="{9149B00E-810E-48AB-9153-54C78195225C}" dt="2023-11-22T00:28:08.640" v="6090" actId="478"/>
          <ac:picMkLst>
            <pc:docMk/>
            <pc:sldMk cId="3022687460" sldId="3295"/>
            <ac:picMk id="28" creationId="{570D065C-7397-1F30-84E3-E02A480D7274}"/>
          </ac:picMkLst>
        </pc:picChg>
        <pc:picChg chg="add del mod">
          <ac:chgData name="Aurelien Domont" userId="6da7715ce44349b3" providerId="LiveId" clId="{9149B00E-810E-48AB-9153-54C78195225C}" dt="2023-11-22T00:30:25.291" v="6130" actId="478"/>
          <ac:picMkLst>
            <pc:docMk/>
            <pc:sldMk cId="3022687460" sldId="3295"/>
            <ac:picMk id="30" creationId="{45AF06CD-5608-9BBB-01F7-93C7BE41F648}"/>
          </ac:picMkLst>
        </pc:picChg>
        <pc:picChg chg="add mod">
          <ac:chgData name="Aurelien Domont" userId="6da7715ce44349b3" providerId="LiveId" clId="{9149B00E-810E-48AB-9153-54C78195225C}" dt="2023-11-22T00:30:51.534" v="6135" actId="1076"/>
          <ac:picMkLst>
            <pc:docMk/>
            <pc:sldMk cId="3022687460" sldId="3295"/>
            <ac:picMk id="33" creationId="{DF0C8681-5664-343F-E57E-55EBFDD011FA}"/>
          </ac:picMkLst>
        </pc:picChg>
        <pc:picChg chg="add mod">
          <ac:chgData name="Aurelien Domont" userId="6da7715ce44349b3" providerId="LiveId" clId="{9149B00E-810E-48AB-9153-54C78195225C}" dt="2023-11-22T00:30:43.710" v="6133" actId="1076"/>
          <ac:picMkLst>
            <pc:docMk/>
            <pc:sldMk cId="3022687460" sldId="3295"/>
            <ac:picMk id="34" creationId="{6A9E2613-5D3A-EF9E-6E81-7A3C9A9E8218}"/>
          </ac:picMkLst>
        </pc:picChg>
        <pc:picChg chg="add mod">
          <ac:chgData name="Aurelien Domont" userId="6da7715ce44349b3" providerId="LiveId" clId="{9149B00E-810E-48AB-9153-54C78195225C}" dt="2023-11-22T00:30:47.780" v="6134" actId="1076"/>
          <ac:picMkLst>
            <pc:docMk/>
            <pc:sldMk cId="3022687460" sldId="3295"/>
            <ac:picMk id="35" creationId="{8009742A-D2C3-8E9D-C38C-62AE67074638}"/>
          </ac:picMkLst>
        </pc:picChg>
        <pc:picChg chg="add mod">
          <ac:chgData name="Aurelien Domont" userId="6da7715ce44349b3" providerId="LiveId" clId="{9149B00E-810E-48AB-9153-54C78195225C}" dt="2023-11-22T00:34:14.747" v="6175" actId="1035"/>
          <ac:picMkLst>
            <pc:docMk/>
            <pc:sldMk cId="3022687460" sldId="3295"/>
            <ac:picMk id="36" creationId="{6A87401D-A304-27FE-BD74-EEB89412129F}"/>
          </ac:picMkLst>
        </pc:picChg>
        <pc:picChg chg="add mod">
          <ac:chgData name="Aurelien Domont" userId="6da7715ce44349b3" providerId="LiveId" clId="{9149B00E-810E-48AB-9153-54C78195225C}" dt="2023-11-22T00:34:07.244" v="6173" actId="1037"/>
          <ac:picMkLst>
            <pc:docMk/>
            <pc:sldMk cId="3022687460" sldId="3295"/>
            <ac:picMk id="37" creationId="{0C1B899D-2DFE-AE2B-A925-494CA67290A9}"/>
          </ac:picMkLst>
        </pc:picChg>
        <pc:picChg chg="add mod">
          <ac:chgData name="Aurelien Domont" userId="6da7715ce44349b3" providerId="LiveId" clId="{9149B00E-810E-48AB-9153-54C78195225C}" dt="2023-11-22T00:34:42.423" v="6181" actId="108"/>
          <ac:picMkLst>
            <pc:docMk/>
            <pc:sldMk cId="3022687460" sldId="3295"/>
            <ac:picMk id="39" creationId="{9E0B16A8-256E-E36A-0A8F-5B9855658360}"/>
          </ac:picMkLst>
        </pc:picChg>
        <pc:cxnChg chg="add mod">
          <ac:chgData name="Aurelien Domont" userId="6da7715ce44349b3" providerId="LiveId" clId="{9149B00E-810E-48AB-9153-54C78195225C}" dt="2023-11-22T00:28:17.588" v="6093"/>
          <ac:cxnSpMkLst>
            <pc:docMk/>
            <pc:sldMk cId="3022687460" sldId="3295"/>
            <ac:cxnSpMk id="17" creationId="{D133D4C6-3F08-8AFC-9CCF-AE3A535CDF20}"/>
          </ac:cxnSpMkLst>
        </pc:cxnChg>
        <pc:cxnChg chg="add mod">
          <ac:chgData name="Aurelien Domont" userId="6da7715ce44349b3" providerId="LiveId" clId="{9149B00E-810E-48AB-9153-54C78195225C}" dt="2023-11-22T00:28:17.588" v="6093"/>
          <ac:cxnSpMkLst>
            <pc:docMk/>
            <pc:sldMk cId="3022687460" sldId="3295"/>
            <ac:cxnSpMk id="18" creationId="{2C30C521-61FD-44C6-3FE2-9F7D0440BF98}"/>
          </ac:cxnSpMkLst>
        </pc:cxnChg>
        <pc:cxnChg chg="add mod">
          <ac:chgData name="Aurelien Domont" userId="6da7715ce44349b3" providerId="LiveId" clId="{9149B00E-810E-48AB-9153-54C78195225C}" dt="2023-11-22T00:28:17.588" v="6093"/>
          <ac:cxnSpMkLst>
            <pc:docMk/>
            <pc:sldMk cId="3022687460" sldId="3295"/>
            <ac:cxnSpMk id="19" creationId="{D8FF09F6-FC9D-118E-2BE9-8FA80AD42AC4}"/>
          </ac:cxnSpMkLst>
        </pc:cxnChg>
        <pc:cxnChg chg="add mod">
          <ac:chgData name="Aurelien Domont" userId="6da7715ce44349b3" providerId="LiveId" clId="{9149B00E-810E-48AB-9153-54C78195225C}" dt="2023-11-22T00:28:17.588" v="6093"/>
          <ac:cxnSpMkLst>
            <pc:docMk/>
            <pc:sldMk cId="3022687460" sldId="3295"/>
            <ac:cxnSpMk id="20" creationId="{21420269-1FD9-2098-9AF3-FF2DE59AD89E}"/>
          </ac:cxnSpMkLst>
        </pc:cxnChg>
        <pc:cxnChg chg="add mod">
          <ac:chgData name="Aurelien Domont" userId="6da7715ce44349b3" providerId="LiveId" clId="{9149B00E-810E-48AB-9153-54C78195225C}" dt="2023-11-22T00:28:17.588" v="6093"/>
          <ac:cxnSpMkLst>
            <pc:docMk/>
            <pc:sldMk cId="3022687460" sldId="3295"/>
            <ac:cxnSpMk id="23" creationId="{5C852D80-58BB-FD8F-BBDE-109FBF9575C2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Aurelien Domont" userId="6da7715ce44349b3" providerId="LiveId" clId="{9149B00E-810E-48AB-9153-54C78195225C}" dt="2023-11-23T05:24:17.613" v="6438"/>
              <pc2:cmMkLst xmlns:pc2="http://schemas.microsoft.com/office/powerpoint/2019/9/main/command">
                <pc:docMk/>
                <pc:sldMk cId="3022687460" sldId="3295"/>
                <pc2:cmMk id="{781ABA62-B7B8-46A1-98B5-7C672E33ADD1}"/>
              </pc2:cmMkLst>
            </pc226:cmChg>
          </p:ext>
        </pc:extLst>
      </pc:sldChg>
      <pc:sldChg chg="add del">
        <pc:chgData name="Aurelien Domont" userId="6da7715ce44349b3" providerId="LiveId" clId="{9149B00E-810E-48AB-9153-54C78195225C}" dt="2023-11-22T00:28:10.398" v="6092"/>
        <pc:sldMkLst>
          <pc:docMk/>
          <pc:sldMk cId="1732872127" sldId="3296"/>
        </pc:sldMkLst>
      </pc:sldChg>
      <pc:sldChg chg="addSp delSp modSp add del mod">
        <pc:chgData name="Aurelien Domont" userId="6da7715ce44349b3" providerId="LiveId" clId="{9149B00E-810E-48AB-9153-54C78195225C}" dt="2023-11-22T00:36:42.977" v="6221" actId="47"/>
        <pc:sldMkLst>
          <pc:docMk/>
          <pc:sldMk cId="2874432511" sldId="3296"/>
        </pc:sldMkLst>
        <pc:spChg chg="add mod">
          <ac:chgData name="Aurelien Domont" userId="6da7715ce44349b3" providerId="LiveId" clId="{9149B00E-810E-48AB-9153-54C78195225C}" dt="2023-11-22T00:35:10.437" v="6191" actId="208"/>
          <ac:spMkLst>
            <pc:docMk/>
            <pc:sldMk cId="2874432511" sldId="3296"/>
            <ac:spMk id="28" creationId="{FD0A7905-84E5-D315-0414-F477DD11B9F5}"/>
          </ac:spMkLst>
        </pc:spChg>
        <pc:spChg chg="add mod">
          <ac:chgData name="Aurelien Domont" userId="6da7715ce44349b3" providerId="LiveId" clId="{9149B00E-810E-48AB-9153-54C78195225C}" dt="2023-11-22T00:35:33.687" v="6198" actId="20577"/>
          <ac:spMkLst>
            <pc:docMk/>
            <pc:sldMk cId="2874432511" sldId="3296"/>
            <ac:spMk id="33" creationId="{80379ABD-F2BB-537B-1EE6-8F45AE617E47}"/>
          </ac:spMkLst>
        </pc:spChg>
        <pc:spChg chg="add mod">
          <ac:chgData name="Aurelien Domont" userId="6da7715ce44349b3" providerId="LiveId" clId="{9149B00E-810E-48AB-9153-54C78195225C}" dt="2023-11-22T00:35:44.708" v="6201" actId="1037"/>
          <ac:spMkLst>
            <pc:docMk/>
            <pc:sldMk cId="2874432511" sldId="3296"/>
            <ac:spMk id="34" creationId="{03469C1D-EBBC-185C-680A-A3381F1965D1}"/>
          </ac:spMkLst>
        </pc:spChg>
        <pc:graphicFrameChg chg="mod">
          <ac:chgData name="Aurelien Domont" userId="6da7715ce44349b3" providerId="LiveId" clId="{9149B00E-810E-48AB-9153-54C78195225C}" dt="2023-11-22T00:33:10.541" v="6141"/>
          <ac:graphicFrameMkLst>
            <pc:docMk/>
            <pc:sldMk cId="2874432511" sldId="3296"/>
            <ac:graphicFrameMk id="6" creationId="{F5887244-1866-E102-5FD5-79FA1304146D}"/>
          </ac:graphicFrameMkLst>
        </pc:graphicFrameChg>
        <pc:picChg chg="add del mod">
          <ac:chgData name="Aurelien Domont" userId="6da7715ce44349b3" providerId="LiveId" clId="{9149B00E-810E-48AB-9153-54C78195225C}" dt="2023-11-22T00:33:17.195" v="6143" actId="21"/>
          <ac:picMkLst>
            <pc:docMk/>
            <pc:sldMk cId="2874432511" sldId="3296"/>
            <ac:picMk id="21" creationId="{BF585C3A-D989-006A-2379-6858FD1CA0B9}"/>
          </ac:picMkLst>
        </pc:picChg>
        <pc:picChg chg="add del mod">
          <ac:chgData name="Aurelien Domont" userId="6da7715ce44349b3" providerId="LiveId" clId="{9149B00E-810E-48AB-9153-54C78195225C}" dt="2023-11-22T00:33:17.195" v="6143" actId="21"/>
          <ac:picMkLst>
            <pc:docMk/>
            <pc:sldMk cId="2874432511" sldId="3296"/>
            <ac:picMk id="24" creationId="{65FC0EF1-11F7-62DF-228F-1E2F7366D2F6}"/>
          </ac:picMkLst>
        </pc:picChg>
      </pc:sldChg>
      <pc:sldChg chg="delSp modSp add mod">
        <pc:chgData name="Aurelien Domont" userId="6da7715ce44349b3" providerId="LiveId" clId="{9149B00E-810E-48AB-9153-54C78195225C}" dt="2023-11-23T06:59:09.081" v="6702" actId="5793"/>
        <pc:sldMkLst>
          <pc:docMk/>
          <pc:sldMk cId="4290400277" sldId="3296"/>
        </pc:sldMkLst>
        <pc:spChg chg="mod">
          <ac:chgData name="Aurelien Domont" userId="6da7715ce44349b3" providerId="LiveId" clId="{9149B00E-810E-48AB-9153-54C78195225C}" dt="2023-11-23T05:25:57.405" v="6524" actId="14100"/>
          <ac:spMkLst>
            <pc:docMk/>
            <pc:sldMk cId="4290400277" sldId="3296"/>
            <ac:spMk id="11" creationId="{BA82A173-8BCA-BA5A-6933-A4F2A01A68DC}"/>
          </ac:spMkLst>
        </pc:spChg>
        <pc:spChg chg="del">
          <ac:chgData name="Aurelien Domont" userId="6da7715ce44349b3" providerId="LiveId" clId="{9149B00E-810E-48AB-9153-54C78195225C}" dt="2023-11-23T05:25:36.586" v="6478" actId="478"/>
          <ac:spMkLst>
            <pc:docMk/>
            <pc:sldMk cId="4290400277" sldId="3296"/>
            <ac:spMk id="25" creationId="{AC2EE0FE-7F2E-7FC2-1816-49176A3E26E1}"/>
          </ac:spMkLst>
        </pc:spChg>
        <pc:spChg chg="mod">
          <ac:chgData name="Aurelien Domont" userId="6da7715ce44349b3" providerId="LiveId" clId="{9149B00E-810E-48AB-9153-54C78195225C}" dt="2023-11-23T06:59:09.081" v="6702" actId="5793"/>
          <ac:spMkLst>
            <pc:docMk/>
            <pc:sldMk cId="4290400277" sldId="3296"/>
            <ac:spMk id="26" creationId="{F8D08909-F9C5-66B9-DBE5-21AF395F294F}"/>
          </ac:spMkLst>
        </pc:spChg>
        <pc:spChg chg="del">
          <ac:chgData name="Aurelien Domont" userId="6da7715ce44349b3" providerId="LiveId" clId="{9149B00E-810E-48AB-9153-54C78195225C}" dt="2023-11-23T05:25:36.586" v="6478" actId="478"/>
          <ac:spMkLst>
            <pc:docMk/>
            <pc:sldMk cId="4290400277" sldId="3296"/>
            <ac:spMk id="27" creationId="{E76FFC16-84F0-0AD9-5B09-C2EBCFB94C77}"/>
          </ac:spMkLst>
        </pc:spChg>
        <pc:spChg chg="del">
          <ac:chgData name="Aurelien Domont" userId="6da7715ce44349b3" providerId="LiveId" clId="{9149B00E-810E-48AB-9153-54C78195225C}" dt="2023-11-23T05:25:36.586" v="6478" actId="478"/>
          <ac:spMkLst>
            <pc:docMk/>
            <pc:sldMk cId="4290400277" sldId="3296"/>
            <ac:spMk id="29" creationId="{CAA519A6-F8B8-612B-8DEC-2C1A98832D6D}"/>
          </ac:spMkLst>
        </pc:spChg>
        <pc:spChg chg="del">
          <ac:chgData name="Aurelien Domont" userId="6da7715ce44349b3" providerId="LiveId" clId="{9149B00E-810E-48AB-9153-54C78195225C}" dt="2023-11-23T05:25:36.586" v="6478" actId="478"/>
          <ac:spMkLst>
            <pc:docMk/>
            <pc:sldMk cId="4290400277" sldId="3296"/>
            <ac:spMk id="31" creationId="{1AC81146-0B13-8BA0-615D-4F2970937EC0}"/>
          </ac:spMkLst>
        </pc:spChg>
        <pc:spChg chg="del">
          <ac:chgData name="Aurelien Domont" userId="6da7715ce44349b3" providerId="LiveId" clId="{9149B00E-810E-48AB-9153-54C78195225C}" dt="2023-11-23T05:25:36.586" v="6478" actId="478"/>
          <ac:spMkLst>
            <pc:docMk/>
            <pc:sldMk cId="4290400277" sldId="3296"/>
            <ac:spMk id="46" creationId="{31AA689B-8955-ED5A-4B2D-E38A169F1CCC}"/>
          </ac:spMkLst>
        </pc:spChg>
      </pc:sldChg>
      <pc:sldChg chg="addSp delSp modSp add mod ord">
        <pc:chgData name="Aurelien Domont" userId="6da7715ce44349b3" providerId="LiveId" clId="{9149B00E-810E-48AB-9153-54C78195225C}" dt="2023-11-24T06:13:39.326" v="7283" actId="20577"/>
        <pc:sldMkLst>
          <pc:docMk/>
          <pc:sldMk cId="937810425" sldId="3297"/>
        </pc:sldMkLst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3" creationId="{A9AD3861-6FA4-B3F4-F334-05F47222B5A4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4" creationId="{B2CAF000-1C65-ED69-7914-DC9BE4ABCFAB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5" creationId="{736E5DD6-0DCB-801F-5229-3552AFBAD71D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7" creationId="{51CEF7F3-3EA5-A7E9-CD47-74CEF1CBD3AA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10" creationId="{9D924D83-E0FB-A14F-5F7E-459DC94AF895}"/>
          </ac:spMkLst>
        </pc:spChg>
        <pc:spChg chg="add mod">
          <ac:chgData name="Aurelien Domont" userId="6da7715ce44349b3" providerId="LiveId" clId="{9149B00E-810E-48AB-9153-54C78195225C}" dt="2023-11-24T06:13:39.326" v="7283" actId="20577"/>
          <ac:spMkLst>
            <pc:docMk/>
            <pc:sldMk cId="937810425" sldId="3297"/>
            <ac:spMk id="12" creationId="{6CC29B79-EDF7-DA56-0AC2-AAC81EDFD10A}"/>
          </ac:spMkLst>
        </pc:spChg>
        <pc:spChg chg="add del mod">
          <ac:chgData name="Aurelien Domont" userId="6da7715ce44349b3" providerId="LiveId" clId="{9149B00E-810E-48AB-9153-54C78195225C}" dt="2023-11-24T05:13:04.177" v="6800" actId="478"/>
          <ac:spMkLst>
            <pc:docMk/>
            <pc:sldMk cId="937810425" sldId="3297"/>
            <ac:spMk id="12" creationId="{FAFC93DD-19FB-B154-CE64-AE79BCCA5037}"/>
          </ac:spMkLst>
        </pc:spChg>
        <pc:spChg chg="add mod">
          <ac:chgData name="Aurelien Domont" userId="6da7715ce44349b3" providerId="LiveId" clId="{9149B00E-810E-48AB-9153-54C78195225C}" dt="2023-11-24T05:35:57.745" v="7251" actId="14100"/>
          <ac:spMkLst>
            <pc:docMk/>
            <pc:sldMk cId="937810425" sldId="3297"/>
            <ac:spMk id="13" creationId="{B0B67E99-DDD5-B3B0-8358-C2D579D3C6D1}"/>
          </ac:spMkLst>
        </pc:spChg>
        <pc:spChg chg="del">
          <ac:chgData name="Aurelien Domont" userId="6da7715ce44349b3" providerId="LiveId" clId="{9149B00E-810E-48AB-9153-54C78195225C}" dt="2023-11-24T05:10:22.207" v="6742" actId="478"/>
          <ac:spMkLst>
            <pc:docMk/>
            <pc:sldMk cId="937810425" sldId="3297"/>
            <ac:spMk id="14" creationId="{19CB2D1E-97E5-4781-57A1-AE74422B0992}"/>
          </ac:spMkLst>
        </pc:spChg>
        <pc:spChg chg="add del mod">
          <ac:chgData name="Aurelien Domont" userId="6da7715ce44349b3" providerId="LiveId" clId="{9149B00E-810E-48AB-9153-54C78195225C}" dt="2023-11-24T05:17:23.800" v="6857" actId="478"/>
          <ac:spMkLst>
            <pc:docMk/>
            <pc:sldMk cId="937810425" sldId="3297"/>
            <ac:spMk id="15" creationId="{258DEC51-8446-147F-0FBF-8DDCC17622C7}"/>
          </ac:spMkLst>
        </pc:spChg>
        <pc:spChg chg="add mod">
          <ac:chgData name="Aurelien Domont" userId="6da7715ce44349b3" providerId="LiveId" clId="{9149B00E-810E-48AB-9153-54C78195225C}" dt="2023-11-24T05:17:29.143" v="6859" actId="20577"/>
          <ac:spMkLst>
            <pc:docMk/>
            <pc:sldMk cId="937810425" sldId="3297"/>
            <ac:spMk id="16" creationId="{388553C4-D6EA-A8A7-B651-E82BA0DB0480}"/>
          </ac:spMkLst>
        </pc:spChg>
        <pc:spChg chg="add mod">
          <ac:chgData name="Aurelien Domont" userId="6da7715ce44349b3" providerId="LiveId" clId="{9149B00E-810E-48AB-9153-54C78195225C}" dt="2023-11-24T05:37:25.388" v="7257" actId="1036"/>
          <ac:spMkLst>
            <pc:docMk/>
            <pc:sldMk cId="937810425" sldId="3297"/>
            <ac:spMk id="21" creationId="{09C86D38-0597-742B-C33D-8F244E1CF2C7}"/>
          </ac:spMkLst>
        </pc:spChg>
        <pc:spChg chg="add mod">
          <ac:chgData name="Aurelien Domont" userId="6da7715ce44349b3" providerId="LiveId" clId="{9149B00E-810E-48AB-9153-54C78195225C}" dt="2023-11-24T05:37:25.388" v="7257" actId="1036"/>
          <ac:spMkLst>
            <pc:docMk/>
            <pc:sldMk cId="937810425" sldId="3297"/>
            <ac:spMk id="22" creationId="{012BA78B-FA3C-012F-F9A9-78B59FE7FA64}"/>
          </ac:spMkLst>
        </pc:spChg>
        <pc:spChg chg="add mod">
          <ac:chgData name="Aurelien Domont" userId="6da7715ce44349b3" providerId="LiveId" clId="{9149B00E-810E-48AB-9153-54C78195225C}" dt="2023-11-24T05:37:25.388" v="7257" actId="1036"/>
          <ac:spMkLst>
            <pc:docMk/>
            <pc:sldMk cId="937810425" sldId="3297"/>
            <ac:spMk id="24" creationId="{F037AC9E-1ED9-DEF0-F514-3E9F432FEF26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25" creationId="{AC2EE0FE-7F2E-7FC2-1816-49176A3E26E1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26" creationId="{F8D08909-F9C5-66B9-DBE5-21AF395F294F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27" creationId="{E76FFC16-84F0-0AD9-5B09-C2EBCFB94C77}"/>
          </ac:spMkLst>
        </pc:spChg>
        <pc:spChg chg="add mod">
          <ac:chgData name="Aurelien Domont" userId="6da7715ce44349b3" providerId="LiveId" clId="{9149B00E-810E-48AB-9153-54C78195225C}" dt="2023-11-24T05:37:25.388" v="7257" actId="1036"/>
          <ac:spMkLst>
            <pc:docMk/>
            <pc:sldMk cId="937810425" sldId="3297"/>
            <ac:spMk id="28" creationId="{BBC89092-1176-2B8C-0694-1252D6EC5BB8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29" creationId="{CAA519A6-F8B8-612B-8DEC-2C1A98832D6D}"/>
          </ac:spMkLst>
        </pc:spChg>
        <pc:spChg chg="add mod">
          <ac:chgData name="Aurelien Domont" userId="6da7715ce44349b3" providerId="LiveId" clId="{9149B00E-810E-48AB-9153-54C78195225C}" dt="2023-11-24T05:45:12.259" v="7263" actId="20577"/>
          <ac:spMkLst>
            <pc:docMk/>
            <pc:sldMk cId="937810425" sldId="3297"/>
            <ac:spMk id="30" creationId="{C1F9CCFD-18AB-188E-7DD7-ABE2BE75DBE7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31" creationId="{1AC81146-0B13-8BA0-615D-4F2970937EC0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32" creationId="{0B568A61-60CB-105A-C975-F0A6785BA5E7}"/>
          </ac:spMkLst>
        </pc:spChg>
        <pc:spChg chg="add mod">
          <ac:chgData name="Aurelien Domont" userId="6da7715ce44349b3" providerId="LiveId" clId="{9149B00E-810E-48AB-9153-54C78195225C}" dt="2023-11-24T05:45:15.357" v="7265" actId="20577"/>
          <ac:spMkLst>
            <pc:docMk/>
            <pc:sldMk cId="937810425" sldId="3297"/>
            <ac:spMk id="38" creationId="{242492B8-FCBB-3640-C0E5-BBE2D6EA634B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40" creationId="{C71F5E4B-A265-CD5B-9011-6417C628431E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41" creationId="{6A2738C6-A615-733B-B594-EE20B9CD6746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42" creationId="{72BBCDC9-C214-08F4-C81B-E13DCBE9F6FE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43" creationId="{AA421F85-19F6-9C35-A2B1-57E421C18C7B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44" creationId="{1DDDCA4A-2B6F-BA1F-8278-26F3AADC1750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45" creationId="{772776BA-6100-A528-72EA-3B777185EB2E}"/>
          </ac:spMkLst>
        </pc:spChg>
        <pc:spChg chg="mod">
          <ac:chgData name="Aurelien Domont" userId="6da7715ce44349b3" providerId="LiveId" clId="{9149B00E-810E-48AB-9153-54C78195225C}" dt="2023-11-24T05:38:32.789" v="7259" actId="1035"/>
          <ac:spMkLst>
            <pc:docMk/>
            <pc:sldMk cId="937810425" sldId="3297"/>
            <ac:spMk id="46" creationId="{31AA689B-8955-ED5A-4B2D-E38A169F1CCC}"/>
          </ac:spMkLst>
        </pc:spChg>
        <pc:spChg chg="add del mod">
          <ac:chgData name="Aurelien Domont" userId="6da7715ce44349b3" providerId="LiveId" clId="{9149B00E-810E-48AB-9153-54C78195225C}" dt="2023-11-24T05:35:53.551" v="7249" actId="478"/>
          <ac:spMkLst>
            <pc:docMk/>
            <pc:sldMk cId="937810425" sldId="3297"/>
            <ac:spMk id="47" creationId="{1964488F-15A9-8E50-5F7D-11BE0EEFF1BB}"/>
          </ac:spMkLst>
        </pc:spChg>
        <pc:picChg chg="mod">
          <ac:chgData name="Aurelien Domont" userId="6da7715ce44349b3" providerId="LiveId" clId="{9149B00E-810E-48AB-9153-54C78195225C}" dt="2023-11-24T05:38:32.789" v="7259" actId="1035"/>
          <ac:picMkLst>
            <pc:docMk/>
            <pc:sldMk cId="937810425" sldId="3297"/>
            <ac:picMk id="33" creationId="{DF0C8681-5664-343F-E57E-55EBFDD011FA}"/>
          </ac:picMkLst>
        </pc:picChg>
        <pc:picChg chg="mod">
          <ac:chgData name="Aurelien Domont" userId="6da7715ce44349b3" providerId="LiveId" clId="{9149B00E-810E-48AB-9153-54C78195225C}" dt="2023-11-24T05:38:32.789" v="7259" actId="1035"/>
          <ac:picMkLst>
            <pc:docMk/>
            <pc:sldMk cId="937810425" sldId="3297"/>
            <ac:picMk id="34" creationId="{6A9E2613-5D3A-EF9E-6E81-7A3C9A9E8218}"/>
          </ac:picMkLst>
        </pc:picChg>
        <pc:picChg chg="mod">
          <ac:chgData name="Aurelien Domont" userId="6da7715ce44349b3" providerId="LiveId" clId="{9149B00E-810E-48AB-9153-54C78195225C}" dt="2023-11-24T05:38:32.789" v="7259" actId="1035"/>
          <ac:picMkLst>
            <pc:docMk/>
            <pc:sldMk cId="937810425" sldId="3297"/>
            <ac:picMk id="35" creationId="{8009742A-D2C3-8E9D-C38C-62AE67074638}"/>
          </ac:picMkLst>
        </pc:picChg>
        <pc:picChg chg="mod">
          <ac:chgData name="Aurelien Domont" userId="6da7715ce44349b3" providerId="LiveId" clId="{9149B00E-810E-48AB-9153-54C78195225C}" dt="2023-11-24T05:38:32.789" v="7259" actId="1035"/>
          <ac:picMkLst>
            <pc:docMk/>
            <pc:sldMk cId="937810425" sldId="3297"/>
            <ac:picMk id="36" creationId="{6A87401D-A304-27FE-BD74-EEB89412129F}"/>
          </ac:picMkLst>
        </pc:picChg>
        <pc:picChg chg="mod">
          <ac:chgData name="Aurelien Domont" userId="6da7715ce44349b3" providerId="LiveId" clId="{9149B00E-810E-48AB-9153-54C78195225C}" dt="2023-11-24T05:38:32.789" v="7259" actId="1035"/>
          <ac:picMkLst>
            <pc:docMk/>
            <pc:sldMk cId="937810425" sldId="3297"/>
            <ac:picMk id="37" creationId="{0C1B899D-2DFE-AE2B-A925-494CA67290A9}"/>
          </ac:picMkLst>
        </pc:picChg>
        <pc:picChg chg="mod">
          <ac:chgData name="Aurelien Domont" userId="6da7715ce44349b3" providerId="LiveId" clId="{9149B00E-810E-48AB-9153-54C78195225C}" dt="2023-11-24T05:38:32.789" v="7259" actId="1035"/>
          <ac:picMkLst>
            <pc:docMk/>
            <pc:sldMk cId="937810425" sldId="3297"/>
            <ac:picMk id="39" creationId="{9E0B16A8-256E-E36A-0A8F-5B9855658360}"/>
          </ac:picMkLst>
        </pc:picChg>
        <pc:cxnChg chg="mod">
          <ac:chgData name="Aurelien Domont" userId="6da7715ce44349b3" providerId="LiveId" clId="{9149B00E-810E-48AB-9153-54C78195225C}" dt="2023-11-24T05:38:32.789" v="7259" actId="1035"/>
          <ac:cxnSpMkLst>
            <pc:docMk/>
            <pc:sldMk cId="937810425" sldId="3297"/>
            <ac:cxnSpMk id="17" creationId="{D133D4C6-3F08-8AFC-9CCF-AE3A535CDF20}"/>
          </ac:cxnSpMkLst>
        </pc:cxnChg>
        <pc:cxnChg chg="mod">
          <ac:chgData name="Aurelien Domont" userId="6da7715ce44349b3" providerId="LiveId" clId="{9149B00E-810E-48AB-9153-54C78195225C}" dt="2023-11-24T05:38:32.789" v="7259" actId="1035"/>
          <ac:cxnSpMkLst>
            <pc:docMk/>
            <pc:sldMk cId="937810425" sldId="3297"/>
            <ac:cxnSpMk id="18" creationId="{2C30C521-61FD-44C6-3FE2-9F7D0440BF98}"/>
          </ac:cxnSpMkLst>
        </pc:cxnChg>
        <pc:cxnChg chg="mod">
          <ac:chgData name="Aurelien Domont" userId="6da7715ce44349b3" providerId="LiveId" clId="{9149B00E-810E-48AB-9153-54C78195225C}" dt="2023-11-24T05:38:32.789" v="7259" actId="1035"/>
          <ac:cxnSpMkLst>
            <pc:docMk/>
            <pc:sldMk cId="937810425" sldId="3297"/>
            <ac:cxnSpMk id="19" creationId="{D8FF09F6-FC9D-118E-2BE9-8FA80AD42AC4}"/>
          </ac:cxnSpMkLst>
        </pc:cxnChg>
        <pc:cxnChg chg="mod">
          <ac:chgData name="Aurelien Domont" userId="6da7715ce44349b3" providerId="LiveId" clId="{9149B00E-810E-48AB-9153-54C78195225C}" dt="2023-11-24T05:38:32.789" v="7259" actId="1035"/>
          <ac:cxnSpMkLst>
            <pc:docMk/>
            <pc:sldMk cId="937810425" sldId="3297"/>
            <ac:cxnSpMk id="20" creationId="{21420269-1FD9-2098-9AF3-FF2DE59AD89E}"/>
          </ac:cxnSpMkLst>
        </pc:cxnChg>
        <pc:cxnChg chg="mod">
          <ac:chgData name="Aurelien Domont" userId="6da7715ce44349b3" providerId="LiveId" clId="{9149B00E-810E-48AB-9153-54C78195225C}" dt="2023-11-24T05:38:32.789" v="7259" actId="1035"/>
          <ac:cxnSpMkLst>
            <pc:docMk/>
            <pc:sldMk cId="937810425" sldId="3297"/>
            <ac:cxnSpMk id="23" creationId="{5C852D80-58BB-FD8F-BBDE-109FBF9575C2}"/>
          </ac:cxnSpMkLst>
        </pc:cxnChg>
      </pc:sldChg>
      <pc:sldMasterChg chg="delSldLayout">
        <pc:chgData name="Aurelien Domont" userId="6da7715ce44349b3" providerId="LiveId" clId="{9149B00E-810E-48AB-9153-54C78195225C}" dt="2023-11-21T23:57:54.169" v="192" actId="2696"/>
        <pc:sldMasterMkLst>
          <pc:docMk/>
          <pc:sldMasterMk cId="3482721130" sldId="2147483828"/>
        </pc:sldMasterMkLst>
        <pc:sldLayoutChg chg="del">
          <pc:chgData name="Aurelien Domont" userId="6da7715ce44349b3" providerId="LiveId" clId="{9149B00E-810E-48AB-9153-54C78195225C}" dt="2023-11-21T23:57:54.169" v="192" actId="2696"/>
          <pc:sldLayoutMkLst>
            <pc:docMk/>
            <pc:sldMasterMk cId="3482721130" sldId="2147483828"/>
            <pc:sldLayoutMk cId="2253346866" sldId="214748383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31444759206799E-2"/>
          <c:y val="0.13006756756756757"/>
          <c:w val="0.97733711048158645"/>
          <c:h val="0.777449324324324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2EF-4D3B-9AEF-5E29DEB6FCD1}"/>
              </c:ext>
            </c:extLst>
          </c:dPt>
          <c:dLbls>
            <c:dLbl>
              <c:idx val="0"/>
              <c:layout>
                <c:manualLayout>
                  <c:x val="0"/>
                  <c:y val="-0.3737331081081081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2EF-4D3B-9AEF-5E29DEB6FCD1}"/>
                </c:ext>
              </c:extLst>
            </c:dLbl>
            <c:dLbl>
              <c:idx val="1"/>
              <c:layout>
                <c:manualLayout>
                  <c:x val="0"/>
                  <c:y val="-0.4265202702702702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2EF-4D3B-9AEF-5E29DEB6FCD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45</c:v>
                </c:pt>
                <c:pt idx="1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EF-4D3B-9AEF-5E29DEB6FC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39907024"/>
        <c:axId val="1"/>
      </c:barChart>
      <c:catAx>
        <c:axId val="21399070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399070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2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EC13577B-6902-467D-A26C-08A0DD5E4E03}" type="datetimeFigureOut">
              <a:rPr lang="en-US" smtClean="0"/>
              <a:pPr/>
              <a:t>2/2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DF61EA0F-A667-4B49-8422-0062BC55E24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9319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8929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4315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269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978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7693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14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0DF66-9D0E-5C11-BCD9-CD96E5A9DA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6F1EF8-D932-EB5E-729B-1C670BC16D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E14274-D510-6B15-D75D-4B80F4CBEE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690E5D-E4FF-ED5B-7D21-14C1B576CD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508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6024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0811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4029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95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4379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DE07B690-0BBA-34F2-85A9-F009C8C65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rtl="0">
              <a:defRPr/>
            </a:lvl1pPr>
          </a:lstStyle>
          <a:p>
            <a:r>
              <a:rPr lang="en-US" dirty="0"/>
              <a:t>Click to </a:t>
            </a:r>
            <a:r>
              <a:rPr lang="en-US" noProof="0" dirty="0"/>
              <a:t>edit</a:t>
            </a:r>
            <a:r>
              <a:rPr lang="en-US" dirty="0"/>
              <a:t> Master title sty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A8DDF7C-B3ED-2539-2997-8DDCC58F6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0450" y="6611448"/>
            <a:ext cx="353064" cy="1875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CA576B74-1056-1C88-D7FB-F21F9C3B8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7402" y="6628286"/>
            <a:ext cx="250825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algn="r" defTabSz="914400" rtl="0" eaLnBrk="1" latinLnBrk="0" hangingPunct="1">
              <a:defRPr lang="en-IN" sz="1000" kern="12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mont Consulting</a:t>
            </a:r>
          </a:p>
        </p:txBody>
      </p:sp>
    </p:spTree>
    <p:extLst>
      <p:ext uri="{BB962C8B-B14F-4D97-AF65-F5344CB8AC3E}">
        <p14:creationId xmlns:p14="http://schemas.microsoft.com/office/powerpoint/2010/main" val="250590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478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302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3705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1996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3705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DEAB32C-E968-A714-7A77-AEFD89D2A39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69B22D6A-2535-B1D3-F638-6D5C1616FF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92049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76714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D4DD20C-EA54-9D25-63E5-E9D6B73836DD}"/>
              </a:ext>
            </a:extLst>
          </p:cNvPr>
          <p:cNvCxnSpPr/>
          <p:nvPr userDrawn="1"/>
        </p:nvCxnSpPr>
        <p:spPr>
          <a:xfrm>
            <a:off x="604435" y="6576344"/>
            <a:ext cx="1098313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FBE890-EBD2-F4BB-8C5B-7C56DF7459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0450" y="6611448"/>
            <a:ext cx="353064" cy="1875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AFAB105-2031-A9D0-840E-251212CBF3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7402" y="6628286"/>
            <a:ext cx="250825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algn="r" defTabSz="914400" rtl="0" eaLnBrk="1" latinLnBrk="0" hangingPunct="1">
              <a:defRPr lang="en-IN" sz="1000" kern="12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mont Consulting</a:t>
            </a:r>
          </a:p>
        </p:txBody>
      </p:sp>
    </p:spTree>
    <p:extLst>
      <p:ext uri="{BB962C8B-B14F-4D97-AF65-F5344CB8AC3E}">
        <p14:creationId xmlns:p14="http://schemas.microsoft.com/office/powerpoint/2010/main" val="34827211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4" r:id="rId3"/>
    <p:sldLayoutId id="2147483835" r:id="rId4"/>
  </p:sldLayoutIdLst>
  <p:hf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domontconsulting.com/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3.emf"/><Relationship Id="rId9" Type="http://schemas.openxmlformats.org/officeDocument/2006/relationships/image" Target="../media/image5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3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6" Type="http://schemas.openxmlformats.org/officeDocument/2006/relationships/image" Target="../media/image63.png"/><Relationship Id="rId5" Type="http://schemas.openxmlformats.org/officeDocument/2006/relationships/image" Target="../media/image1.emf"/><Relationship Id="rId10" Type="http://schemas.openxmlformats.org/officeDocument/2006/relationships/image" Target="../media/image67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66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13" Type="http://schemas.openxmlformats.org/officeDocument/2006/relationships/image" Target="../media/image74.png"/><Relationship Id="rId18" Type="http://schemas.openxmlformats.org/officeDocument/2006/relationships/image" Target="../media/image79.sv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82.png"/><Relationship Id="rId7" Type="http://schemas.openxmlformats.org/officeDocument/2006/relationships/image" Target="../media/image68.png"/><Relationship Id="rId12" Type="http://schemas.openxmlformats.org/officeDocument/2006/relationships/image" Target="../media/image73.svg"/><Relationship Id="rId17" Type="http://schemas.openxmlformats.org/officeDocument/2006/relationships/image" Target="../media/image78.png"/><Relationship Id="rId2" Type="http://schemas.openxmlformats.org/officeDocument/2006/relationships/tags" Target="../tags/tag34.xml"/><Relationship Id="rId16" Type="http://schemas.openxmlformats.org/officeDocument/2006/relationships/image" Target="../media/image77.svg"/><Relationship Id="rId20" Type="http://schemas.openxmlformats.org/officeDocument/2006/relationships/image" Target="../media/image81.svg"/><Relationship Id="rId1" Type="http://schemas.openxmlformats.org/officeDocument/2006/relationships/tags" Target="../tags/tag33.xml"/><Relationship Id="rId6" Type="http://schemas.openxmlformats.org/officeDocument/2006/relationships/image" Target="../media/image1.emf"/><Relationship Id="rId11" Type="http://schemas.openxmlformats.org/officeDocument/2006/relationships/image" Target="../media/image72.png"/><Relationship Id="rId24" Type="http://schemas.openxmlformats.org/officeDocument/2006/relationships/image" Target="../media/image85.sv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76.png"/><Relationship Id="rId23" Type="http://schemas.openxmlformats.org/officeDocument/2006/relationships/image" Target="../media/image84.png"/><Relationship Id="rId10" Type="http://schemas.openxmlformats.org/officeDocument/2006/relationships/image" Target="../media/image71.svg"/><Relationship Id="rId19" Type="http://schemas.openxmlformats.org/officeDocument/2006/relationships/image" Target="../media/image80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70.png"/><Relationship Id="rId14" Type="http://schemas.openxmlformats.org/officeDocument/2006/relationships/image" Target="../media/image75.svg"/><Relationship Id="rId22" Type="http://schemas.openxmlformats.org/officeDocument/2006/relationships/image" Target="../media/image83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hyperlink" Target="https://www.slidebooks.com/pages/reviews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5.xml"/><Relationship Id="rId6" Type="http://schemas.openxmlformats.org/officeDocument/2006/relationships/hyperlink" Target="https://www.domontconsulting.com/pages/reviews" TargetMode="External"/><Relationship Id="rId5" Type="http://schemas.openxmlformats.org/officeDocument/2006/relationships/image" Target="../media/image86.png"/><Relationship Id="rId4" Type="http://schemas.openxmlformats.org/officeDocument/2006/relationships/image" Target="../media/image3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.xml"/><Relationship Id="rId6" Type="http://schemas.openxmlformats.org/officeDocument/2006/relationships/image" Target="../media/image87.png"/><Relationship Id="rId11" Type="http://schemas.openxmlformats.org/officeDocument/2006/relationships/image" Target="../media/image27.png"/><Relationship Id="rId5" Type="http://schemas.openxmlformats.org/officeDocument/2006/relationships/image" Target="../media/image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hyperlink" Target="https://www.linkedin.com/in/aurelien-domont/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7.bin"/><Relationship Id="rId9" Type="http://schemas.openxmlformats.org/officeDocument/2006/relationships/hyperlink" Target="https://www.domontconsulting.com/" TargetMode="Externa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www.slidebooks.com/products/business-toolkit?variant=12473147916370&amp;utm_source=email&amp;utm_medium=email&amp;utm_campaign=entering%20new%20market" TargetMode="Externa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0.xml"/><Relationship Id="rId9" Type="http://schemas.openxmlformats.org/officeDocument/2006/relationships/hyperlink" Target="https://www.domontconsulting.com/pages/full-access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13" Type="http://schemas.openxmlformats.org/officeDocument/2006/relationships/image" Target="../media/image94.png"/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www.domontconsulting.com/pages/post-your-project" TargetMode="External"/><Relationship Id="rId12" Type="http://schemas.openxmlformats.org/officeDocument/2006/relationships/image" Target="../media/image93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.emf"/><Relationship Id="rId11" Type="http://schemas.openxmlformats.org/officeDocument/2006/relationships/image" Target="../media/image92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91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9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domontconsulting.com/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oleObject" Target="../embeddings/oleObject27.bin"/><Relationship Id="rId5" Type="http://schemas.openxmlformats.org/officeDocument/2006/relationships/image" Target="../media/image95.png"/><Relationship Id="rId4" Type="http://schemas.openxmlformats.org/officeDocument/2006/relationships/notesSlide" Target="../notesSlides/notesSlide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8.xml"/><Relationship Id="rId7" Type="http://schemas.openxmlformats.org/officeDocument/2006/relationships/image" Target="../media/image8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9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5.png"/><Relationship Id="rId18" Type="http://schemas.openxmlformats.org/officeDocument/2006/relationships/image" Target="../media/image20.sv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23.png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2" Type="http://schemas.openxmlformats.org/officeDocument/2006/relationships/tags" Target="../tags/tag21.xml"/><Relationship Id="rId16" Type="http://schemas.openxmlformats.org/officeDocument/2006/relationships/image" Target="../media/image18.svg"/><Relationship Id="rId20" Type="http://schemas.openxmlformats.org/officeDocument/2006/relationships/image" Target="../media/image22.svg"/><Relationship Id="rId1" Type="http://schemas.openxmlformats.org/officeDocument/2006/relationships/tags" Target="../tags/tag20.xml"/><Relationship Id="rId6" Type="http://schemas.openxmlformats.org/officeDocument/2006/relationships/image" Target="../media/image3.emf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10" Type="http://schemas.openxmlformats.org/officeDocument/2006/relationships/image" Target="../media/image12.svg"/><Relationship Id="rId19" Type="http://schemas.openxmlformats.org/officeDocument/2006/relationships/image" Target="../media/image21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1.png"/><Relationship Id="rId14" Type="http://schemas.openxmlformats.org/officeDocument/2006/relationships/image" Target="../media/image16.svg"/><Relationship Id="rId22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svg"/><Relationship Id="rId18" Type="http://schemas.openxmlformats.org/officeDocument/2006/relationships/image" Target="../media/image40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9.svg"/><Relationship Id="rId12" Type="http://schemas.openxmlformats.org/officeDocument/2006/relationships/image" Target="../media/image34.png"/><Relationship Id="rId17" Type="http://schemas.openxmlformats.org/officeDocument/2006/relationships/image" Target="../media/image39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38.png"/><Relationship Id="rId1" Type="http://schemas.openxmlformats.org/officeDocument/2006/relationships/tags" Target="../tags/tag23.xml"/><Relationship Id="rId6" Type="http://schemas.openxmlformats.org/officeDocument/2006/relationships/image" Target="../media/image28.png"/><Relationship Id="rId11" Type="http://schemas.openxmlformats.org/officeDocument/2006/relationships/image" Target="../media/image33.svg"/><Relationship Id="rId5" Type="http://schemas.openxmlformats.org/officeDocument/2006/relationships/image" Target="../media/image1.emf"/><Relationship Id="rId15" Type="http://schemas.openxmlformats.org/officeDocument/2006/relationships/image" Target="../media/image37.svg"/><Relationship Id="rId10" Type="http://schemas.openxmlformats.org/officeDocument/2006/relationships/image" Target="../media/image32.png"/><Relationship Id="rId19" Type="http://schemas.openxmlformats.org/officeDocument/2006/relationships/image" Target="../media/image41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1.svg"/><Relationship Id="rId1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42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1.svg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40.png"/><Relationship Id="rId1" Type="http://schemas.openxmlformats.org/officeDocument/2006/relationships/tags" Target="../tags/tag24.xml"/><Relationship Id="rId6" Type="http://schemas.openxmlformats.org/officeDocument/2006/relationships/image" Target="../media/image30.png"/><Relationship Id="rId11" Type="http://schemas.openxmlformats.org/officeDocument/2006/relationships/image" Target="../media/image35.svg"/><Relationship Id="rId5" Type="http://schemas.openxmlformats.org/officeDocument/2006/relationships/image" Target="../media/image3.emf"/><Relationship Id="rId15" Type="http://schemas.openxmlformats.org/officeDocument/2006/relationships/image" Target="../media/image39.svg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33.svg"/><Relationship Id="rId1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E3B18FE-7C76-9F52-5CB9-B48736D392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3B18FE-7C76-9F52-5CB9-B48736D3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">
            <a:extLst>
              <a:ext uri="{FF2B5EF4-FFF2-40B4-BE49-F238E27FC236}">
                <a16:creationId xmlns:a16="http://schemas.microsoft.com/office/drawing/2014/main" id="{55636F25-AFF8-8620-773A-3EF07AF15579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6F801314-5768-4EAC-8CED-0F2297F94238}"/>
            </a:extLst>
          </a:blip>
          <a:srcRect t="20147" b="20147"/>
          <a:stretch>
            <a:fillRect/>
          </a:stretch>
        </p:blipFill>
        <p:spPr bwMode="auto">
          <a:xfrm>
            <a:off x="0" y="0"/>
            <a:ext cx="12192000" cy="4859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1ADDC43-E206-24D0-5D8D-6D8244D3F224}"/>
              </a:ext>
            </a:extLst>
          </p:cNvPr>
          <p:cNvSpPr/>
          <p:nvPr/>
        </p:nvSpPr>
        <p:spPr>
          <a:xfrm>
            <a:off x="-1" y="4606290"/>
            <a:ext cx="12192000" cy="22517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431BC18-A461-9459-FF13-870ACCC7D4F5}"/>
              </a:ext>
            </a:extLst>
          </p:cNvPr>
          <p:cNvSpPr txBox="1"/>
          <p:nvPr/>
        </p:nvSpPr>
        <p:spPr>
          <a:xfrm>
            <a:off x="332933" y="4948797"/>
            <a:ext cx="6610127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800" b="1" dirty="0"/>
              <a:t>Operating Model and Organization Design Toolkit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/>
              <a:t>Overview and Approach</a:t>
            </a:r>
            <a:endParaRPr lang="en-US" sz="2800" dirty="0"/>
          </a:p>
        </p:txBody>
      </p:sp>
      <p:pic>
        <p:nvPicPr>
          <p:cNvPr id="3" name="Picture 2">
            <a:hlinkClick r:id="rId8"/>
            <a:extLst>
              <a:ext uri="{FF2B5EF4-FFF2-40B4-BE49-F238E27FC236}">
                <a16:creationId xmlns:a16="http://schemas.microsoft.com/office/drawing/2014/main" id="{B306F8A8-845A-B178-6CD0-D0574A8D025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88692" y="5732145"/>
            <a:ext cx="4101954" cy="964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1517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E080F-A39F-5EE8-16E8-4E50F19932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BB2CDAA-F6EC-54BC-468C-4CD1BA404F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3481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B2CDAA-F6EC-54BC-468C-4CD1BA404F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4ACA034D-2912-DC38-29FA-6858B4C3650C}"/>
              </a:ext>
            </a:extLst>
          </p:cNvPr>
          <p:cNvSpPr/>
          <p:nvPr/>
        </p:nvSpPr>
        <p:spPr>
          <a:xfrm>
            <a:off x="613321" y="1589585"/>
            <a:ext cx="10960193" cy="4915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CF18E-30BD-95D4-31FC-7EC2CC9BF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8862967" cy="1081710"/>
          </a:xfrm>
        </p:spPr>
        <p:txBody>
          <a:bodyPr vert="horz">
            <a:normAutofit/>
          </a:bodyPr>
          <a:lstStyle/>
          <a:p>
            <a:r>
              <a:rPr lang="en-US" dirty="0"/>
              <a:t>Small preview of the phase 2 ‘</a:t>
            </a:r>
            <a:r>
              <a:rPr lang="en-GB" dirty="0"/>
              <a:t>Operating Model and Organization Design 6 Pillars’</a:t>
            </a:r>
            <a:r>
              <a:rPr lang="en-US" dirty="0"/>
              <a:t> </a:t>
            </a:r>
            <a:endParaRPr lang="en-US" b="0" dirty="0"/>
          </a:p>
        </p:txBody>
      </p:sp>
      <p:sp>
        <p:nvSpPr>
          <p:cNvPr id="54" name="Footer Placeholder 53">
            <a:extLst>
              <a:ext uri="{FF2B5EF4-FFF2-40B4-BE49-F238E27FC236}">
                <a16:creationId xmlns:a16="http://schemas.microsoft.com/office/drawing/2014/main" id="{133BA22A-CD68-C690-D492-D9ABD886D7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id="{683816DA-2975-D181-2B5A-EF0D328500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947F318-A453-4008-E0C9-66FE109D06F2}"/>
              </a:ext>
            </a:extLst>
          </p:cNvPr>
          <p:cNvGrpSpPr/>
          <p:nvPr/>
        </p:nvGrpSpPr>
        <p:grpSpPr>
          <a:xfrm>
            <a:off x="9877648" y="317253"/>
            <a:ext cx="1695866" cy="1083089"/>
            <a:chOff x="9675628" y="224091"/>
            <a:chExt cx="1897886" cy="1212112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30D1D867-8D03-5482-ED5B-3E47DA18D764}"/>
                </a:ext>
              </a:extLst>
            </p:cNvPr>
            <p:cNvSpPr/>
            <p:nvPr/>
          </p:nvSpPr>
          <p:spPr>
            <a:xfrm>
              <a:off x="9675628" y="224091"/>
              <a:ext cx="1897886" cy="203653"/>
            </a:xfrm>
            <a:prstGeom prst="roundRect">
              <a:avLst>
                <a:gd name="adj" fmla="val 2394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25E1997-B8D6-E768-5F9E-64D7F228269D}"/>
                </a:ext>
              </a:extLst>
            </p:cNvPr>
            <p:cNvSpPr/>
            <p:nvPr/>
          </p:nvSpPr>
          <p:spPr>
            <a:xfrm>
              <a:off x="9675628" y="466569"/>
              <a:ext cx="1897886" cy="545325"/>
            </a:xfrm>
            <a:prstGeom prst="roundRect">
              <a:avLst>
                <a:gd name="adj" fmla="val 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B4E2DA45-526A-4B4B-0DE4-464FCDB37AE1}"/>
                </a:ext>
              </a:extLst>
            </p:cNvPr>
            <p:cNvSpPr/>
            <p:nvPr/>
          </p:nvSpPr>
          <p:spPr>
            <a:xfrm>
              <a:off x="9675628" y="1135581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C330DB9-1A6A-4295-9D58-265FF5240BB1}"/>
                </a:ext>
              </a:extLst>
            </p:cNvPr>
            <p:cNvSpPr/>
            <p:nvPr/>
          </p:nvSpPr>
          <p:spPr>
            <a:xfrm>
              <a:off x="9675628" y="1220443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A0EA802-534A-F3C0-4FB2-4D77B18B088A}"/>
                </a:ext>
              </a:extLst>
            </p:cNvPr>
            <p:cNvSpPr/>
            <p:nvPr/>
          </p:nvSpPr>
          <p:spPr>
            <a:xfrm>
              <a:off x="9675628" y="1305305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1411220-3C1B-E356-3505-9F842482FA95}"/>
                </a:ext>
              </a:extLst>
            </p:cNvPr>
            <p:cNvSpPr/>
            <p:nvPr/>
          </p:nvSpPr>
          <p:spPr>
            <a:xfrm>
              <a:off x="9675628" y="1050719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CF235982-F6CA-F22C-21D9-138B9AA3197D}"/>
                </a:ext>
              </a:extLst>
            </p:cNvPr>
            <p:cNvSpPr/>
            <p:nvPr/>
          </p:nvSpPr>
          <p:spPr>
            <a:xfrm>
              <a:off x="9675628" y="1390166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</p:grp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ABB99012-DEFF-0D25-3A11-2E44C1DA5F9C}"/>
              </a:ext>
            </a:extLst>
          </p:cNvPr>
          <p:cNvSpPr/>
          <p:nvPr/>
        </p:nvSpPr>
        <p:spPr>
          <a:xfrm>
            <a:off x="9956591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A069C60D-4384-72E9-DC24-55D6E62FC625}"/>
              </a:ext>
            </a:extLst>
          </p:cNvPr>
          <p:cNvSpPr/>
          <p:nvPr/>
        </p:nvSpPr>
        <p:spPr>
          <a:xfrm>
            <a:off x="10501787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774CC9DC-56A0-5090-9D2C-DAA972D2704B}"/>
              </a:ext>
            </a:extLst>
          </p:cNvPr>
          <p:cNvSpPr/>
          <p:nvPr/>
        </p:nvSpPr>
        <p:spPr>
          <a:xfrm>
            <a:off x="11046982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0F863181-A5A4-D1CC-1DBD-AE238DCCE0AD}"/>
              </a:ext>
            </a:extLst>
          </p:cNvPr>
          <p:cNvSpPr/>
          <p:nvPr/>
        </p:nvSpPr>
        <p:spPr>
          <a:xfrm>
            <a:off x="9956591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737FD126-547A-E61A-DFF5-7D0CDB80C7BD}"/>
              </a:ext>
            </a:extLst>
          </p:cNvPr>
          <p:cNvSpPr/>
          <p:nvPr/>
        </p:nvSpPr>
        <p:spPr>
          <a:xfrm>
            <a:off x="10501787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C2615BAE-23CA-B09D-7A8F-49696C195C2B}"/>
              </a:ext>
            </a:extLst>
          </p:cNvPr>
          <p:cNvSpPr/>
          <p:nvPr/>
        </p:nvSpPr>
        <p:spPr>
          <a:xfrm>
            <a:off x="11046982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0CEE0EA1-627A-0C6F-D75D-84B9B59394C8}"/>
              </a:ext>
            </a:extLst>
          </p:cNvPr>
          <p:cNvSpPr/>
          <p:nvPr/>
        </p:nvSpPr>
        <p:spPr>
          <a:xfrm>
            <a:off x="9649778" y="689022"/>
            <a:ext cx="188259" cy="20465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7BB0995-2B17-203E-7344-EB7088DE5F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980" y="1901276"/>
            <a:ext cx="3522582" cy="198145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7AB62C2-A02E-0F4F-A9DA-21F9B1B670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980" y="4187767"/>
            <a:ext cx="3522582" cy="198145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08CFC86-D259-377D-A65C-83BA052A06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29124" y="4203081"/>
            <a:ext cx="3522582" cy="198145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C388A80-89BC-6FCC-8E01-55386FCA01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33309" y="1901276"/>
            <a:ext cx="3522582" cy="198145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2902A50-C12D-7300-CC0C-DF99FE696D5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77638" y="1903533"/>
            <a:ext cx="3522582" cy="198145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22DDB17-3882-9BC5-6E06-A56B1641BA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77638" y="4203081"/>
            <a:ext cx="3522582" cy="198145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043467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89B8FE-FB77-CE89-D98B-AE7716D8A2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45C3991-B7FF-6B87-3E2F-B8F73A5E79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9513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5C3991-B7FF-6B87-3E2F-B8F73A5E79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F8D47105-82E7-A365-7E1D-C88C25030CC7}"/>
              </a:ext>
            </a:extLst>
          </p:cNvPr>
          <p:cNvSpPr/>
          <p:nvPr/>
        </p:nvSpPr>
        <p:spPr>
          <a:xfrm>
            <a:off x="613321" y="1589585"/>
            <a:ext cx="10960193" cy="4915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F5A00-DB34-EF8E-82CD-9B9574C1D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8862967" cy="1081710"/>
          </a:xfrm>
        </p:spPr>
        <p:txBody>
          <a:bodyPr vert="horz">
            <a:normAutofit/>
          </a:bodyPr>
          <a:lstStyle/>
          <a:p>
            <a:r>
              <a:rPr lang="en-US" dirty="0"/>
              <a:t>Small preview of the phase 3 ‘</a:t>
            </a:r>
            <a:r>
              <a:rPr lang="en-GB" dirty="0"/>
              <a:t>List of Potential Initiatives for each Pillar’</a:t>
            </a:r>
            <a:endParaRPr lang="en-US" b="0" dirty="0"/>
          </a:p>
        </p:txBody>
      </p:sp>
      <p:sp>
        <p:nvSpPr>
          <p:cNvPr id="54" name="Footer Placeholder 53">
            <a:extLst>
              <a:ext uri="{FF2B5EF4-FFF2-40B4-BE49-F238E27FC236}">
                <a16:creationId xmlns:a16="http://schemas.microsoft.com/office/drawing/2014/main" id="{A8CD603A-EDBD-6C91-9DEC-0BA2CB2092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id="{8264DC1C-EAB1-9B8E-4E5D-FA2F4CF55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03FC3654-4D00-2F74-DD86-73DCFAD5E012}"/>
              </a:ext>
            </a:extLst>
          </p:cNvPr>
          <p:cNvGrpSpPr/>
          <p:nvPr/>
        </p:nvGrpSpPr>
        <p:grpSpPr>
          <a:xfrm>
            <a:off x="9877648" y="317253"/>
            <a:ext cx="1695866" cy="1083089"/>
            <a:chOff x="9675628" y="224091"/>
            <a:chExt cx="1897886" cy="1212112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3FD03BEB-A9FF-63A1-E65B-FEF017B2AD75}"/>
                </a:ext>
              </a:extLst>
            </p:cNvPr>
            <p:cNvSpPr/>
            <p:nvPr/>
          </p:nvSpPr>
          <p:spPr>
            <a:xfrm>
              <a:off x="9675628" y="224091"/>
              <a:ext cx="1897886" cy="203653"/>
            </a:xfrm>
            <a:prstGeom prst="roundRect">
              <a:avLst>
                <a:gd name="adj" fmla="val 2394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577753B-022B-3CBE-70C1-7AACCC83AFAE}"/>
                </a:ext>
              </a:extLst>
            </p:cNvPr>
            <p:cNvSpPr/>
            <p:nvPr/>
          </p:nvSpPr>
          <p:spPr>
            <a:xfrm>
              <a:off x="9675628" y="466569"/>
              <a:ext cx="1897886" cy="545325"/>
            </a:xfrm>
            <a:prstGeom prst="roundRect">
              <a:avLst>
                <a:gd name="adj" fmla="val 60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23F59EB8-0AD8-1096-BA9D-58666FD618B4}"/>
                </a:ext>
              </a:extLst>
            </p:cNvPr>
            <p:cNvSpPr/>
            <p:nvPr/>
          </p:nvSpPr>
          <p:spPr>
            <a:xfrm>
              <a:off x="9675628" y="1135581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91D8599-95D6-AF6C-3E08-2E64AF8FB6BF}"/>
                </a:ext>
              </a:extLst>
            </p:cNvPr>
            <p:cNvSpPr/>
            <p:nvPr/>
          </p:nvSpPr>
          <p:spPr>
            <a:xfrm>
              <a:off x="9675628" y="1220443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C0E4300-2135-1607-5336-CF4F1113784E}"/>
                </a:ext>
              </a:extLst>
            </p:cNvPr>
            <p:cNvSpPr/>
            <p:nvPr/>
          </p:nvSpPr>
          <p:spPr>
            <a:xfrm>
              <a:off x="9675628" y="1305305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AFC38AC-426D-A09E-0892-8CACB2756F5F}"/>
                </a:ext>
              </a:extLst>
            </p:cNvPr>
            <p:cNvSpPr/>
            <p:nvPr/>
          </p:nvSpPr>
          <p:spPr>
            <a:xfrm>
              <a:off x="9675628" y="1050719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68573292-83C6-B252-974A-4CB9364E8BD6}"/>
                </a:ext>
              </a:extLst>
            </p:cNvPr>
            <p:cNvSpPr/>
            <p:nvPr/>
          </p:nvSpPr>
          <p:spPr>
            <a:xfrm>
              <a:off x="9675628" y="1390166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</p:grp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E926EE00-E260-5217-5403-E28A1A80321B}"/>
              </a:ext>
            </a:extLst>
          </p:cNvPr>
          <p:cNvSpPr/>
          <p:nvPr/>
        </p:nvSpPr>
        <p:spPr>
          <a:xfrm>
            <a:off x="9956591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13076492-9CA3-AC87-D7B0-9E498A80CE42}"/>
              </a:ext>
            </a:extLst>
          </p:cNvPr>
          <p:cNvSpPr/>
          <p:nvPr/>
        </p:nvSpPr>
        <p:spPr>
          <a:xfrm>
            <a:off x="10501787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EA82571E-98BD-EE5B-547C-89F982FD660E}"/>
              </a:ext>
            </a:extLst>
          </p:cNvPr>
          <p:cNvSpPr/>
          <p:nvPr/>
        </p:nvSpPr>
        <p:spPr>
          <a:xfrm>
            <a:off x="11046982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9CD16532-9395-19A2-E3E0-E2A1BEA47C3D}"/>
              </a:ext>
            </a:extLst>
          </p:cNvPr>
          <p:cNvSpPr/>
          <p:nvPr/>
        </p:nvSpPr>
        <p:spPr>
          <a:xfrm>
            <a:off x="9956591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A1C164E4-AFDC-EB1A-9BE8-7F725C59BE06}"/>
              </a:ext>
            </a:extLst>
          </p:cNvPr>
          <p:cNvSpPr/>
          <p:nvPr/>
        </p:nvSpPr>
        <p:spPr>
          <a:xfrm>
            <a:off x="10501787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7FF2FD18-EC49-FDD3-2E3D-96FF5F934263}"/>
              </a:ext>
            </a:extLst>
          </p:cNvPr>
          <p:cNvSpPr/>
          <p:nvPr/>
        </p:nvSpPr>
        <p:spPr>
          <a:xfrm>
            <a:off x="11046982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F3AC1E54-5347-629D-50D4-FFE35B425244}"/>
              </a:ext>
            </a:extLst>
          </p:cNvPr>
          <p:cNvSpPr/>
          <p:nvPr/>
        </p:nvSpPr>
        <p:spPr>
          <a:xfrm>
            <a:off x="9649778" y="966925"/>
            <a:ext cx="188259" cy="20465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0E925093-D1FA-2AC7-5C6A-C9FDAB509E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3354" y="2175365"/>
            <a:ext cx="4872446" cy="351439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AC9882FB-B1FA-3A70-D620-10B1A6D929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9460" y="2766989"/>
            <a:ext cx="4559186" cy="256049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715430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75F39A-275C-77F8-068E-0E659DFAC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48FD7E6-B4EA-F193-4D55-9208515589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4824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8FD7E6-B4EA-F193-4D55-9208515589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C6367CD7-4DBB-DF05-6E71-269F5F2212CF}"/>
              </a:ext>
            </a:extLst>
          </p:cNvPr>
          <p:cNvSpPr/>
          <p:nvPr/>
        </p:nvSpPr>
        <p:spPr>
          <a:xfrm>
            <a:off x="613321" y="1589585"/>
            <a:ext cx="10960193" cy="4915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67A495-449D-74CE-C6A5-1D89867B31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8862967" cy="1081710"/>
          </a:xfrm>
        </p:spPr>
        <p:txBody>
          <a:bodyPr vert="horz">
            <a:normAutofit/>
          </a:bodyPr>
          <a:lstStyle/>
          <a:p>
            <a:r>
              <a:rPr lang="en-US" dirty="0"/>
              <a:t>Small preview of the phase </a:t>
            </a:r>
            <a:r>
              <a:rPr lang="en-GB" dirty="0"/>
              <a:t>4 ‘Business cases and financial models to assess potential initiatives’</a:t>
            </a:r>
            <a:endParaRPr lang="en-US" b="0" dirty="0"/>
          </a:p>
        </p:txBody>
      </p:sp>
      <p:sp>
        <p:nvSpPr>
          <p:cNvPr id="54" name="Footer Placeholder 53">
            <a:extLst>
              <a:ext uri="{FF2B5EF4-FFF2-40B4-BE49-F238E27FC236}">
                <a16:creationId xmlns:a16="http://schemas.microsoft.com/office/drawing/2014/main" id="{077D3812-94AF-617C-7D73-69BB3C8A41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id="{36DF8D48-A876-243D-63D0-4109AB5BD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6A146AF9-233A-1E7A-FA09-31A322DF5885}"/>
              </a:ext>
            </a:extLst>
          </p:cNvPr>
          <p:cNvGrpSpPr/>
          <p:nvPr/>
        </p:nvGrpSpPr>
        <p:grpSpPr>
          <a:xfrm>
            <a:off x="9877648" y="317253"/>
            <a:ext cx="1695866" cy="1083089"/>
            <a:chOff x="9675628" y="224091"/>
            <a:chExt cx="1897886" cy="1212112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183250C-8452-F9D0-0AF8-DD72610917EA}"/>
                </a:ext>
              </a:extLst>
            </p:cNvPr>
            <p:cNvSpPr/>
            <p:nvPr/>
          </p:nvSpPr>
          <p:spPr>
            <a:xfrm>
              <a:off x="9675628" y="224091"/>
              <a:ext cx="1897886" cy="203653"/>
            </a:xfrm>
            <a:prstGeom prst="roundRect">
              <a:avLst>
                <a:gd name="adj" fmla="val 2394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F98DD34-E52D-D4D3-C362-9619CB009DCD}"/>
                </a:ext>
              </a:extLst>
            </p:cNvPr>
            <p:cNvSpPr/>
            <p:nvPr/>
          </p:nvSpPr>
          <p:spPr>
            <a:xfrm>
              <a:off x="9675628" y="466569"/>
              <a:ext cx="1897886" cy="545325"/>
            </a:xfrm>
            <a:prstGeom prst="roundRect">
              <a:avLst>
                <a:gd name="adj" fmla="val 60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F75EACB4-26CF-8EDE-B7A6-CAEFBEE45D3D}"/>
                </a:ext>
              </a:extLst>
            </p:cNvPr>
            <p:cNvSpPr/>
            <p:nvPr/>
          </p:nvSpPr>
          <p:spPr>
            <a:xfrm>
              <a:off x="9675628" y="1135581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079507B-D18C-AD9E-3AF9-57F59F3D0D11}"/>
                </a:ext>
              </a:extLst>
            </p:cNvPr>
            <p:cNvSpPr/>
            <p:nvPr/>
          </p:nvSpPr>
          <p:spPr>
            <a:xfrm>
              <a:off x="9675628" y="1220443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83014FE-FF88-F8D1-132C-30E7C48CDEEC}"/>
                </a:ext>
              </a:extLst>
            </p:cNvPr>
            <p:cNvSpPr/>
            <p:nvPr/>
          </p:nvSpPr>
          <p:spPr>
            <a:xfrm>
              <a:off x="9675628" y="1305305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3DCD4DBB-B2AF-EB00-231F-0F92A644202F}"/>
                </a:ext>
              </a:extLst>
            </p:cNvPr>
            <p:cNvSpPr/>
            <p:nvPr/>
          </p:nvSpPr>
          <p:spPr>
            <a:xfrm>
              <a:off x="9675628" y="1050719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6397AE5-955E-4E98-E472-5F10C415C5EB}"/>
                </a:ext>
              </a:extLst>
            </p:cNvPr>
            <p:cNvSpPr/>
            <p:nvPr/>
          </p:nvSpPr>
          <p:spPr>
            <a:xfrm>
              <a:off x="9675628" y="1390166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</p:grp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EEBCDFC0-9851-481D-0F88-0AE6BFD69D66}"/>
              </a:ext>
            </a:extLst>
          </p:cNvPr>
          <p:cNvSpPr/>
          <p:nvPr/>
        </p:nvSpPr>
        <p:spPr>
          <a:xfrm>
            <a:off x="9956591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4E05353E-4B56-AC54-F9E4-BB2A70282B70}"/>
              </a:ext>
            </a:extLst>
          </p:cNvPr>
          <p:cNvSpPr/>
          <p:nvPr/>
        </p:nvSpPr>
        <p:spPr>
          <a:xfrm>
            <a:off x="10501787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9D8C17A1-66E6-CADA-BF83-ADD45638AD42}"/>
              </a:ext>
            </a:extLst>
          </p:cNvPr>
          <p:cNvSpPr/>
          <p:nvPr/>
        </p:nvSpPr>
        <p:spPr>
          <a:xfrm>
            <a:off x="11046982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DFCE449C-92EB-9A0C-D15A-44092DD35F0C}"/>
              </a:ext>
            </a:extLst>
          </p:cNvPr>
          <p:cNvSpPr/>
          <p:nvPr/>
        </p:nvSpPr>
        <p:spPr>
          <a:xfrm>
            <a:off x="9956591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F82BCBFF-2525-FE01-582B-EADCF8558551}"/>
              </a:ext>
            </a:extLst>
          </p:cNvPr>
          <p:cNvSpPr/>
          <p:nvPr/>
        </p:nvSpPr>
        <p:spPr>
          <a:xfrm>
            <a:off x="10501787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7D23B487-612F-9662-3B7C-FDB10DBCF141}"/>
              </a:ext>
            </a:extLst>
          </p:cNvPr>
          <p:cNvSpPr/>
          <p:nvPr/>
        </p:nvSpPr>
        <p:spPr>
          <a:xfrm>
            <a:off x="11046982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A2496C32-9169-9547-EFBC-EB7FFDC1059E}"/>
              </a:ext>
            </a:extLst>
          </p:cNvPr>
          <p:cNvSpPr/>
          <p:nvPr/>
        </p:nvSpPr>
        <p:spPr>
          <a:xfrm>
            <a:off x="9649778" y="1047610"/>
            <a:ext cx="188259" cy="20465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31B7CDD-FDF0-3863-2280-58802DE7D8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7223" y="1807368"/>
            <a:ext cx="5559205" cy="45643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CB1E1F9-2872-58A1-4F7B-04C8FDA16B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59759" y="4148123"/>
            <a:ext cx="3565333" cy="222358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D7D4B99-5CD3-6FC0-BCFC-1FA774BC23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59759" y="1807368"/>
            <a:ext cx="3565333" cy="200549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410794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206FD-C57D-2ACF-1683-81A959968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C6AE305-F6D6-5F8A-33B0-FD6136D96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317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6AE305-F6D6-5F8A-33B0-FD6136D96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2D08ACBE-E605-B0E8-4922-E0F104F67616}"/>
              </a:ext>
            </a:extLst>
          </p:cNvPr>
          <p:cNvSpPr/>
          <p:nvPr/>
        </p:nvSpPr>
        <p:spPr>
          <a:xfrm>
            <a:off x="613321" y="1589585"/>
            <a:ext cx="10960193" cy="4915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7F7793-2CA4-B96B-2CD2-4A52E0A4A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8862967" cy="1081710"/>
          </a:xfrm>
        </p:spPr>
        <p:txBody>
          <a:bodyPr vert="horz">
            <a:normAutofit/>
          </a:bodyPr>
          <a:lstStyle/>
          <a:p>
            <a:r>
              <a:rPr lang="en-US" dirty="0"/>
              <a:t>Small preview of the phase </a:t>
            </a:r>
            <a:r>
              <a:rPr lang="en-GB" dirty="0"/>
              <a:t>5 ‘Project Prioritization, Business Roadmap and Implementation’</a:t>
            </a:r>
            <a:endParaRPr lang="en-US" b="0" dirty="0"/>
          </a:p>
        </p:txBody>
      </p:sp>
      <p:sp>
        <p:nvSpPr>
          <p:cNvPr id="54" name="Footer Placeholder 53">
            <a:extLst>
              <a:ext uri="{FF2B5EF4-FFF2-40B4-BE49-F238E27FC236}">
                <a16:creationId xmlns:a16="http://schemas.microsoft.com/office/drawing/2014/main" id="{7F154E33-2DC1-A605-6961-CCB04F8804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id="{72239552-C527-6A64-16FD-A1A09F279A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13</a:t>
            </a:fld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3469B6C-51E0-C0AD-1215-75B3CC70575C}"/>
              </a:ext>
            </a:extLst>
          </p:cNvPr>
          <p:cNvGrpSpPr/>
          <p:nvPr/>
        </p:nvGrpSpPr>
        <p:grpSpPr>
          <a:xfrm>
            <a:off x="9877648" y="317253"/>
            <a:ext cx="1695866" cy="1083089"/>
            <a:chOff x="9675628" y="224091"/>
            <a:chExt cx="1897886" cy="1212112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546E386-E0CB-4551-4A85-CB91C237106A}"/>
                </a:ext>
              </a:extLst>
            </p:cNvPr>
            <p:cNvSpPr/>
            <p:nvPr/>
          </p:nvSpPr>
          <p:spPr>
            <a:xfrm>
              <a:off x="9675628" y="224091"/>
              <a:ext cx="1897886" cy="203653"/>
            </a:xfrm>
            <a:prstGeom prst="roundRect">
              <a:avLst>
                <a:gd name="adj" fmla="val 2394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811B97B-E252-E69D-6DA2-6EC96642DD91}"/>
                </a:ext>
              </a:extLst>
            </p:cNvPr>
            <p:cNvSpPr/>
            <p:nvPr/>
          </p:nvSpPr>
          <p:spPr>
            <a:xfrm>
              <a:off x="9675628" y="466569"/>
              <a:ext cx="1897886" cy="545325"/>
            </a:xfrm>
            <a:prstGeom prst="roundRect">
              <a:avLst>
                <a:gd name="adj" fmla="val 60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842F4ECF-BF39-66D6-1939-E4836040B429}"/>
                </a:ext>
              </a:extLst>
            </p:cNvPr>
            <p:cNvSpPr/>
            <p:nvPr/>
          </p:nvSpPr>
          <p:spPr>
            <a:xfrm>
              <a:off x="9675628" y="1135581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7C0C942D-C902-0E1A-A1A2-2501106773C3}"/>
                </a:ext>
              </a:extLst>
            </p:cNvPr>
            <p:cNvSpPr/>
            <p:nvPr/>
          </p:nvSpPr>
          <p:spPr>
            <a:xfrm>
              <a:off x="9675628" y="1220443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6983324-BBDE-3C42-0112-F240D269BD4B}"/>
                </a:ext>
              </a:extLst>
            </p:cNvPr>
            <p:cNvSpPr/>
            <p:nvPr/>
          </p:nvSpPr>
          <p:spPr>
            <a:xfrm>
              <a:off x="9675628" y="1305305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8BE9968-FD9C-D92E-0B55-6C5216825FE2}"/>
                </a:ext>
              </a:extLst>
            </p:cNvPr>
            <p:cNvSpPr/>
            <p:nvPr/>
          </p:nvSpPr>
          <p:spPr>
            <a:xfrm>
              <a:off x="9675628" y="1050719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921435FD-6481-E5E8-4038-DB88ACC9DC8A}"/>
                </a:ext>
              </a:extLst>
            </p:cNvPr>
            <p:cNvSpPr/>
            <p:nvPr/>
          </p:nvSpPr>
          <p:spPr>
            <a:xfrm>
              <a:off x="9675628" y="1390166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</p:grp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F17F36C5-530C-EFD4-E294-96BB38FBBC30}"/>
              </a:ext>
            </a:extLst>
          </p:cNvPr>
          <p:cNvSpPr/>
          <p:nvPr/>
        </p:nvSpPr>
        <p:spPr>
          <a:xfrm>
            <a:off x="9956591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E39E95E9-5EE8-837C-6A39-EE37444ED4A5}"/>
              </a:ext>
            </a:extLst>
          </p:cNvPr>
          <p:cNvSpPr/>
          <p:nvPr/>
        </p:nvSpPr>
        <p:spPr>
          <a:xfrm>
            <a:off x="10501787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0A6A631-BF62-CC71-135B-03933E40E819}"/>
              </a:ext>
            </a:extLst>
          </p:cNvPr>
          <p:cNvSpPr/>
          <p:nvPr/>
        </p:nvSpPr>
        <p:spPr>
          <a:xfrm>
            <a:off x="11046982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6E629653-E804-CD6A-A35B-F6154FE4D0CC}"/>
              </a:ext>
            </a:extLst>
          </p:cNvPr>
          <p:cNvSpPr/>
          <p:nvPr/>
        </p:nvSpPr>
        <p:spPr>
          <a:xfrm>
            <a:off x="9956591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6941B7C5-3C3C-7513-0C2B-C8EAB05E9F28}"/>
              </a:ext>
            </a:extLst>
          </p:cNvPr>
          <p:cNvSpPr/>
          <p:nvPr/>
        </p:nvSpPr>
        <p:spPr>
          <a:xfrm>
            <a:off x="10501787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23B6D2A0-1EB5-DF18-246F-45A4534F6626}"/>
              </a:ext>
            </a:extLst>
          </p:cNvPr>
          <p:cNvSpPr/>
          <p:nvPr/>
        </p:nvSpPr>
        <p:spPr>
          <a:xfrm>
            <a:off x="11046982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3C6C6F18-0FE7-0F30-6863-879025EFA24B}"/>
              </a:ext>
            </a:extLst>
          </p:cNvPr>
          <p:cNvSpPr/>
          <p:nvPr/>
        </p:nvSpPr>
        <p:spPr>
          <a:xfrm>
            <a:off x="9649778" y="1128295"/>
            <a:ext cx="188259" cy="20465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765BF8-93E0-7C50-94C0-0201DE883B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9313" y="1761212"/>
            <a:ext cx="6096528" cy="342929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3F25097-0558-045C-B9FB-7E6E580B4C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13313" y="2957536"/>
            <a:ext cx="6096528" cy="342929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700038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748899-5301-8F8A-45D3-22CB69D5E4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262ACBF-E66F-9D06-484F-051D70E5D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338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62ACBF-E66F-9D06-484F-051D70E5D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524073F9-868A-7DF4-1E4B-B93EC4095748}"/>
              </a:ext>
            </a:extLst>
          </p:cNvPr>
          <p:cNvSpPr/>
          <p:nvPr/>
        </p:nvSpPr>
        <p:spPr>
          <a:xfrm>
            <a:off x="613321" y="1589585"/>
            <a:ext cx="10960193" cy="4915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BD7962-7AA8-FE82-4F58-FE3AAF3E5D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8278" y="1761212"/>
            <a:ext cx="6096528" cy="342929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8A41D36-D00A-8F96-DBD7-4F2F0031A6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13313" y="2911288"/>
            <a:ext cx="6096528" cy="342929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90C024-9D0D-5521-0ACE-21D6AE816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8862967" cy="1081710"/>
          </a:xfrm>
        </p:spPr>
        <p:txBody>
          <a:bodyPr vert="horz">
            <a:normAutofit/>
          </a:bodyPr>
          <a:lstStyle/>
          <a:p>
            <a:r>
              <a:rPr lang="en-US" dirty="0"/>
              <a:t>Small preview of the phase </a:t>
            </a:r>
            <a:r>
              <a:rPr lang="en-GB" dirty="0"/>
              <a:t>6 ‘Change Management and Internal Communication’</a:t>
            </a:r>
            <a:endParaRPr lang="en-US" b="0" dirty="0"/>
          </a:p>
        </p:txBody>
      </p:sp>
      <p:sp>
        <p:nvSpPr>
          <p:cNvPr id="54" name="Footer Placeholder 53">
            <a:extLst>
              <a:ext uri="{FF2B5EF4-FFF2-40B4-BE49-F238E27FC236}">
                <a16:creationId xmlns:a16="http://schemas.microsoft.com/office/drawing/2014/main" id="{907314E7-9405-6A2D-E327-8298F6676A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id="{46A81D13-6F44-E8C2-7E17-7251C96019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14</a:t>
            </a:fld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220561E-CA7B-C937-F5CA-50E14B962CDF}"/>
              </a:ext>
            </a:extLst>
          </p:cNvPr>
          <p:cNvGrpSpPr/>
          <p:nvPr/>
        </p:nvGrpSpPr>
        <p:grpSpPr>
          <a:xfrm>
            <a:off x="9877648" y="317253"/>
            <a:ext cx="1695866" cy="1083089"/>
            <a:chOff x="9675628" y="224091"/>
            <a:chExt cx="1897886" cy="1212112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3FAEC10-7878-F1B4-382B-7D88E28A50EA}"/>
                </a:ext>
              </a:extLst>
            </p:cNvPr>
            <p:cNvSpPr/>
            <p:nvPr/>
          </p:nvSpPr>
          <p:spPr>
            <a:xfrm>
              <a:off x="9675628" y="224091"/>
              <a:ext cx="1897886" cy="203653"/>
            </a:xfrm>
            <a:prstGeom prst="roundRect">
              <a:avLst>
                <a:gd name="adj" fmla="val 2394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334AAEAF-639B-372B-7C6B-491A88B44553}"/>
                </a:ext>
              </a:extLst>
            </p:cNvPr>
            <p:cNvSpPr/>
            <p:nvPr/>
          </p:nvSpPr>
          <p:spPr>
            <a:xfrm>
              <a:off x="9675628" y="466569"/>
              <a:ext cx="1897886" cy="545325"/>
            </a:xfrm>
            <a:prstGeom prst="roundRect">
              <a:avLst>
                <a:gd name="adj" fmla="val 60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4DC42B77-4BCA-A9DC-FFCD-3883D5E3B65C}"/>
                </a:ext>
              </a:extLst>
            </p:cNvPr>
            <p:cNvSpPr/>
            <p:nvPr/>
          </p:nvSpPr>
          <p:spPr>
            <a:xfrm>
              <a:off x="9675628" y="1135581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4E85A0E-8192-3647-29F0-50D2FD3D2C62}"/>
                </a:ext>
              </a:extLst>
            </p:cNvPr>
            <p:cNvSpPr/>
            <p:nvPr/>
          </p:nvSpPr>
          <p:spPr>
            <a:xfrm>
              <a:off x="9675628" y="1220443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A7C88A1-9C21-E0BF-29F5-9627173CE79E}"/>
                </a:ext>
              </a:extLst>
            </p:cNvPr>
            <p:cNvSpPr/>
            <p:nvPr/>
          </p:nvSpPr>
          <p:spPr>
            <a:xfrm>
              <a:off x="9675628" y="1305305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82566919-B6B5-B606-0807-A93E042FA617}"/>
                </a:ext>
              </a:extLst>
            </p:cNvPr>
            <p:cNvSpPr/>
            <p:nvPr/>
          </p:nvSpPr>
          <p:spPr>
            <a:xfrm>
              <a:off x="9675628" y="1050719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B204ED7C-3EF4-0292-B53D-1505544852A7}"/>
                </a:ext>
              </a:extLst>
            </p:cNvPr>
            <p:cNvSpPr/>
            <p:nvPr/>
          </p:nvSpPr>
          <p:spPr>
            <a:xfrm>
              <a:off x="9675628" y="1390166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</p:grp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ACA02A04-4BB3-86E8-2DBE-C5932186646A}"/>
              </a:ext>
            </a:extLst>
          </p:cNvPr>
          <p:cNvSpPr/>
          <p:nvPr/>
        </p:nvSpPr>
        <p:spPr>
          <a:xfrm>
            <a:off x="9956591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E8635DB5-E775-1257-88A2-3E8C4403A6EF}"/>
              </a:ext>
            </a:extLst>
          </p:cNvPr>
          <p:cNvSpPr/>
          <p:nvPr/>
        </p:nvSpPr>
        <p:spPr>
          <a:xfrm>
            <a:off x="10501787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70B03E4B-6487-C1B4-AC7D-7BA5BC49685E}"/>
              </a:ext>
            </a:extLst>
          </p:cNvPr>
          <p:cNvSpPr/>
          <p:nvPr/>
        </p:nvSpPr>
        <p:spPr>
          <a:xfrm>
            <a:off x="11046982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E9001BC4-C4F7-3179-AB95-8EAC523700F4}"/>
              </a:ext>
            </a:extLst>
          </p:cNvPr>
          <p:cNvSpPr/>
          <p:nvPr/>
        </p:nvSpPr>
        <p:spPr>
          <a:xfrm>
            <a:off x="9956591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EA94B209-8326-2AB6-51B5-772C0C51AB3E}"/>
              </a:ext>
            </a:extLst>
          </p:cNvPr>
          <p:cNvSpPr/>
          <p:nvPr/>
        </p:nvSpPr>
        <p:spPr>
          <a:xfrm>
            <a:off x="10501787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47680302-FE69-C40E-506A-8F380B44E956}"/>
              </a:ext>
            </a:extLst>
          </p:cNvPr>
          <p:cNvSpPr/>
          <p:nvPr/>
        </p:nvSpPr>
        <p:spPr>
          <a:xfrm>
            <a:off x="11046982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66D736DB-63B2-3439-AB14-1A382DA7F38B}"/>
              </a:ext>
            </a:extLst>
          </p:cNvPr>
          <p:cNvSpPr/>
          <p:nvPr/>
        </p:nvSpPr>
        <p:spPr>
          <a:xfrm>
            <a:off x="9649778" y="1208980"/>
            <a:ext cx="188259" cy="20465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2614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3B148C-5749-4B4C-3457-5937D54E31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E945F0E-DBB3-5EED-E728-506B26899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7507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945F0E-DBB3-5EED-E728-506B26899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06BB98F3-3AE5-99A2-92C2-18F620B91292}"/>
              </a:ext>
            </a:extLst>
          </p:cNvPr>
          <p:cNvSpPr/>
          <p:nvPr/>
        </p:nvSpPr>
        <p:spPr>
          <a:xfrm>
            <a:off x="613321" y="1589585"/>
            <a:ext cx="10960193" cy="4915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4C4E2F-B522-CC7B-C8E0-ACF62B2CD3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13313" y="2911287"/>
            <a:ext cx="6096528" cy="342929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0D1CDC-7229-EF9E-B32B-6739AB2757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8278" y="1761211"/>
            <a:ext cx="6096528" cy="342929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0BBD5B-6C10-63D1-1A8B-A14EBAD972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8862967" cy="1081710"/>
          </a:xfrm>
        </p:spPr>
        <p:txBody>
          <a:bodyPr vert="horz">
            <a:normAutofit/>
          </a:bodyPr>
          <a:lstStyle/>
          <a:p>
            <a:r>
              <a:rPr lang="en-US" dirty="0"/>
              <a:t>Small preview of the phase </a:t>
            </a:r>
            <a:r>
              <a:rPr lang="en-GB" dirty="0"/>
              <a:t>7 ‘Stakeholder Engagement’</a:t>
            </a:r>
            <a:endParaRPr lang="en-US" b="0" dirty="0"/>
          </a:p>
        </p:txBody>
      </p:sp>
      <p:sp>
        <p:nvSpPr>
          <p:cNvPr id="54" name="Footer Placeholder 53">
            <a:extLst>
              <a:ext uri="{FF2B5EF4-FFF2-40B4-BE49-F238E27FC236}">
                <a16:creationId xmlns:a16="http://schemas.microsoft.com/office/drawing/2014/main" id="{A0260D60-1BDF-F941-6B21-26464EA417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id="{A692F130-4BC1-9AFB-E8C5-A5BA62FD36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15</a:t>
            </a:fld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F6F5F85-BA3B-BE8F-4E2F-38C9D2D823E0}"/>
              </a:ext>
            </a:extLst>
          </p:cNvPr>
          <p:cNvGrpSpPr/>
          <p:nvPr/>
        </p:nvGrpSpPr>
        <p:grpSpPr>
          <a:xfrm>
            <a:off x="9877648" y="317253"/>
            <a:ext cx="1695866" cy="1083089"/>
            <a:chOff x="9675628" y="224091"/>
            <a:chExt cx="1897886" cy="1212112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487CC08A-D011-190C-4193-AB300E4756D8}"/>
                </a:ext>
              </a:extLst>
            </p:cNvPr>
            <p:cNvSpPr/>
            <p:nvPr/>
          </p:nvSpPr>
          <p:spPr>
            <a:xfrm>
              <a:off x="9675628" y="224091"/>
              <a:ext cx="1897886" cy="203653"/>
            </a:xfrm>
            <a:prstGeom prst="roundRect">
              <a:avLst>
                <a:gd name="adj" fmla="val 2394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7733582-3F15-0FA1-D610-69AC9C88737C}"/>
                </a:ext>
              </a:extLst>
            </p:cNvPr>
            <p:cNvSpPr/>
            <p:nvPr/>
          </p:nvSpPr>
          <p:spPr>
            <a:xfrm>
              <a:off x="9675628" y="466569"/>
              <a:ext cx="1897886" cy="545325"/>
            </a:xfrm>
            <a:prstGeom prst="roundRect">
              <a:avLst>
                <a:gd name="adj" fmla="val 60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771E439-B9D0-EB4A-4470-63228774AC6A}"/>
                </a:ext>
              </a:extLst>
            </p:cNvPr>
            <p:cNvSpPr/>
            <p:nvPr/>
          </p:nvSpPr>
          <p:spPr>
            <a:xfrm>
              <a:off x="9675628" y="1135581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DCCAE4B1-10D2-26FA-AD8C-BEF549A93D2F}"/>
                </a:ext>
              </a:extLst>
            </p:cNvPr>
            <p:cNvSpPr/>
            <p:nvPr/>
          </p:nvSpPr>
          <p:spPr>
            <a:xfrm>
              <a:off x="9675628" y="1220443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85196EA8-D7C8-D5BF-24E5-63D3B1D688DF}"/>
                </a:ext>
              </a:extLst>
            </p:cNvPr>
            <p:cNvSpPr/>
            <p:nvPr/>
          </p:nvSpPr>
          <p:spPr>
            <a:xfrm>
              <a:off x="9675628" y="1305305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C842657E-2FF6-55EB-AB3F-618B778389DF}"/>
                </a:ext>
              </a:extLst>
            </p:cNvPr>
            <p:cNvSpPr/>
            <p:nvPr/>
          </p:nvSpPr>
          <p:spPr>
            <a:xfrm>
              <a:off x="9675628" y="1050719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ACC6AF29-3BFE-7891-24CB-277C9EE181FB}"/>
                </a:ext>
              </a:extLst>
            </p:cNvPr>
            <p:cNvSpPr/>
            <p:nvPr/>
          </p:nvSpPr>
          <p:spPr>
            <a:xfrm>
              <a:off x="9675628" y="1390166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</p:grp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F446F14C-4CCF-3FDB-1367-E92F698EE2A3}"/>
              </a:ext>
            </a:extLst>
          </p:cNvPr>
          <p:cNvSpPr/>
          <p:nvPr/>
        </p:nvSpPr>
        <p:spPr>
          <a:xfrm>
            <a:off x="9956591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8D342FB3-5637-B08E-A1CB-F5F79A927022}"/>
              </a:ext>
            </a:extLst>
          </p:cNvPr>
          <p:cNvSpPr/>
          <p:nvPr/>
        </p:nvSpPr>
        <p:spPr>
          <a:xfrm>
            <a:off x="10501787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7B884C35-6C78-AF7D-F8F0-532B6D7B3C0A}"/>
              </a:ext>
            </a:extLst>
          </p:cNvPr>
          <p:cNvSpPr/>
          <p:nvPr/>
        </p:nvSpPr>
        <p:spPr>
          <a:xfrm>
            <a:off x="11046982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B27BB6DD-1D6F-2E5D-8250-724F5B6429D5}"/>
              </a:ext>
            </a:extLst>
          </p:cNvPr>
          <p:cNvSpPr/>
          <p:nvPr/>
        </p:nvSpPr>
        <p:spPr>
          <a:xfrm>
            <a:off x="9956591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D3CD44DF-8F91-6160-48C2-EA466425F67D}"/>
              </a:ext>
            </a:extLst>
          </p:cNvPr>
          <p:cNvSpPr/>
          <p:nvPr/>
        </p:nvSpPr>
        <p:spPr>
          <a:xfrm>
            <a:off x="10501787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F590624-0362-90F9-BF4A-F87610406BA5}"/>
              </a:ext>
            </a:extLst>
          </p:cNvPr>
          <p:cNvSpPr/>
          <p:nvPr/>
        </p:nvSpPr>
        <p:spPr>
          <a:xfrm>
            <a:off x="11046982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B86DBD86-95DD-4C87-596A-79313D6CCB85}"/>
              </a:ext>
            </a:extLst>
          </p:cNvPr>
          <p:cNvSpPr/>
          <p:nvPr/>
        </p:nvSpPr>
        <p:spPr>
          <a:xfrm>
            <a:off x="9649778" y="1262768"/>
            <a:ext cx="188259" cy="20465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4495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6675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The Toolkit includes multiple PowerPoint slides, Excel sheets and Video training that you can download on your device immediately after purchase</a:t>
            </a:r>
            <a:endParaRPr lang="en-US" sz="2400" kern="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1C86821-54CE-8A1B-CBED-54B7AF9E8611}"/>
              </a:ext>
            </a:extLst>
          </p:cNvPr>
          <p:cNvSpPr/>
          <p:nvPr/>
        </p:nvSpPr>
        <p:spPr>
          <a:xfrm>
            <a:off x="621153" y="4954265"/>
            <a:ext cx="10966010" cy="871477"/>
          </a:xfrm>
          <a:prstGeom prst="roundRect">
            <a:avLst>
              <a:gd name="adj" fmla="val 4711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B22B2CC-25AA-263D-1020-C20A807B7EB8}"/>
              </a:ext>
            </a:extLst>
          </p:cNvPr>
          <p:cNvSpPr/>
          <p:nvPr/>
        </p:nvSpPr>
        <p:spPr>
          <a:xfrm>
            <a:off x="621153" y="3882015"/>
            <a:ext cx="10966010" cy="871477"/>
          </a:xfrm>
          <a:prstGeom prst="roundRect">
            <a:avLst>
              <a:gd name="adj" fmla="val 4711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0572104-6430-3E61-5813-3590A3CFE972}"/>
              </a:ext>
            </a:extLst>
          </p:cNvPr>
          <p:cNvSpPr/>
          <p:nvPr/>
        </p:nvSpPr>
        <p:spPr>
          <a:xfrm>
            <a:off x="621153" y="2816044"/>
            <a:ext cx="10966010" cy="871477"/>
          </a:xfrm>
          <a:prstGeom prst="roundRect">
            <a:avLst>
              <a:gd name="adj" fmla="val 4711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6B23995-4475-E84D-EF57-7992732496E4}"/>
              </a:ext>
            </a:extLst>
          </p:cNvPr>
          <p:cNvSpPr/>
          <p:nvPr/>
        </p:nvSpPr>
        <p:spPr>
          <a:xfrm>
            <a:off x="621153" y="1720039"/>
            <a:ext cx="10966010" cy="871477"/>
          </a:xfrm>
          <a:prstGeom prst="roundRect">
            <a:avLst>
              <a:gd name="adj" fmla="val 4711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F8D9CE97-3B89-11F5-DD37-F399ADABEF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" y="1835113"/>
            <a:ext cx="675558" cy="628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Download Microsoft Excel Logo in SVG Vector or PNG File Format - Logo.wine">
            <a:extLst>
              <a:ext uri="{FF2B5EF4-FFF2-40B4-BE49-F238E27FC236}">
                <a16:creationId xmlns:a16="http://schemas.microsoft.com/office/drawing/2014/main" id="{B71C95D7-A854-1E0E-C591-CD4E72F4E2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724" y="2843273"/>
            <a:ext cx="1307215" cy="871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phic 11" descr="Open folder outline">
            <a:extLst>
              <a:ext uri="{FF2B5EF4-FFF2-40B4-BE49-F238E27FC236}">
                <a16:creationId xmlns:a16="http://schemas.microsoft.com/office/drawing/2014/main" id="{9EE88CF5-F9D5-B7D1-ABD0-E1C6B217D7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400000">
            <a:off x="794401" y="5010472"/>
            <a:ext cx="829320" cy="82932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A437ECF-467E-1AD6-2C2E-4087FF953203}"/>
              </a:ext>
            </a:extLst>
          </p:cNvPr>
          <p:cNvSpPr txBox="1"/>
          <p:nvPr/>
        </p:nvSpPr>
        <p:spPr>
          <a:xfrm>
            <a:off x="1863088" y="1994804"/>
            <a:ext cx="44005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600 editable PowerPoint slides*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77600B6-F58C-3E6A-BB6D-D47C974412BF}"/>
              </a:ext>
            </a:extLst>
          </p:cNvPr>
          <p:cNvSpPr txBox="1"/>
          <p:nvPr/>
        </p:nvSpPr>
        <p:spPr>
          <a:xfrm>
            <a:off x="1863088" y="3125122"/>
            <a:ext cx="3005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21 Excel sheets*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E597C27-D46E-623C-682B-08389CD25348}"/>
              </a:ext>
            </a:extLst>
          </p:cNvPr>
          <p:cNvSpPr txBox="1"/>
          <p:nvPr/>
        </p:nvSpPr>
        <p:spPr>
          <a:xfrm>
            <a:off x="1863088" y="4153332"/>
            <a:ext cx="34506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35 minutes of Video traini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B932BA-CA7A-E3C4-9CC0-B95F841B1AA1}"/>
              </a:ext>
            </a:extLst>
          </p:cNvPr>
          <p:cNvSpPr/>
          <p:nvPr/>
        </p:nvSpPr>
        <p:spPr>
          <a:xfrm>
            <a:off x="1686842" y="1812253"/>
            <a:ext cx="59203" cy="6898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0FE0B1D-EED1-17BD-8FCD-7A8076B46A80}"/>
              </a:ext>
            </a:extLst>
          </p:cNvPr>
          <p:cNvSpPr/>
          <p:nvPr/>
        </p:nvSpPr>
        <p:spPr>
          <a:xfrm>
            <a:off x="1686842" y="2949494"/>
            <a:ext cx="59203" cy="68981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0FC0FE-A163-ED1A-A296-D87A1C3FBA71}"/>
              </a:ext>
            </a:extLst>
          </p:cNvPr>
          <p:cNvSpPr/>
          <p:nvPr/>
        </p:nvSpPr>
        <p:spPr>
          <a:xfrm>
            <a:off x="1686842" y="3966891"/>
            <a:ext cx="59203" cy="68981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99470BB-701E-9F9B-5EED-CC4D40F693E5}"/>
              </a:ext>
            </a:extLst>
          </p:cNvPr>
          <p:cNvSpPr/>
          <p:nvPr/>
        </p:nvSpPr>
        <p:spPr>
          <a:xfrm>
            <a:off x="1686842" y="5056527"/>
            <a:ext cx="59203" cy="68981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CBE2770C-6D4F-9F15-A358-CC0DFDE1D3D0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1344" t="22611" r="63111" b="28117"/>
          <a:stretch/>
        </p:blipFill>
        <p:spPr>
          <a:xfrm>
            <a:off x="794400" y="3945615"/>
            <a:ext cx="823861" cy="68981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AA9348D-3B76-CAB3-5A04-7493B1BF62D0}"/>
              </a:ext>
            </a:extLst>
          </p:cNvPr>
          <p:cNvSpPr txBox="1"/>
          <p:nvPr/>
        </p:nvSpPr>
        <p:spPr>
          <a:xfrm>
            <a:off x="621153" y="6023610"/>
            <a:ext cx="11073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*Please note that the number of Powerpoint slides and Excel sheets listed is the number of unique slides and sheets. For example, a Powerpoint slide that has been duplicated to facilitate our clients’ understanding only counts for one slid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A3B45A2-6730-AAE6-D2B9-DE558A8BAB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F8AD31-0AF9-5A74-3C81-0664730D0C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27FF4E-317C-4CEC-FBC7-B39A59DED97E}"/>
              </a:ext>
            </a:extLst>
          </p:cNvPr>
          <p:cNvSpPr txBox="1"/>
          <p:nvPr/>
        </p:nvSpPr>
        <p:spPr>
          <a:xfrm>
            <a:off x="1863087" y="5008794"/>
            <a:ext cx="9534511" cy="806123"/>
          </a:xfrm>
          <a:prstGeom prst="rect">
            <a:avLst/>
          </a:prstGeom>
          <a:noFill/>
        </p:spPr>
        <p:txBody>
          <a:bodyPr wrap="square" numCol="2" rtlCol="0">
            <a:no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100" dirty="0"/>
              <a:t>Overview and Approach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100" dirty="0"/>
              <a:t>Business Case for Change</a:t>
            </a: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en-GB" sz="1100" dirty="0"/>
              <a:t>Operating Model and Organization Design Pillar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List of Potential Initiatives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100" dirty="0"/>
              <a:t>Business Cases and Financial Models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100" dirty="0"/>
              <a:t>Project Prioritization, Business Roadmap and Implementa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Change Management &amp; Internal Communica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Stakeholder Engagement</a:t>
            </a:r>
          </a:p>
        </p:txBody>
      </p:sp>
    </p:spTree>
    <p:extLst>
      <p:ext uri="{BB962C8B-B14F-4D97-AF65-F5344CB8AC3E}">
        <p14:creationId xmlns:p14="http://schemas.microsoft.com/office/powerpoint/2010/main" val="12090916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394E08-585B-4505-9747-167D67881D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8416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394E08-585B-4505-9747-167D67881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751010D-829D-4277-97AB-08D381FF1AB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400" kern="0" dirty="0"/>
              <a:t>Our Management Consulting Toolkits include 9 key benefits</a:t>
            </a:r>
            <a:endParaRPr lang="en-US" sz="2400" b="0" kern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995E6E-91BA-B0E7-4827-A68EC447770B}"/>
              </a:ext>
            </a:extLst>
          </p:cNvPr>
          <p:cNvSpPr/>
          <p:nvPr/>
        </p:nvSpPr>
        <p:spPr>
          <a:xfrm>
            <a:off x="623454" y="1769876"/>
            <a:ext cx="3493929" cy="13733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60E3F4-FD20-38EA-1420-4623364ED51E}"/>
              </a:ext>
            </a:extLst>
          </p:cNvPr>
          <p:cNvSpPr/>
          <p:nvPr/>
        </p:nvSpPr>
        <p:spPr>
          <a:xfrm>
            <a:off x="4358343" y="1769876"/>
            <a:ext cx="3493929" cy="13733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1454E6-A047-784E-7613-20D7CCDFF33E}"/>
              </a:ext>
            </a:extLst>
          </p:cNvPr>
          <p:cNvSpPr/>
          <p:nvPr/>
        </p:nvSpPr>
        <p:spPr>
          <a:xfrm>
            <a:off x="8093234" y="1769876"/>
            <a:ext cx="3493929" cy="13733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B011522-144C-50E9-7C59-75376D78C1B7}"/>
              </a:ext>
            </a:extLst>
          </p:cNvPr>
          <p:cNvSpPr/>
          <p:nvPr/>
        </p:nvSpPr>
        <p:spPr>
          <a:xfrm>
            <a:off x="623454" y="3326712"/>
            <a:ext cx="3493929" cy="13733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33AC3B5-B093-8FC2-5B92-E7096884A7EF}"/>
              </a:ext>
            </a:extLst>
          </p:cNvPr>
          <p:cNvSpPr/>
          <p:nvPr/>
        </p:nvSpPr>
        <p:spPr>
          <a:xfrm>
            <a:off x="4358343" y="3326712"/>
            <a:ext cx="3493929" cy="13733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207AFA-900A-08C9-C601-047F9B971411}"/>
              </a:ext>
            </a:extLst>
          </p:cNvPr>
          <p:cNvSpPr/>
          <p:nvPr/>
        </p:nvSpPr>
        <p:spPr>
          <a:xfrm>
            <a:off x="8093234" y="3326712"/>
            <a:ext cx="3493929" cy="13733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F5CC02-D203-B520-C5B5-7DC6DED93266}"/>
              </a:ext>
            </a:extLst>
          </p:cNvPr>
          <p:cNvSpPr/>
          <p:nvPr/>
        </p:nvSpPr>
        <p:spPr>
          <a:xfrm>
            <a:off x="623454" y="4883548"/>
            <a:ext cx="3493929" cy="13733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38A4F5-5450-BF24-707B-85666AD593E9}"/>
              </a:ext>
            </a:extLst>
          </p:cNvPr>
          <p:cNvSpPr/>
          <p:nvPr/>
        </p:nvSpPr>
        <p:spPr>
          <a:xfrm>
            <a:off x="4358343" y="4883548"/>
            <a:ext cx="3493929" cy="13733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FADB5E-4C81-33E2-D634-A1839CEA8691}"/>
              </a:ext>
            </a:extLst>
          </p:cNvPr>
          <p:cNvSpPr/>
          <p:nvPr/>
        </p:nvSpPr>
        <p:spPr>
          <a:xfrm>
            <a:off x="8093234" y="4883548"/>
            <a:ext cx="3493929" cy="13733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AA7CD485-9B9C-7FFF-019C-F215989F53D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2218" y="2201757"/>
            <a:ext cx="509624" cy="509624"/>
          </a:xfrm>
          <a:prstGeom prst="rect">
            <a:avLst/>
          </a:prstGeom>
        </p:spPr>
      </p:pic>
      <p:sp>
        <p:nvSpPr>
          <p:cNvPr id="22" name="Rounded Rectangle 5">
            <a:extLst>
              <a:ext uri="{FF2B5EF4-FFF2-40B4-BE49-F238E27FC236}">
                <a16:creationId xmlns:a16="http://schemas.microsoft.com/office/drawing/2014/main" id="{F664C8EF-D253-2803-0178-09A2F1F96CDD}"/>
              </a:ext>
            </a:extLst>
          </p:cNvPr>
          <p:cNvSpPr/>
          <p:nvPr/>
        </p:nvSpPr>
        <p:spPr bwMode="auto">
          <a:xfrm>
            <a:off x="1470606" y="1994903"/>
            <a:ext cx="2467550" cy="923330"/>
          </a:xfrm>
          <a:prstGeom prst="rect">
            <a:avLst/>
          </a:prstGeom>
          <a:noFill/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sz="1200" b="1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Improve the growth &amp; efficiency of your organization </a:t>
            </a:r>
            <a:r>
              <a:rPr lang="en-US" sz="1200" b="0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by leveraging Management Consulting Toolkits created by ex-McKinsey, Deloitte &amp; BCG Consultants.</a:t>
            </a:r>
            <a:endParaRPr lang="en-US" sz="1200" dirty="0">
              <a:ea typeface="ＭＳ Ｐゴシック" pitchFamily="50" charset="-128"/>
            </a:endParaRPr>
          </a:p>
        </p:txBody>
      </p:sp>
      <p:sp>
        <p:nvSpPr>
          <p:cNvPr id="23" name="Rounded Rectangle 5">
            <a:extLst>
              <a:ext uri="{FF2B5EF4-FFF2-40B4-BE49-F238E27FC236}">
                <a16:creationId xmlns:a16="http://schemas.microsoft.com/office/drawing/2014/main" id="{B1D380C4-C6FD-13A7-39CE-E277C9BF1645}"/>
              </a:ext>
            </a:extLst>
          </p:cNvPr>
          <p:cNvSpPr/>
          <p:nvPr/>
        </p:nvSpPr>
        <p:spPr bwMode="auto">
          <a:xfrm>
            <a:off x="5206138" y="1994903"/>
            <a:ext cx="2467550" cy="923330"/>
          </a:xfrm>
          <a:prstGeom prst="rect">
            <a:avLst/>
          </a:prstGeom>
          <a:noFill/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sz="1200" b="1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Make a great investment for your career &amp; organization. </a:t>
            </a:r>
            <a:r>
              <a:rPr lang="en-US" sz="1200" b="0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It cost us US$8M+ over the past 10 years to create all our Toolkits. Get them for a fraction of this cost.</a:t>
            </a:r>
            <a:endParaRPr lang="en-US" sz="1200" dirty="0">
              <a:ea typeface="ＭＳ Ｐゴシック" pitchFamily="50" charset="-128"/>
            </a:endParaRPr>
          </a:p>
        </p:txBody>
      </p:sp>
      <p:sp>
        <p:nvSpPr>
          <p:cNvPr id="26" name="Rounded Rectangle 5">
            <a:extLst>
              <a:ext uri="{FF2B5EF4-FFF2-40B4-BE49-F238E27FC236}">
                <a16:creationId xmlns:a16="http://schemas.microsoft.com/office/drawing/2014/main" id="{28E73549-6EA8-6C56-AB0D-394D25DB4EFE}"/>
              </a:ext>
            </a:extLst>
          </p:cNvPr>
          <p:cNvSpPr/>
          <p:nvPr/>
        </p:nvSpPr>
        <p:spPr bwMode="auto">
          <a:xfrm>
            <a:off x="8941670" y="1994903"/>
            <a:ext cx="2467550" cy="923330"/>
          </a:xfrm>
          <a:prstGeom prst="rect">
            <a:avLst/>
          </a:prstGeom>
          <a:noFill/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sz="1200" b="1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Get a competitive advantage. </a:t>
            </a:r>
            <a:r>
              <a:rPr lang="en-US" sz="1200" b="0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It’s like hiring Management Consultants to create all the practical Frameworks, Tools &amp; Templates you need.</a:t>
            </a:r>
            <a:endParaRPr lang="en-US" sz="1200" dirty="0">
              <a:ea typeface="ＭＳ Ｐゴシック" pitchFamily="50" charset="-128"/>
            </a:endParaRPr>
          </a:p>
        </p:txBody>
      </p:sp>
      <p:sp>
        <p:nvSpPr>
          <p:cNvPr id="27" name="Rounded Rectangle 5">
            <a:extLst>
              <a:ext uri="{FF2B5EF4-FFF2-40B4-BE49-F238E27FC236}">
                <a16:creationId xmlns:a16="http://schemas.microsoft.com/office/drawing/2014/main" id="{812424AD-450E-927F-1233-1544347BC47F}"/>
              </a:ext>
            </a:extLst>
          </p:cNvPr>
          <p:cNvSpPr/>
          <p:nvPr/>
        </p:nvSpPr>
        <p:spPr bwMode="auto">
          <a:xfrm>
            <a:off x="1470606" y="3551740"/>
            <a:ext cx="2467550" cy="923330"/>
          </a:xfrm>
          <a:prstGeom prst="rect">
            <a:avLst/>
          </a:prstGeom>
          <a:noFill/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sz="1200" b="1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Get the job done quicker </a:t>
            </a:r>
            <a:r>
              <a:rPr lang="en-US" sz="1200" b="0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and never start from scratch again with our ready-made and fully editable Frameworks, Tools &amp; Templates in Powerpoint &amp; Excel.</a:t>
            </a:r>
            <a:endParaRPr lang="en-US" sz="1200" dirty="0">
              <a:ea typeface="ＭＳ Ｐゴシック" pitchFamily="50" charset="-128"/>
            </a:endParaRPr>
          </a:p>
        </p:txBody>
      </p:sp>
      <p:sp>
        <p:nvSpPr>
          <p:cNvPr id="28" name="Rounded Rectangle 5">
            <a:extLst>
              <a:ext uri="{FF2B5EF4-FFF2-40B4-BE49-F238E27FC236}">
                <a16:creationId xmlns:a16="http://schemas.microsoft.com/office/drawing/2014/main" id="{A2EC5241-F3A8-F265-3E22-EB43ABE1A1C6}"/>
              </a:ext>
            </a:extLst>
          </p:cNvPr>
          <p:cNvSpPr/>
          <p:nvPr/>
        </p:nvSpPr>
        <p:spPr bwMode="auto">
          <a:xfrm>
            <a:off x="8941670" y="3644073"/>
            <a:ext cx="2467550" cy="738664"/>
          </a:xfrm>
          <a:prstGeom prst="rect">
            <a:avLst/>
          </a:prstGeom>
          <a:noFill/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sz="1200" b="1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Improve the capabilities of your organization </a:t>
            </a:r>
            <a:r>
              <a:rPr lang="en-US" sz="1200" b="0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by learning how the Fortune 100 and Global Consulting Firms do it.</a:t>
            </a:r>
          </a:p>
        </p:txBody>
      </p:sp>
      <p:sp>
        <p:nvSpPr>
          <p:cNvPr id="29" name="Rounded Rectangle 5">
            <a:extLst>
              <a:ext uri="{FF2B5EF4-FFF2-40B4-BE49-F238E27FC236}">
                <a16:creationId xmlns:a16="http://schemas.microsoft.com/office/drawing/2014/main" id="{9D88DB97-7C34-0A0C-2DED-7A5380022445}"/>
              </a:ext>
            </a:extLst>
          </p:cNvPr>
          <p:cNvSpPr/>
          <p:nvPr/>
        </p:nvSpPr>
        <p:spPr bwMode="auto">
          <a:xfrm>
            <a:off x="1470606" y="5293242"/>
            <a:ext cx="2467550" cy="553998"/>
          </a:xfrm>
          <a:prstGeom prst="rect">
            <a:avLst/>
          </a:prstGeom>
          <a:noFill/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sz="1200" b="1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Get free support and advice </a:t>
            </a:r>
            <a:r>
              <a:rPr lang="en-US" sz="1200" b="0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from our ex-McKinsey, Deloitte &amp; BCG Management Consultants.</a:t>
            </a:r>
            <a:endParaRPr lang="en-US" sz="1200" dirty="0">
              <a:ea typeface="ＭＳ Ｐゴシック" pitchFamily="50" charset="-128"/>
            </a:endParaRPr>
          </a:p>
        </p:txBody>
      </p:sp>
      <p:sp>
        <p:nvSpPr>
          <p:cNvPr id="30" name="Rounded Rectangle 5">
            <a:extLst>
              <a:ext uri="{FF2B5EF4-FFF2-40B4-BE49-F238E27FC236}">
                <a16:creationId xmlns:a16="http://schemas.microsoft.com/office/drawing/2014/main" id="{B9DBF249-EEFB-86E5-1410-2D72D5445CAB}"/>
              </a:ext>
            </a:extLst>
          </p:cNvPr>
          <p:cNvSpPr/>
          <p:nvPr/>
        </p:nvSpPr>
        <p:spPr bwMode="auto">
          <a:xfrm>
            <a:off x="5206138" y="5016243"/>
            <a:ext cx="2467550" cy="1107996"/>
          </a:xfrm>
          <a:prstGeom prst="rect">
            <a:avLst/>
          </a:prstGeom>
          <a:noFill/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endParaRPr lang="en-US" sz="1200" b="1" i="0" dirty="0">
              <a:solidFill>
                <a:srgbClr val="053881"/>
              </a:solidFill>
              <a:effectLst/>
              <a:latin typeface="Helvetica" panose="020B0604020202020204" pitchFamily="34" charset="0"/>
            </a:endParaRPr>
          </a:p>
          <a:p>
            <a:r>
              <a:rPr lang="en-US" sz="1200" b="1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Decrease your costs. </a:t>
            </a:r>
            <a:r>
              <a:rPr lang="en-US" sz="1200" b="0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Hiring tier-1 Consultants for a project would cost you $300k+. Way more expensive than our Toolkits, which will last you a lifetime!</a:t>
            </a:r>
            <a:endParaRPr lang="en-US" sz="1200" dirty="0">
              <a:ea typeface="ＭＳ Ｐゴシック" pitchFamily="50" charset="-128"/>
            </a:endParaRPr>
          </a:p>
        </p:txBody>
      </p:sp>
      <p:sp>
        <p:nvSpPr>
          <p:cNvPr id="31" name="Rounded Rectangle 5">
            <a:extLst>
              <a:ext uri="{FF2B5EF4-FFF2-40B4-BE49-F238E27FC236}">
                <a16:creationId xmlns:a16="http://schemas.microsoft.com/office/drawing/2014/main" id="{C074EF3D-1813-7902-A555-08D7A6C23019}"/>
              </a:ext>
            </a:extLst>
          </p:cNvPr>
          <p:cNvSpPr/>
          <p:nvPr/>
        </p:nvSpPr>
        <p:spPr bwMode="auto">
          <a:xfrm>
            <a:off x="8941670" y="5108576"/>
            <a:ext cx="2467550" cy="923330"/>
          </a:xfrm>
          <a:prstGeom prst="rect">
            <a:avLst/>
          </a:prstGeom>
          <a:noFill/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sz="1200" b="1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Become your organization’s subject matter expert </a:t>
            </a:r>
            <a:r>
              <a:rPr lang="en-US" sz="1200" b="0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and impress your stakeholders with world-class approaches to resolve common business problems.</a:t>
            </a:r>
            <a:endParaRPr lang="en-US" sz="1200" dirty="0">
              <a:ea typeface="ＭＳ Ｐゴシック" pitchFamily="50" charset="-128"/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912F6A8-7755-96B0-1BF1-CA38F6CC857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92182" y="2168438"/>
            <a:ext cx="576263" cy="576263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CE4974F3-ECF8-466E-0BC1-97429FC20B9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273737" y="2212854"/>
            <a:ext cx="487430" cy="48743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AA4AE859-771D-EA7A-DE78-A7FAC68B21F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216558" y="3746630"/>
            <a:ext cx="533551" cy="533551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AD0E1CAC-441C-9262-8EDC-3890CD2E5B4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68090" y="5255693"/>
            <a:ext cx="629096" cy="629096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7041940F-C223-8CDD-F031-D40DD7E4E4F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223806" y="5276595"/>
            <a:ext cx="587292" cy="587292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817D6250-7BD1-07BD-54C9-FF55282E8AB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20882" y="5343654"/>
            <a:ext cx="453174" cy="453174"/>
          </a:xfrm>
          <a:prstGeom prst="rect">
            <a:avLst/>
          </a:prstGeom>
        </p:spPr>
      </p:pic>
      <p:sp>
        <p:nvSpPr>
          <p:cNvPr id="43" name="Rounded Rectangle 5">
            <a:extLst>
              <a:ext uri="{FF2B5EF4-FFF2-40B4-BE49-F238E27FC236}">
                <a16:creationId xmlns:a16="http://schemas.microsoft.com/office/drawing/2014/main" id="{35773859-1551-24FA-766B-DEBA9384247B}"/>
              </a:ext>
            </a:extLst>
          </p:cNvPr>
          <p:cNvSpPr/>
          <p:nvPr/>
        </p:nvSpPr>
        <p:spPr bwMode="auto">
          <a:xfrm>
            <a:off x="5206138" y="3551740"/>
            <a:ext cx="2467550" cy="923330"/>
          </a:xfrm>
          <a:prstGeom prst="rect">
            <a:avLst/>
          </a:prstGeom>
          <a:noFill/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sz="1200" b="1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Don't reinvent the wheel. </a:t>
            </a:r>
            <a:r>
              <a:rPr lang="en-US" sz="1200" b="0" i="0" dirty="0">
                <a:solidFill>
                  <a:srgbClr val="053881"/>
                </a:solidFill>
                <a:effectLst/>
                <a:latin typeface="Helvetica" panose="020B0604020202020204" pitchFamily="34" charset="0"/>
              </a:rPr>
              <a:t>We have already worked 30,000+ hours over the past 10 years to create all the Management Consulting Toolkits you need.</a:t>
            </a:r>
            <a:endParaRPr lang="en-US" sz="1200" dirty="0">
              <a:ea typeface="ＭＳ Ｐゴシック" pitchFamily="50" charset="-128"/>
            </a:endParaRPr>
          </a:p>
        </p:txBody>
      </p:sp>
      <p:pic>
        <p:nvPicPr>
          <p:cNvPr id="44" name="Graphic 43" descr="Stopwatch 66% outline">
            <a:extLst>
              <a:ext uri="{FF2B5EF4-FFF2-40B4-BE49-F238E27FC236}">
                <a16:creationId xmlns:a16="http://schemas.microsoft.com/office/drawing/2014/main" id="{558EA078-3275-6A21-DCC5-4B366E8DC30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31239" y="3575144"/>
            <a:ext cx="739367" cy="739367"/>
          </a:xfrm>
          <a:prstGeom prst="rect">
            <a:avLst/>
          </a:prstGeom>
        </p:spPr>
      </p:pic>
      <p:pic>
        <p:nvPicPr>
          <p:cNvPr id="51" name="Graphic 50" descr="Steering Wheel outline">
            <a:extLst>
              <a:ext uri="{FF2B5EF4-FFF2-40B4-BE49-F238E27FC236}">
                <a16:creationId xmlns:a16="http://schemas.microsoft.com/office/drawing/2014/main" id="{C6EC77E8-A539-C100-7C53-F2165FD1421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465460" y="3644073"/>
            <a:ext cx="728441" cy="72844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722813-CA7B-743F-2865-95D43FE4D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72406C9-4EBE-0F5E-2B72-C05073EE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3374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CB5ED6B-8FA4-B70C-ED66-9357630FC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732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B5ED6B-8FA4-B70C-ED66-9357630FC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5D58A1A0-06A2-4FAC-A5EA-99253435D8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1620" y="1968982"/>
            <a:ext cx="9458036" cy="3701886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FE2F89-2C68-4882-ACAA-4D3583EC0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our clients say about our Toolkits</a:t>
            </a:r>
            <a:endParaRPr lang="en-US" b="0" dirty="0"/>
          </a:p>
        </p:txBody>
      </p:sp>
      <p:sp>
        <p:nvSpPr>
          <p:cNvPr id="7" name="Rectangle: Rounded Corners 6">
            <a:hlinkClick r:id="rId6"/>
            <a:extLst>
              <a:ext uri="{FF2B5EF4-FFF2-40B4-BE49-F238E27FC236}">
                <a16:creationId xmlns:a16="http://schemas.microsoft.com/office/drawing/2014/main" id="{34408D4B-2DBA-45D0-9E35-C8280CE479B1}"/>
              </a:ext>
            </a:extLst>
          </p:cNvPr>
          <p:cNvSpPr/>
          <p:nvPr/>
        </p:nvSpPr>
        <p:spPr bwMode="auto">
          <a:xfrm>
            <a:off x="5303240" y="5271355"/>
            <a:ext cx="1585519" cy="346348"/>
          </a:xfrm>
          <a:prstGeom prst="roundRect">
            <a:avLst>
              <a:gd name="adj" fmla="val 10721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0080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Click here to see more reviews &gt;</a:t>
            </a:r>
          </a:p>
        </p:txBody>
      </p:sp>
      <p:sp>
        <p:nvSpPr>
          <p:cNvPr id="3" name="Oval 2">
            <a:hlinkClick r:id="rId7"/>
            <a:extLst>
              <a:ext uri="{FF2B5EF4-FFF2-40B4-BE49-F238E27FC236}">
                <a16:creationId xmlns:a16="http://schemas.microsoft.com/office/drawing/2014/main" id="{E7801C33-1882-44AC-8209-E2ACFFBF177C}"/>
              </a:ext>
            </a:extLst>
          </p:cNvPr>
          <p:cNvSpPr/>
          <p:nvPr/>
        </p:nvSpPr>
        <p:spPr>
          <a:xfrm>
            <a:off x="10419046" y="3957144"/>
            <a:ext cx="280099" cy="29361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>
            <a:hlinkClick r:id="rId7"/>
            <a:extLst>
              <a:ext uri="{FF2B5EF4-FFF2-40B4-BE49-F238E27FC236}">
                <a16:creationId xmlns:a16="http://schemas.microsoft.com/office/drawing/2014/main" id="{F65F7B22-3F2E-42E7-BE12-BCF3C4BCBF84}"/>
              </a:ext>
            </a:extLst>
          </p:cNvPr>
          <p:cNvSpPr/>
          <p:nvPr/>
        </p:nvSpPr>
        <p:spPr>
          <a:xfrm>
            <a:off x="1327557" y="3892492"/>
            <a:ext cx="280099" cy="29361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9CE760-CA4B-E925-FAD9-C788638FC1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F575FF-EE9F-DC72-B546-90416B1604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6199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7834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6" name="Title 1">
            <a:extLst>
              <a:ext uri="{FF2B5EF4-FFF2-40B4-BE49-F238E27FC236}">
                <a16:creationId xmlns:a16="http://schemas.microsoft.com/office/drawing/2014/main" id="{E1807DFC-6E0A-41E9-BAC7-1EE85BC2BEC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Join 200,000+ Executives, Consultants &amp; Entrepreneurs leveraging our Toolkits to improve the performance of their organization</a:t>
            </a:r>
            <a:endParaRPr lang="en-US" sz="2400" b="0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962B74C-75B9-94DD-8E27-57692538BA17}"/>
              </a:ext>
            </a:extLst>
          </p:cNvPr>
          <p:cNvSpPr/>
          <p:nvPr/>
        </p:nvSpPr>
        <p:spPr>
          <a:xfrm>
            <a:off x="616285" y="1648544"/>
            <a:ext cx="7416000" cy="95304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DF4256-F406-5ABB-5F23-D915115DCCDB}"/>
              </a:ext>
            </a:extLst>
          </p:cNvPr>
          <p:cNvSpPr/>
          <p:nvPr/>
        </p:nvSpPr>
        <p:spPr>
          <a:xfrm>
            <a:off x="8087873" y="1648544"/>
            <a:ext cx="3508381" cy="95304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8B0DF4-A6EA-4926-BCB2-370EDE306BD5}"/>
              </a:ext>
            </a:extLst>
          </p:cNvPr>
          <p:cNvSpPr txBox="1"/>
          <p:nvPr/>
        </p:nvSpPr>
        <p:spPr>
          <a:xfrm>
            <a:off x="634084" y="1648544"/>
            <a:ext cx="7425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usted by small and large organizat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342A59-F39E-3014-C636-92960AC5C071}"/>
              </a:ext>
            </a:extLst>
          </p:cNvPr>
          <p:cNvSpPr txBox="1"/>
          <p:nvPr/>
        </p:nvSpPr>
        <p:spPr>
          <a:xfrm>
            <a:off x="8064688" y="1648544"/>
            <a:ext cx="36239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ustomer satisfa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DD568C-1DE4-6515-9B2E-6BA2D546AD92}"/>
              </a:ext>
            </a:extLst>
          </p:cNvPr>
          <p:cNvSpPr/>
          <p:nvPr/>
        </p:nvSpPr>
        <p:spPr>
          <a:xfrm>
            <a:off x="616285" y="2675070"/>
            <a:ext cx="7416000" cy="373326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2732DF-EB8D-BB18-A809-B81EB32FED81}"/>
              </a:ext>
            </a:extLst>
          </p:cNvPr>
          <p:cNvSpPr txBox="1"/>
          <p:nvPr/>
        </p:nvSpPr>
        <p:spPr>
          <a:xfrm>
            <a:off x="634086" y="2709886"/>
            <a:ext cx="73276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umber of countries leveraging our Toolkits</a:t>
            </a:r>
          </a:p>
          <a:p>
            <a:r>
              <a:rPr lang="en-US" sz="2800" b="1" dirty="0">
                <a:solidFill>
                  <a:schemeClr val="accent2"/>
                </a:solidFill>
              </a:rPr>
              <a:t>160+ </a:t>
            </a:r>
          </a:p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CE55B0-8DF3-F891-70F7-EBD939067D53}"/>
              </a:ext>
            </a:extLst>
          </p:cNvPr>
          <p:cNvSpPr/>
          <p:nvPr/>
        </p:nvSpPr>
        <p:spPr>
          <a:xfrm>
            <a:off x="8087873" y="2670574"/>
            <a:ext cx="3508381" cy="158831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AC5B92-C47E-9941-ACE2-8C1EBA9995C7}"/>
              </a:ext>
            </a:extLst>
          </p:cNvPr>
          <p:cNvSpPr txBox="1"/>
          <p:nvPr/>
        </p:nvSpPr>
        <p:spPr>
          <a:xfrm>
            <a:off x="8064688" y="2669659"/>
            <a:ext cx="3602468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umber of professionals leveraging our Toolkits</a:t>
            </a:r>
          </a:p>
          <a:p>
            <a:endParaRPr lang="en-US" dirty="0"/>
          </a:p>
          <a:p>
            <a:r>
              <a:rPr lang="en-US" sz="2800" b="1" dirty="0">
                <a:solidFill>
                  <a:schemeClr val="accent2"/>
                </a:solidFill>
              </a:rPr>
              <a:t>200,000+</a:t>
            </a:r>
          </a:p>
        </p:txBody>
      </p:sp>
      <p:grpSp>
        <p:nvGrpSpPr>
          <p:cNvPr id="14" name="Group 5">
            <a:extLst>
              <a:ext uri="{FF2B5EF4-FFF2-40B4-BE49-F238E27FC236}">
                <a16:creationId xmlns:a16="http://schemas.microsoft.com/office/drawing/2014/main" id="{732D0F89-CF30-4FD0-1C26-882D37E55FA9}"/>
              </a:ext>
            </a:extLst>
          </p:cNvPr>
          <p:cNvGrpSpPr>
            <a:grpSpLocks/>
          </p:cNvGrpSpPr>
          <p:nvPr/>
        </p:nvGrpSpPr>
        <p:grpSpPr bwMode="auto">
          <a:xfrm>
            <a:off x="5622228" y="5262111"/>
            <a:ext cx="297844" cy="94643"/>
            <a:chOff x="4449" y="3335"/>
            <a:chExt cx="260" cy="83"/>
          </a:xfrm>
          <a:solidFill>
            <a:schemeClr val="accent2"/>
          </a:solidFill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BF9E5B90-1AEC-73F5-0602-14CA9A383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9" y="3340"/>
              <a:ext cx="52" cy="69"/>
            </a:xfrm>
            <a:custGeom>
              <a:avLst/>
              <a:gdLst>
                <a:gd name="T0" fmla="*/ 0 w 52"/>
                <a:gd name="T1" fmla="*/ 0 h 69"/>
                <a:gd name="T2" fmla="*/ 0 w 52"/>
                <a:gd name="T3" fmla="*/ 0 h 69"/>
                <a:gd name="T4" fmla="*/ 10 w 52"/>
                <a:gd name="T5" fmla="*/ 0 h 69"/>
                <a:gd name="T6" fmla="*/ 13 w 52"/>
                <a:gd name="T7" fmla="*/ 13 h 69"/>
                <a:gd name="T8" fmla="*/ 26 w 52"/>
                <a:gd name="T9" fmla="*/ 5 h 69"/>
                <a:gd name="T10" fmla="*/ 43 w 52"/>
                <a:gd name="T11" fmla="*/ 21 h 69"/>
                <a:gd name="T12" fmla="*/ 51 w 52"/>
                <a:gd name="T13" fmla="*/ 68 h 69"/>
                <a:gd name="T14" fmla="*/ 50 w 52"/>
                <a:gd name="T15" fmla="*/ 68 h 69"/>
                <a:gd name="T16" fmla="*/ 16 w 52"/>
                <a:gd name="T17" fmla="*/ 48 h 69"/>
                <a:gd name="T18" fmla="*/ 0 w 52"/>
                <a:gd name="T19" fmla="*/ 0 h 69"/>
                <a:gd name="T20" fmla="*/ 0 w 52"/>
                <a:gd name="T21" fmla="*/ 0 h 6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69"/>
                <a:gd name="T35" fmla="*/ 52 w 52"/>
                <a:gd name="T36" fmla="*/ 69 h 6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69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3" y="13"/>
                  </a:lnTo>
                  <a:lnTo>
                    <a:pt x="26" y="5"/>
                  </a:lnTo>
                  <a:lnTo>
                    <a:pt x="43" y="21"/>
                  </a:lnTo>
                  <a:lnTo>
                    <a:pt x="51" y="68"/>
                  </a:lnTo>
                  <a:lnTo>
                    <a:pt x="50" y="68"/>
                  </a:lnTo>
                  <a:lnTo>
                    <a:pt x="16" y="48"/>
                  </a:lnTo>
                  <a:lnTo>
                    <a:pt x="0" y="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3103DF3-7B38-60DD-76F5-926F56E87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7" y="3335"/>
              <a:ext cx="132" cy="83"/>
            </a:xfrm>
            <a:custGeom>
              <a:avLst/>
              <a:gdLst>
                <a:gd name="T0" fmla="*/ 0 w 132"/>
                <a:gd name="T1" fmla="*/ 72 h 83"/>
                <a:gd name="T2" fmla="*/ 0 w 132"/>
                <a:gd name="T3" fmla="*/ 72 h 83"/>
                <a:gd name="T4" fmla="*/ 12 w 132"/>
                <a:gd name="T5" fmla="*/ 82 h 83"/>
                <a:gd name="T6" fmla="*/ 53 w 132"/>
                <a:gd name="T7" fmla="*/ 79 h 83"/>
                <a:gd name="T8" fmla="*/ 66 w 132"/>
                <a:gd name="T9" fmla="*/ 73 h 83"/>
                <a:gd name="T10" fmla="*/ 84 w 132"/>
                <a:gd name="T11" fmla="*/ 36 h 83"/>
                <a:gd name="T12" fmla="*/ 108 w 132"/>
                <a:gd name="T13" fmla="*/ 37 h 83"/>
                <a:gd name="T14" fmla="*/ 131 w 132"/>
                <a:gd name="T15" fmla="*/ 25 h 83"/>
                <a:gd name="T16" fmla="*/ 109 w 132"/>
                <a:gd name="T17" fmla="*/ 14 h 83"/>
                <a:gd name="T18" fmla="*/ 102 w 132"/>
                <a:gd name="T19" fmla="*/ 0 h 83"/>
                <a:gd name="T20" fmla="*/ 75 w 132"/>
                <a:gd name="T21" fmla="*/ 26 h 83"/>
                <a:gd name="T22" fmla="*/ 67 w 132"/>
                <a:gd name="T23" fmla="*/ 40 h 83"/>
                <a:gd name="T24" fmla="*/ 59 w 132"/>
                <a:gd name="T25" fmla="*/ 32 h 83"/>
                <a:gd name="T26" fmla="*/ 43 w 132"/>
                <a:gd name="T27" fmla="*/ 52 h 83"/>
                <a:gd name="T28" fmla="*/ 26 w 132"/>
                <a:gd name="T29" fmla="*/ 55 h 83"/>
                <a:gd name="T30" fmla="*/ 20 w 132"/>
                <a:gd name="T31" fmla="*/ 73 h 83"/>
                <a:gd name="T32" fmla="*/ 0 w 132"/>
                <a:gd name="T33" fmla="*/ 72 h 83"/>
                <a:gd name="T34" fmla="*/ 0 w 132"/>
                <a:gd name="T35" fmla="*/ 72 h 8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2"/>
                <a:gd name="T55" fmla="*/ 0 h 83"/>
                <a:gd name="T56" fmla="*/ 132 w 132"/>
                <a:gd name="T57" fmla="*/ 83 h 8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2" h="83">
                  <a:moveTo>
                    <a:pt x="0" y="72"/>
                  </a:moveTo>
                  <a:lnTo>
                    <a:pt x="0" y="72"/>
                  </a:lnTo>
                  <a:lnTo>
                    <a:pt x="12" y="82"/>
                  </a:lnTo>
                  <a:lnTo>
                    <a:pt x="53" y="79"/>
                  </a:lnTo>
                  <a:lnTo>
                    <a:pt x="66" y="73"/>
                  </a:lnTo>
                  <a:lnTo>
                    <a:pt x="84" y="36"/>
                  </a:lnTo>
                  <a:lnTo>
                    <a:pt x="108" y="37"/>
                  </a:lnTo>
                  <a:lnTo>
                    <a:pt x="131" y="25"/>
                  </a:lnTo>
                  <a:lnTo>
                    <a:pt x="109" y="14"/>
                  </a:lnTo>
                  <a:lnTo>
                    <a:pt x="102" y="0"/>
                  </a:lnTo>
                  <a:lnTo>
                    <a:pt x="75" y="26"/>
                  </a:lnTo>
                  <a:lnTo>
                    <a:pt x="67" y="40"/>
                  </a:lnTo>
                  <a:lnTo>
                    <a:pt x="59" y="32"/>
                  </a:lnTo>
                  <a:lnTo>
                    <a:pt x="43" y="52"/>
                  </a:lnTo>
                  <a:lnTo>
                    <a:pt x="26" y="55"/>
                  </a:lnTo>
                  <a:lnTo>
                    <a:pt x="20" y="73"/>
                  </a:lnTo>
                  <a:lnTo>
                    <a:pt x="0" y="72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" name="Group 8">
            <a:extLst>
              <a:ext uri="{FF2B5EF4-FFF2-40B4-BE49-F238E27FC236}">
                <a16:creationId xmlns:a16="http://schemas.microsoft.com/office/drawing/2014/main" id="{2F3936FA-DE12-3B0E-D82E-7D19FCFE9E8A}"/>
              </a:ext>
            </a:extLst>
          </p:cNvPr>
          <p:cNvGrpSpPr>
            <a:grpSpLocks/>
          </p:cNvGrpSpPr>
          <p:nvPr/>
        </p:nvGrpSpPr>
        <p:grpSpPr bwMode="auto">
          <a:xfrm>
            <a:off x="5543338" y="5285066"/>
            <a:ext cx="719784" cy="239313"/>
            <a:chOff x="4380" y="3353"/>
            <a:chExt cx="629" cy="218"/>
          </a:xfrm>
          <a:solidFill>
            <a:schemeClr val="accent2"/>
          </a:solidFill>
        </p:grpSpPr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58BE8C5-B8A3-AB1E-4287-9FFF497B1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0" y="3353"/>
              <a:ext cx="149" cy="156"/>
            </a:xfrm>
            <a:custGeom>
              <a:avLst/>
              <a:gdLst>
                <a:gd name="T0" fmla="*/ 0 w 149"/>
                <a:gd name="T1" fmla="*/ 0 h 156"/>
                <a:gd name="T2" fmla="*/ 0 w 149"/>
                <a:gd name="T3" fmla="*/ 0 h 156"/>
                <a:gd name="T4" fmla="*/ 33 w 149"/>
                <a:gd name="T5" fmla="*/ 7 h 156"/>
                <a:gd name="T6" fmla="*/ 74 w 149"/>
                <a:gd name="T7" fmla="*/ 47 h 156"/>
                <a:gd name="T8" fmla="*/ 108 w 149"/>
                <a:gd name="T9" fmla="*/ 62 h 156"/>
                <a:gd name="T10" fmla="*/ 104 w 149"/>
                <a:gd name="T11" fmla="*/ 73 h 156"/>
                <a:gd name="T12" fmla="*/ 115 w 149"/>
                <a:gd name="T13" fmla="*/ 72 h 156"/>
                <a:gd name="T14" fmla="*/ 114 w 149"/>
                <a:gd name="T15" fmla="*/ 87 h 156"/>
                <a:gd name="T16" fmla="*/ 148 w 149"/>
                <a:gd name="T17" fmla="*/ 116 h 156"/>
                <a:gd name="T18" fmla="*/ 144 w 149"/>
                <a:gd name="T19" fmla="*/ 154 h 156"/>
                <a:gd name="T20" fmla="*/ 129 w 149"/>
                <a:gd name="T21" fmla="*/ 155 h 156"/>
                <a:gd name="T22" fmla="*/ 99 w 149"/>
                <a:gd name="T23" fmla="*/ 133 h 156"/>
                <a:gd name="T24" fmla="*/ 50 w 149"/>
                <a:gd name="T25" fmla="*/ 54 h 156"/>
                <a:gd name="T26" fmla="*/ 0 w 149"/>
                <a:gd name="T27" fmla="*/ 0 h 156"/>
                <a:gd name="T28" fmla="*/ 0 w 149"/>
                <a:gd name="T29" fmla="*/ 0 h 15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9"/>
                <a:gd name="T46" fmla="*/ 0 h 156"/>
                <a:gd name="T47" fmla="*/ 149 w 149"/>
                <a:gd name="T48" fmla="*/ 156 h 15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9" h="156">
                  <a:moveTo>
                    <a:pt x="0" y="0"/>
                  </a:moveTo>
                  <a:lnTo>
                    <a:pt x="0" y="0"/>
                  </a:lnTo>
                  <a:lnTo>
                    <a:pt x="33" y="7"/>
                  </a:lnTo>
                  <a:lnTo>
                    <a:pt x="74" y="47"/>
                  </a:lnTo>
                  <a:lnTo>
                    <a:pt x="108" y="62"/>
                  </a:lnTo>
                  <a:lnTo>
                    <a:pt x="104" y="73"/>
                  </a:lnTo>
                  <a:lnTo>
                    <a:pt x="115" y="72"/>
                  </a:lnTo>
                  <a:lnTo>
                    <a:pt x="114" y="87"/>
                  </a:lnTo>
                  <a:lnTo>
                    <a:pt x="148" y="116"/>
                  </a:lnTo>
                  <a:lnTo>
                    <a:pt x="144" y="154"/>
                  </a:lnTo>
                  <a:lnTo>
                    <a:pt x="129" y="155"/>
                  </a:lnTo>
                  <a:lnTo>
                    <a:pt x="99" y="133"/>
                  </a:lnTo>
                  <a:lnTo>
                    <a:pt x="50" y="54"/>
                  </a:lnTo>
                  <a:lnTo>
                    <a:pt x="0" y="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2BDAD4D1-E7E8-0B23-8E5F-1C50C7318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9" y="3510"/>
              <a:ext cx="125" cy="40"/>
            </a:xfrm>
            <a:custGeom>
              <a:avLst/>
              <a:gdLst>
                <a:gd name="T0" fmla="*/ 0 w 125"/>
                <a:gd name="T1" fmla="*/ 11 h 40"/>
                <a:gd name="T2" fmla="*/ 0 w 125"/>
                <a:gd name="T3" fmla="*/ 11 h 40"/>
                <a:gd name="T4" fmla="*/ 8 w 125"/>
                <a:gd name="T5" fmla="*/ 0 h 40"/>
                <a:gd name="T6" fmla="*/ 95 w 125"/>
                <a:gd name="T7" fmla="*/ 12 h 40"/>
                <a:gd name="T8" fmla="*/ 104 w 125"/>
                <a:gd name="T9" fmla="*/ 22 h 40"/>
                <a:gd name="T10" fmla="*/ 122 w 125"/>
                <a:gd name="T11" fmla="*/ 26 h 40"/>
                <a:gd name="T12" fmla="*/ 124 w 125"/>
                <a:gd name="T13" fmla="*/ 39 h 40"/>
                <a:gd name="T14" fmla="*/ 22 w 125"/>
                <a:gd name="T15" fmla="*/ 21 h 40"/>
                <a:gd name="T16" fmla="*/ 0 w 125"/>
                <a:gd name="T17" fmla="*/ 11 h 40"/>
                <a:gd name="T18" fmla="*/ 0 w 125"/>
                <a:gd name="T19" fmla="*/ 11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5"/>
                <a:gd name="T31" fmla="*/ 0 h 40"/>
                <a:gd name="T32" fmla="*/ 125 w 125"/>
                <a:gd name="T33" fmla="*/ 40 h 4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5" h="40">
                  <a:moveTo>
                    <a:pt x="0" y="11"/>
                  </a:moveTo>
                  <a:lnTo>
                    <a:pt x="0" y="11"/>
                  </a:lnTo>
                  <a:lnTo>
                    <a:pt x="8" y="0"/>
                  </a:lnTo>
                  <a:lnTo>
                    <a:pt x="95" y="12"/>
                  </a:lnTo>
                  <a:lnTo>
                    <a:pt x="104" y="22"/>
                  </a:lnTo>
                  <a:lnTo>
                    <a:pt x="122" y="26"/>
                  </a:lnTo>
                  <a:lnTo>
                    <a:pt x="124" y="39"/>
                  </a:lnTo>
                  <a:lnTo>
                    <a:pt x="22" y="21"/>
                  </a:lnTo>
                  <a:lnTo>
                    <a:pt x="0" y="11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667DE6-4851-1AE8-0E2E-92465F9C5E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8" y="3371"/>
              <a:ext cx="136" cy="116"/>
            </a:xfrm>
            <a:custGeom>
              <a:avLst/>
              <a:gdLst>
                <a:gd name="T0" fmla="*/ 0 w 136"/>
                <a:gd name="T1" fmla="*/ 52 h 116"/>
                <a:gd name="T2" fmla="*/ 0 w 136"/>
                <a:gd name="T3" fmla="*/ 52 h 116"/>
                <a:gd name="T4" fmla="*/ 9 w 136"/>
                <a:gd name="T5" fmla="*/ 36 h 116"/>
                <a:gd name="T6" fmla="*/ 21 w 136"/>
                <a:gd name="T7" fmla="*/ 46 h 116"/>
                <a:gd name="T8" fmla="*/ 62 w 136"/>
                <a:gd name="T9" fmla="*/ 43 h 116"/>
                <a:gd name="T10" fmla="*/ 75 w 136"/>
                <a:gd name="T11" fmla="*/ 37 h 116"/>
                <a:gd name="T12" fmla="*/ 93 w 136"/>
                <a:gd name="T13" fmla="*/ 0 h 116"/>
                <a:gd name="T14" fmla="*/ 117 w 136"/>
                <a:gd name="T15" fmla="*/ 1 h 116"/>
                <a:gd name="T16" fmla="*/ 112 w 136"/>
                <a:gd name="T17" fmla="*/ 11 h 116"/>
                <a:gd name="T18" fmla="*/ 135 w 136"/>
                <a:gd name="T19" fmla="*/ 46 h 116"/>
                <a:gd name="T20" fmla="*/ 122 w 136"/>
                <a:gd name="T21" fmla="*/ 43 h 116"/>
                <a:gd name="T22" fmla="*/ 99 w 136"/>
                <a:gd name="T23" fmla="*/ 82 h 116"/>
                <a:gd name="T24" fmla="*/ 95 w 136"/>
                <a:gd name="T25" fmla="*/ 107 h 116"/>
                <a:gd name="T26" fmla="*/ 81 w 136"/>
                <a:gd name="T27" fmla="*/ 115 h 116"/>
                <a:gd name="T28" fmla="*/ 55 w 136"/>
                <a:gd name="T29" fmla="*/ 100 h 116"/>
                <a:gd name="T30" fmla="*/ 40 w 136"/>
                <a:gd name="T31" fmla="*/ 107 h 116"/>
                <a:gd name="T32" fmla="*/ 37 w 136"/>
                <a:gd name="T33" fmla="*/ 95 h 116"/>
                <a:gd name="T34" fmla="*/ 17 w 136"/>
                <a:gd name="T35" fmla="*/ 97 h 116"/>
                <a:gd name="T36" fmla="*/ 0 w 136"/>
                <a:gd name="T37" fmla="*/ 52 h 116"/>
                <a:gd name="T38" fmla="*/ 0 w 136"/>
                <a:gd name="T39" fmla="*/ 52 h 11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36"/>
                <a:gd name="T61" fmla="*/ 0 h 116"/>
                <a:gd name="T62" fmla="*/ 136 w 136"/>
                <a:gd name="T63" fmla="*/ 116 h 11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36" h="116">
                  <a:moveTo>
                    <a:pt x="0" y="52"/>
                  </a:moveTo>
                  <a:lnTo>
                    <a:pt x="0" y="52"/>
                  </a:lnTo>
                  <a:lnTo>
                    <a:pt x="9" y="36"/>
                  </a:lnTo>
                  <a:lnTo>
                    <a:pt x="21" y="46"/>
                  </a:lnTo>
                  <a:lnTo>
                    <a:pt x="62" y="43"/>
                  </a:lnTo>
                  <a:lnTo>
                    <a:pt x="75" y="37"/>
                  </a:lnTo>
                  <a:lnTo>
                    <a:pt x="93" y="0"/>
                  </a:lnTo>
                  <a:lnTo>
                    <a:pt x="117" y="1"/>
                  </a:lnTo>
                  <a:lnTo>
                    <a:pt x="112" y="11"/>
                  </a:lnTo>
                  <a:lnTo>
                    <a:pt x="135" y="46"/>
                  </a:lnTo>
                  <a:lnTo>
                    <a:pt x="122" y="43"/>
                  </a:lnTo>
                  <a:lnTo>
                    <a:pt x="99" y="82"/>
                  </a:lnTo>
                  <a:lnTo>
                    <a:pt x="95" y="107"/>
                  </a:lnTo>
                  <a:lnTo>
                    <a:pt x="81" y="115"/>
                  </a:lnTo>
                  <a:lnTo>
                    <a:pt x="55" y="100"/>
                  </a:lnTo>
                  <a:lnTo>
                    <a:pt x="40" y="107"/>
                  </a:lnTo>
                  <a:lnTo>
                    <a:pt x="37" y="95"/>
                  </a:lnTo>
                  <a:lnTo>
                    <a:pt x="17" y="97"/>
                  </a:lnTo>
                  <a:lnTo>
                    <a:pt x="0" y="52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6307464E-CE62-1D8E-704B-131B9F25B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4" y="3544"/>
              <a:ext cx="34" cy="9"/>
            </a:xfrm>
            <a:custGeom>
              <a:avLst/>
              <a:gdLst>
                <a:gd name="T0" fmla="*/ 0 w 34"/>
                <a:gd name="T1" fmla="*/ 2 h 9"/>
                <a:gd name="T2" fmla="*/ 0 w 34"/>
                <a:gd name="T3" fmla="*/ 2 h 9"/>
                <a:gd name="T4" fmla="*/ 4 w 34"/>
                <a:gd name="T5" fmla="*/ 8 h 9"/>
                <a:gd name="T6" fmla="*/ 33 w 34"/>
                <a:gd name="T7" fmla="*/ 3 h 9"/>
                <a:gd name="T8" fmla="*/ 11 w 34"/>
                <a:gd name="T9" fmla="*/ 0 h 9"/>
                <a:gd name="T10" fmla="*/ 0 w 34"/>
                <a:gd name="T11" fmla="*/ 2 h 9"/>
                <a:gd name="T12" fmla="*/ 0 w 34"/>
                <a:gd name="T13" fmla="*/ 2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9"/>
                <a:gd name="T23" fmla="*/ 34 w 34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9">
                  <a:moveTo>
                    <a:pt x="0" y="2"/>
                  </a:moveTo>
                  <a:lnTo>
                    <a:pt x="0" y="2"/>
                  </a:lnTo>
                  <a:lnTo>
                    <a:pt x="4" y="8"/>
                  </a:lnTo>
                  <a:lnTo>
                    <a:pt x="33" y="3"/>
                  </a:lnTo>
                  <a:lnTo>
                    <a:pt x="11" y="0"/>
                  </a:lnTo>
                  <a:lnTo>
                    <a:pt x="0" y="2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24895B4D-21B8-D961-A13C-C39635DF4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3" y="3405"/>
              <a:ext cx="85" cy="101"/>
            </a:xfrm>
            <a:custGeom>
              <a:avLst/>
              <a:gdLst>
                <a:gd name="T0" fmla="*/ 0 w 85"/>
                <a:gd name="T1" fmla="*/ 60 h 101"/>
                <a:gd name="T2" fmla="*/ 0 w 85"/>
                <a:gd name="T3" fmla="*/ 60 h 101"/>
                <a:gd name="T4" fmla="*/ 10 w 85"/>
                <a:gd name="T5" fmla="*/ 78 h 101"/>
                <a:gd name="T6" fmla="*/ 7 w 85"/>
                <a:gd name="T7" fmla="*/ 96 h 101"/>
                <a:gd name="T8" fmla="*/ 21 w 85"/>
                <a:gd name="T9" fmla="*/ 100 h 101"/>
                <a:gd name="T10" fmla="*/ 19 w 85"/>
                <a:gd name="T11" fmla="*/ 63 h 101"/>
                <a:gd name="T12" fmla="*/ 28 w 85"/>
                <a:gd name="T13" fmla="*/ 60 h 101"/>
                <a:gd name="T14" fmla="*/ 30 w 85"/>
                <a:gd name="T15" fmla="*/ 74 h 101"/>
                <a:gd name="T16" fmla="*/ 37 w 85"/>
                <a:gd name="T17" fmla="*/ 90 h 101"/>
                <a:gd name="T18" fmla="*/ 53 w 85"/>
                <a:gd name="T19" fmla="*/ 83 h 101"/>
                <a:gd name="T20" fmla="*/ 34 w 85"/>
                <a:gd name="T21" fmla="*/ 48 h 101"/>
                <a:gd name="T22" fmla="*/ 62 w 85"/>
                <a:gd name="T23" fmla="*/ 33 h 101"/>
                <a:gd name="T24" fmla="*/ 25 w 85"/>
                <a:gd name="T25" fmla="*/ 43 h 101"/>
                <a:gd name="T26" fmla="*/ 19 w 85"/>
                <a:gd name="T27" fmla="*/ 21 h 101"/>
                <a:gd name="T28" fmla="*/ 74 w 85"/>
                <a:gd name="T29" fmla="*/ 19 h 101"/>
                <a:gd name="T30" fmla="*/ 84 w 85"/>
                <a:gd name="T31" fmla="*/ 0 h 101"/>
                <a:gd name="T32" fmla="*/ 68 w 85"/>
                <a:gd name="T33" fmla="*/ 12 h 101"/>
                <a:gd name="T34" fmla="*/ 28 w 85"/>
                <a:gd name="T35" fmla="*/ 6 h 101"/>
                <a:gd name="T36" fmla="*/ 15 w 85"/>
                <a:gd name="T37" fmla="*/ 14 h 101"/>
                <a:gd name="T38" fmla="*/ 0 w 85"/>
                <a:gd name="T39" fmla="*/ 60 h 101"/>
                <a:gd name="T40" fmla="*/ 0 w 85"/>
                <a:gd name="T41" fmla="*/ 60 h 10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5"/>
                <a:gd name="T64" fmla="*/ 0 h 101"/>
                <a:gd name="T65" fmla="*/ 85 w 85"/>
                <a:gd name="T66" fmla="*/ 101 h 10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5" h="101">
                  <a:moveTo>
                    <a:pt x="0" y="60"/>
                  </a:moveTo>
                  <a:lnTo>
                    <a:pt x="0" y="60"/>
                  </a:lnTo>
                  <a:lnTo>
                    <a:pt x="10" y="78"/>
                  </a:lnTo>
                  <a:lnTo>
                    <a:pt x="7" y="96"/>
                  </a:lnTo>
                  <a:lnTo>
                    <a:pt x="21" y="100"/>
                  </a:lnTo>
                  <a:lnTo>
                    <a:pt x="19" y="63"/>
                  </a:lnTo>
                  <a:lnTo>
                    <a:pt x="28" y="60"/>
                  </a:lnTo>
                  <a:lnTo>
                    <a:pt x="30" y="74"/>
                  </a:lnTo>
                  <a:lnTo>
                    <a:pt x="37" y="90"/>
                  </a:lnTo>
                  <a:lnTo>
                    <a:pt x="53" y="83"/>
                  </a:lnTo>
                  <a:lnTo>
                    <a:pt x="34" y="48"/>
                  </a:lnTo>
                  <a:lnTo>
                    <a:pt x="62" y="33"/>
                  </a:lnTo>
                  <a:lnTo>
                    <a:pt x="25" y="43"/>
                  </a:lnTo>
                  <a:lnTo>
                    <a:pt x="19" y="21"/>
                  </a:lnTo>
                  <a:lnTo>
                    <a:pt x="74" y="19"/>
                  </a:lnTo>
                  <a:lnTo>
                    <a:pt x="84" y="0"/>
                  </a:lnTo>
                  <a:lnTo>
                    <a:pt x="68" y="12"/>
                  </a:lnTo>
                  <a:lnTo>
                    <a:pt x="28" y="6"/>
                  </a:lnTo>
                  <a:lnTo>
                    <a:pt x="15" y="14"/>
                  </a:lnTo>
                  <a:lnTo>
                    <a:pt x="0" y="6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60E507A3-7124-0167-0EF6-BB88A096A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9" y="3545"/>
              <a:ext cx="48" cy="26"/>
            </a:xfrm>
            <a:custGeom>
              <a:avLst/>
              <a:gdLst>
                <a:gd name="T0" fmla="*/ 0 w 48"/>
                <a:gd name="T1" fmla="*/ 15 h 26"/>
                <a:gd name="T2" fmla="*/ 0 w 48"/>
                <a:gd name="T3" fmla="*/ 15 h 26"/>
                <a:gd name="T4" fmla="*/ 2 w 48"/>
                <a:gd name="T5" fmla="*/ 25 h 26"/>
                <a:gd name="T6" fmla="*/ 47 w 48"/>
                <a:gd name="T7" fmla="*/ 0 h 26"/>
                <a:gd name="T8" fmla="*/ 14 w 48"/>
                <a:gd name="T9" fmla="*/ 7 h 26"/>
                <a:gd name="T10" fmla="*/ 0 w 48"/>
                <a:gd name="T11" fmla="*/ 15 h 26"/>
                <a:gd name="T12" fmla="*/ 0 w 48"/>
                <a:gd name="T13" fmla="*/ 15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8"/>
                <a:gd name="T22" fmla="*/ 0 h 26"/>
                <a:gd name="T23" fmla="*/ 48 w 48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8" h="26">
                  <a:moveTo>
                    <a:pt x="0" y="15"/>
                  </a:moveTo>
                  <a:lnTo>
                    <a:pt x="0" y="15"/>
                  </a:lnTo>
                  <a:lnTo>
                    <a:pt x="2" y="25"/>
                  </a:lnTo>
                  <a:lnTo>
                    <a:pt x="47" y="0"/>
                  </a:lnTo>
                  <a:lnTo>
                    <a:pt x="14" y="7"/>
                  </a:lnTo>
                  <a:lnTo>
                    <a:pt x="0" y="15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73E276F9-5C72-68BF-985B-279FE01D4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9" y="3400"/>
              <a:ext cx="17" cy="42"/>
            </a:xfrm>
            <a:custGeom>
              <a:avLst/>
              <a:gdLst>
                <a:gd name="T0" fmla="*/ 0 w 17"/>
                <a:gd name="T1" fmla="*/ 14 h 42"/>
                <a:gd name="T2" fmla="*/ 0 w 17"/>
                <a:gd name="T3" fmla="*/ 14 h 42"/>
                <a:gd name="T4" fmla="*/ 3 w 17"/>
                <a:gd name="T5" fmla="*/ 33 h 42"/>
                <a:gd name="T6" fmla="*/ 13 w 17"/>
                <a:gd name="T7" fmla="*/ 41 h 42"/>
                <a:gd name="T8" fmla="*/ 7 w 17"/>
                <a:gd name="T9" fmla="*/ 24 h 42"/>
                <a:gd name="T10" fmla="*/ 16 w 17"/>
                <a:gd name="T11" fmla="*/ 21 h 42"/>
                <a:gd name="T12" fmla="*/ 15 w 17"/>
                <a:gd name="T13" fmla="*/ 8 h 42"/>
                <a:gd name="T14" fmla="*/ 3 w 17"/>
                <a:gd name="T15" fmla="*/ 17 h 42"/>
                <a:gd name="T16" fmla="*/ 8 w 17"/>
                <a:gd name="T17" fmla="*/ 0 h 42"/>
                <a:gd name="T18" fmla="*/ 0 w 17"/>
                <a:gd name="T19" fmla="*/ 14 h 42"/>
                <a:gd name="T20" fmla="*/ 0 w 17"/>
                <a:gd name="T21" fmla="*/ 14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42"/>
                <a:gd name="T35" fmla="*/ 17 w 17"/>
                <a:gd name="T36" fmla="*/ 42 h 4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42">
                  <a:moveTo>
                    <a:pt x="0" y="14"/>
                  </a:moveTo>
                  <a:lnTo>
                    <a:pt x="0" y="14"/>
                  </a:lnTo>
                  <a:lnTo>
                    <a:pt x="3" y="33"/>
                  </a:lnTo>
                  <a:lnTo>
                    <a:pt x="13" y="41"/>
                  </a:lnTo>
                  <a:lnTo>
                    <a:pt x="7" y="24"/>
                  </a:lnTo>
                  <a:lnTo>
                    <a:pt x="16" y="21"/>
                  </a:lnTo>
                  <a:lnTo>
                    <a:pt x="15" y="8"/>
                  </a:lnTo>
                  <a:lnTo>
                    <a:pt x="3" y="17"/>
                  </a:lnTo>
                  <a:lnTo>
                    <a:pt x="8" y="0"/>
                  </a:lnTo>
                  <a:lnTo>
                    <a:pt x="0" y="14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7AF4AF4D-28D4-C6F2-28BA-FD6955954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6" y="3466"/>
              <a:ext cx="40" cy="14"/>
            </a:xfrm>
            <a:custGeom>
              <a:avLst/>
              <a:gdLst>
                <a:gd name="T0" fmla="*/ 0 w 40"/>
                <a:gd name="T1" fmla="*/ 5 h 14"/>
                <a:gd name="T2" fmla="*/ 0 w 40"/>
                <a:gd name="T3" fmla="*/ 5 h 14"/>
                <a:gd name="T4" fmla="*/ 22 w 40"/>
                <a:gd name="T5" fmla="*/ 0 h 14"/>
                <a:gd name="T6" fmla="*/ 39 w 40"/>
                <a:gd name="T7" fmla="*/ 13 h 14"/>
                <a:gd name="T8" fmla="*/ 0 w 40"/>
                <a:gd name="T9" fmla="*/ 5 h 14"/>
                <a:gd name="T10" fmla="*/ 0 w 40"/>
                <a:gd name="T11" fmla="*/ 5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4"/>
                <a:gd name="T20" fmla="*/ 40 w 40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4">
                  <a:moveTo>
                    <a:pt x="0" y="5"/>
                  </a:moveTo>
                  <a:lnTo>
                    <a:pt x="0" y="5"/>
                  </a:lnTo>
                  <a:lnTo>
                    <a:pt x="22" y="0"/>
                  </a:lnTo>
                  <a:lnTo>
                    <a:pt x="39" y="13"/>
                  </a:lnTo>
                  <a:lnTo>
                    <a:pt x="0" y="5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0DBF46BE-42A0-333D-1481-12BF1D138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5" y="3434"/>
              <a:ext cx="144" cy="119"/>
            </a:xfrm>
            <a:custGeom>
              <a:avLst/>
              <a:gdLst>
                <a:gd name="T0" fmla="*/ 0 w 144"/>
                <a:gd name="T1" fmla="*/ 15 h 119"/>
                <a:gd name="T2" fmla="*/ 0 w 144"/>
                <a:gd name="T3" fmla="*/ 15 h 119"/>
                <a:gd name="T4" fmla="*/ 21 w 144"/>
                <a:gd name="T5" fmla="*/ 26 h 119"/>
                <a:gd name="T6" fmla="*/ 42 w 144"/>
                <a:gd name="T7" fmla="*/ 23 h 119"/>
                <a:gd name="T8" fmla="*/ 16 w 144"/>
                <a:gd name="T9" fmla="*/ 32 h 119"/>
                <a:gd name="T10" fmla="*/ 28 w 144"/>
                <a:gd name="T11" fmla="*/ 51 h 119"/>
                <a:gd name="T12" fmla="*/ 41 w 144"/>
                <a:gd name="T13" fmla="*/ 35 h 119"/>
                <a:gd name="T14" fmla="*/ 49 w 144"/>
                <a:gd name="T15" fmla="*/ 51 h 119"/>
                <a:gd name="T16" fmla="*/ 100 w 144"/>
                <a:gd name="T17" fmla="*/ 69 h 119"/>
                <a:gd name="T18" fmla="*/ 113 w 144"/>
                <a:gd name="T19" fmla="*/ 98 h 119"/>
                <a:gd name="T20" fmla="*/ 103 w 144"/>
                <a:gd name="T21" fmla="*/ 97 h 119"/>
                <a:gd name="T22" fmla="*/ 95 w 144"/>
                <a:gd name="T23" fmla="*/ 110 h 119"/>
                <a:gd name="T24" fmla="*/ 126 w 144"/>
                <a:gd name="T25" fmla="*/ 104 h 119"/>
                <a:gd name="T26" fmla="*/ 143 w 144"/>
                <a:gd name="T27" fmla="*/ 118 h 119"/>
                <a:gd name="T28" fmla="*/ 141 w 144"/>
                <a:gd name="T29" fmla="*/ 30 h 119"/>
                <a:gd name="T30" fmla="*/ 97 w 144"/>
                <a:gd name="T31" fmla="*/ 15 h 119"/>
                <a:gd name="T32" fmla="*/ 61 w 144"/>
                <a:gd name="T33" fmla="*/ 41 h 119"/>
                <a:gd name="T34" fmla="*/ 47 w 144"/>
                <a:gd name="T35" fmla="*/ 27 h 119"/>
                <a:gd name="T36" fmla="*/ 43 w 144"/>
                <a:gd name="T37" fmla="*/ 6 h 119"/>
                <a:gd name="T38" fmla="*/ 21 w 144"/>
                <a:gd name="T39" fmla="*/ 0 h 119"/>
                <a:gd name="T40" fmla="*/ 0 w 144"/>
                <a:gd name="T41" fmla="*/ 15 h 119"/>
                <a:gd name="T42" fmla="*/ 0 w 144"/>
                <a:gd name="T43" fmla="*/ 15 h 11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44"/>
                <a:gd name="T67" fmla="*/ 0 h 119"/>
                <a:gd name="T68" fmla="*/ 144 w 144"/>
                <a:gd name="T69" fmla="*/ 119 h 11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44" h="119">
                  <a:moveTo>
                    <a:pt x="0" y="15"/>
                  </a:moveTo>
                  <a:lnTo>
                    <a:pt x="0" y="15"/>
                  </a:lnTo>
                  <a:lnTo>
                    <a:pt x="21" y="26"/>
                  </a:lnTo>
                  <a:lnTo>
                    <a:pt x="42" y="23"/>
                  </a:lnTo>
                  <a:lnTo>
                    <a:pt x="16" y="32"/>
                  </a:lnTo>
                  <a:lnTo>
                    <a:pt x="28" y="51"/>
                  </a:lnTo>
                  <a:lnTo>
                    <a:pt x="41" y="35"/>
                  </a:lnTo>
                  <a:lnTo>
                    <a:pt x="49" y="51"/>
                  </a:lnTo>
                  <a:lnTo>
                    <a:pt x="100" y="69"/>
                  </a:lnTo>
                  <a:lnTo>
                    <a:pt x="113" y="98"/>
                  </a:lnTo>
                  <a:lnTo>
                    <a:pt x="103" y="97"/>
                  </a:lnTo>
                  <a:lnTo>
                    <a:pt x="95" y="110"/>
                  </a:lnTo>
                  <a:lnTo>
                    <a:pt x="126" y="104"/>
                  </a:lnTo>
                  <a:lnTo>
                    <a:pt x="143" y="118"/>
                  </a:lnTo>
                  <a:lnTo>
                    <a:pt x="141" y="30"/>
                  </a:lnTo>
                  <a:lnTo>
                    <a:pt x="97" y="15"/>
                  </a:lnTo>
                  <a:lnTo>
                    <a:pt x="61" y="41"/>
                  </a:lnTo>
                  <a:lnTo>
                    <a:pt x="47" y="27"/>
                  </a:lnTo>
                  <a:lnTo>
                    <a:pt x="43" y="6"/>
                  </a:lnTo>
                  <a:lnTo>
                    <a:pt x="21" y="0"/>
                  </a:lnTo>
                  <a:lnTo>
                    <a:pt x="0" y="15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68379DB9-1D23-4A7E-956A-035E9E332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1" y="3526"/>
              <a:ext cx="7" cy="11"/>
            </a:xfrm>
            <a:custGeom>
              <a:avLst/>
              <a:gdLst>
                <a:gd name="T0" fmla="*/ 0 w 7"/>
                <a:gd name="T1" fmla="*/ 10 h 11"/>
                <a:gd name="T2" fmla="*/ 0 w 7"/>
                <a:gd name="T3" fmla="*/ 10 h 11"/>
                <a:gd name="T4" fmla="*/ 3 w 7"/>
                <a:gd name="T5" fmla="*/ 0 h 11"/>
                <a:gd name="T6" fmla="*/ 6 w 7"/>
                <a:gd name="T7" fmla="*/ 6 h 11"/>
                <a:gd name="T8" fmla="*/ 0 w 7"/>
                <a:gd name="T9" fmla="*/ 10 h 11"/>
                <a:gd name="T10" fmla="*/ 0 w 7"/>
                <a:gd name="T11" fmla="*/ 1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1"/>
                <a:gd name="T20" fmla="*/ 7 w 7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1">
                  <a:moveTo>
                    <a:pt x="0" y="10"/>
                  </a:moveTo>
                  <a:lnTo>
                    <a:pt x="0" y="10"/>
                  </a:lnTo>
                  <a:lnTo>
                    <a:pt x="3" y="0"/>
                  </a:lnTo>
                  <a:lnTo>
                    <a:pt x="6" y="6"/>
                  </a:lnTo>
                  <a:lnTo>
                    <a:pt x="0" y="1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1" name="Freeform 599">
            <a:extLst>
              <a:ext uri="{FF2B5EF4-FFF2-40B4-BE49-F238E27FC236}">
                <a16:creationId xmlns:a16="http://schemas.microsoft.com/office/drawing/2014/main" id="{359FAC09-0983-8858-7A99-06E260F3D9C0}"/>
              </a:ext>
            </a:extLst>
          </p:cNvPr>
          <p:cNvSpPr>
            <a:spLocks/>
          </p:cNvSpPr>
          <p:nvPr/>
        </p:nvSpPr>
        <p:spPr bwMode="auto">
          <a:xfrm>
            <a:off x="4998772" y="4759147"/>
            <a:ext cx="223381" cy="154135"/>
          </a:xfrm>
          <a:custGeom>
            <a:avLst/>
            <a:gdLst>
              <a:gd name="T0" fmla="*/ 0 w 194"/>
              <a:gd name="T1" fmla="*/ 111880299 h 139"/>
              <a:gd name="T2" fmla="*/ 0 w 194"/>
              <a:gd name="T3" fmla="*/ 111880299 h 139"/>
              <a:gd name="T4" fmla="*/ 3134995 w 194"/>
              <a:gd name="T5" fmla="*/ 172905343 h 139"/>
              <a:gd name="T6" fmla="*/ 25079963 w 194"/>
              <a:gd name="T7" fmla="*/ 191552270 h 139"/>
              <a:gd name="T8" fmla="*/ 6269991 w 194"/>
              <a:gd name="T9" fmla="*/ 222064121 h 139"/>
              <a:gd name="T10" fmla="*/ 40754933 w 194"/>
              <a:gd name="T11" fmla="*/ 233930347 h 139"/>
              <a:gd name="T12" fmla="*/ 119129815 w 194"/>
              <a:gd name="T13" fmla="*/ 222064121 h 139"/>
              <a:gd name="T14" fmla="*/ 133237289 w 194"/>
              <a:gd name="T15" fmla="*/ 188161920 h 139"/>
              <a:gd name="T16" fmla="*/ 186530976 w 194"/>
              <a:gd name="T17" fmla="*/ 169514952 h 139"/>
              <a:gd name="T18" fmla="*/ 191233467 w 194"/>
              <a:gd name="T19" fmla="*/ 140696975 h 139"/>
              <a:gd name="T20" fmla="*/ 210043431 w 194"/>
              <a:gd name="T21" fmla="*/ 133916274 h 139"/>
              <a:gd name="T22" fmla="*/ 202205946 w 194"/>
              <a:gd name="T23" fmla="*/ 118659698 h 139"/>
              <a:gd name="T24" fmla="*/ 221015911 w 194"/>
              <a:gd name="T25" fmla="*/ 116965824 h 139"/>
              <a:gd name="T26" fmla="*/ 235123384 w 194"/>
              <a:gd name="T27" fmla="*/ 88147847 h 139"/>
              <a:gd name="T28" fmla="*/ 228853396 w 194"/>
              <a:gd name="T29" fmla="*/ 59329849 h 139"/>
              <a:gd name="T30" fmla="*/ 300958260 w 194"/>
              <a:gd name="T31" fmla="*/ 38989039 h 139"/>
              <a:gd name="T32" fmla="*/ 302525758 w 194"/>
              <a:gd name="T33" fmla="*/ 32208338 h 139"/>
              <a:gd name="T34" fmla="*/ 275878308 w 194"/>
              <a:gd name="T35" fmla="*/ 27122813 h 139"/>
              <a:gd name="T36" fmla="*/ 238258378 w 194"/>
              <a:gd name="T37" fmla="*/ 47463623 h 139"/>
              <a:gd name="T38" fmla="*/ 219448414 w 194"/>
              <a:gd name="T39" fmla="*/ 0 h 139"/>
              <a:gd name="T40" fmla="*/ 188098473 w 194"/>
              <a:gd name="T41" fmla="*/ 35598688 h 139"/>
              <a:gd name="T42" fmla="*/ 94049862 w 194"/>
              <a:gd name="T43" fmla="*/ 32208338 h 139"/>
              <a:gd name="T44" fmla="*/ 47024931 w 194"/>
              <a:gd name="T45" fmla="*/ 86452672 h 139"/>
              <a:gd name="T46" fmla="*/ 14107478 w 194"/>
              <a:gd name="T47" fmla="*/ 69500900 h 139"/>
              <a:gd name="T48" fmla="*/ 0 w 194"/>
              <a:gd name="T49" fmla="*/ 111880299 h 139"/>
              <a:gd name="T50" fmla="*/ 0 w 194"/>
              <a:gd name="T51" fmla="*/ 111880299 h 13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4"/>
              <a:gd name="T79" fmla="*/ 0 h 139"/>
              <a:gd name="T80" fmla="*/ 194 w 194"/>
              <a:gd name="T81" fmla="*/ 139 h 13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4" h="139">
                <a:moveTo>
                  <a:pt x="0" y="66"/>
                </a:moveTo>
                <a:lnTo>
                  <a:pt x="0" y="66"/>
                </a:lnTo>
                <a:lnTo>
                  <a:pt x="2" y="102"/>
                </a:lnTo>
                <a:lnTo>
                  <a:pt x="16" y="113"/>
                </a:lnTo>
                <a:lnTo>
                  <a:pt x="4" y="131"/>
                </a:lnTo>
                <a:lnTo>
                  <a:pt x="26" y="138"/>
                </a:lnTo>
                <a:lnTo>
                  <a:pt x="76" y="131"/>
                </a:lnTo>
                <a:lnTo>
                  <a:pt x="85" y="111"/>
                </a:lnTo>
                <a:lnTo>
                  <a:pt x="119" y="100"/>
                </a:lnTo>
                <a:lnTo>
                  <a:pt x="122" y="83"/>
                </a:lnTo>
                <a:lnTo>
                  <a:pt x="134" y="79"/>
                </a:lnTo>
                <a:lnTo>
                  <a:pt x="129" y="70"/>
                </a:lnTo>
                <a:lnTo>
                  <a:pt x="141" y="69"/>
                </a:lnTo>
                <a:lnTo>
                  <a:pt x="150" y="52"/>
                </a:lnTo>
                <a:lnTo>
                  <a:pt x="146" y="35"/>
                </a:lnTo>
                <a:lnTo>
                  <a:pt x="192" y="23"/>
                </a:lnTo>
                <a:lnTo>
                  <a:pt x="193" y="19"/>
                </a:lnTo>
                <a:lnTo>
                  <a:pt x="176" y="16"/>
                </a:lnTo>
                <a:lnTo>
                  <a:pt x="152" y="28"/>
                </a:lnTo>
                <a:lnTo>
                  <a:pt x="140" y="0"/>
                </a:lnTo>
                <a:lnTo>
                  <a:pt x="120" y="21"/>
                </a:lnTo>
                <a:lnTo>
                  <a:pt x="60" y="19"/>
                </a:lnTo>
                <a:lnTo>
                  <a:pt x="30" y="51"/>
                </a:lnTo>
                <a:lnTo>
                  <a:pt x="9" y="41"/>
                </a:lnTo>
                <a:lnTo>
                  <a:pt x="0" y="66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32" name="Group 20">
            <a:extLst>
              <a:ext uri="{FF2B5EF4-FFF2-40B4-BE49-F238E27FC236}">
                <a16:creationId xmlns:a16="http://schemas.microsoft.com/office/drawing/2014/main" id="{B98620B0-3B82-51D5-7559-BED04A04E0FE}"/>
              </a:ext>
            </a:extLst>
          </p:cNvPr>
          <p:cNvGrpSpPr>
            <a:grpSpLocks/>
          </p:cNvGrpSpPr>
          <p:nvPr/>
        </p:nvGrpSpPr>
        <p:grpSpPr bwMode="auto">
          <a:xfrm>
            <a:off x="5820759" y="5531171"/>
            <a:ext cx="635106" cy="539471"/>
            <a:chOff x="4623" y="3575"/>
            <a:chExt cx="552" cy="485"/>
          </a:xfrm>
          <a:solidFill>
            <a:schemeClr val="accent2"/>
          </a:solidFill>
        </p:grpSpPr>
        <p:sp>
          <p:nvSpPr>
            <p:cNvPr id="33" name="Freeform 610">
              <a:extLst>
                <a:ext uri="{FF2B5EF4-FFF2-40B4-BE49-F238E27FC236}">
                  <a16:creationId xmlns:a16="http://schemas.microsoft.com/office/drawing/2014/main" id="{CBBD30F7-F39E-2932-B271-73926A8D4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3" y="3575"/>
              <a:ext cx="552" cy="414"/>
            </a:xfrm>
            <a:custGeom>
              <a:avLst/>
              <a:gdLst>
                <a:gd name="T0" fmla="*/ 0 w 552"/>
                <a:gd name="T1" fmla="*/ 218 h 414"/>
                <a:gd name="T2" fmla="*/ 4 w 552"/>
                <a:gd name="T3" fmla="*/ 209 h 414"/>
                <a:gd name="T4" fmla="*/ 3 w 552"/>
                <a:gd name="T5" fmla="*/ 192 h 414"/>
                <a:gd name="T6" fmla="*/ 14 w 552"/>
                <a:gd name="T7" fmla="*/ 165 h 414"/>
                <a:gd name="T8" fmla="*/ 106 w 552"/>
                <a:gd name="T9" fmla="*/ 123 h 414"/>
                <a:gd name="T10" fmla="*/ 125 w 552"/>
                <a:gd name="T11" fmla="*/ 88 h 414"/>
                <a:gd name="T12" fmla="*/ 141 w 552"/>
                <a:gd name="T13" fmla="*/ 94 h 414"/>
                <a:gd name="T14" fmla="*/ 154 w 552"/>
                <a:gd name="T15" fmla="*/ 80 h 414"/>
                <a:gd name="T16" fmla="*/ 175 w 552"/>
                <a:gd name="T17" fmla="*/ 46 h 414"/>
                <a:gd name="T18" fmla="*/ 202 w 552"/>
                <a:gd name="T19" fmla="*/ 68 h 414"/>
                <a:gd name="T20" fmla="*/ 226 w 552"/>
                <a:gd name="T21" fmla="*/ 63 h 414"/>
                <a:gd name="T22" fmla="*/ 233 w 552"/>
                <a:gd name="T23" fmla="*/ 28 h 414"/>
                <a:gd name="T24" fmla="*/ 257 w 552"/>
                <a:gd name="T25" fmla="*/ 6 h 414"/>
                <a:gd name="T26" fmla="*/ 306 w 552"/>
                <a:gd name="T27" fmla="*/ 59 h 414"/>
                <a:gd name="T28" fmla="*/ 384 w 552"/>
                <a:gd name="T29" fmla="*/ 82 h 414"/>
                <a:gd name="T30" fmla="*/ 405 w 552"/>
                <a:gd name="T31" fmla="*/ 0 h 414"/>
                <a:gd name="T32" fmla="*/ 440 w 552"/>
                <a:gd name="T33" fmla="*/ 59 h 414"/>
                <a:gd name="T34" fmla="*/ 488 w 552"/>
                <a:gd name="T35" fmla="*/ 133 h 414"/>
                <a:gd name="T36" fmla="*/ 512 w 552"/>
                <a:gd name="T37" fmla="*/ 163 h 414"/>
                <a:gd name="T38" fmla="*/ 543 w 552"/>
                <a:gd name="T39" fmla="*/ 204 h 414"/>
                <a:gd name="T40" fmla="*/ 545 w 552"/>
                <a:gd name="T41" fmla="*/ 290 h 414"/>
                <a:gd name="T42" fmla="*/ 503 w 552"/>
                <a:gd name="T43" fmla="*/ 388 h 414"/>
                <a:gd name="T44" fmla="*/ 453 w 552"/>
                <a:gd name="T45" fmla="*/ 406 h 414"/>
                <a:gd name="T46" fmla="*/ 435 w 552"/>
                <a:gd name="T47" fmla="*/ 392 h 414"/>
                <a:gd name="T48" fmla="*/ 387 w 552"/>
                <a:gd name="T49" fmla="*/ 401 h 414"/>
                <a:gd name="T50" fmla="*/ 357 w 552"/>
                <a:gd name="T51" fmla="*/ 354 h 414"/>
                <a:gd name="T52" fmla="*/ 341 w 552"/>
                <a:gd name="T53" fmla="*/ 337 h 414"/>
                <a:gd name="T54" fmla="*/ 324 w 552"/>
                <a:gd name="T55" fmla="*/ 352 h 414"/>
                <a:gd name="T56" fmla="*/ 312 w 552"/>
                <a:gd name="T57" fmla="*/ 349 h 414"/>
                <a:gd name="T58" fmla="*/ 288 w 552"/>
                <a:gd name="T59" fmla="*/ 312 h 414"/>
                <a:gd name="T60" fmla="*/ 175 w 552"/>
                <a:gd name="T61" fmla="*/ 308 h 414"/>
                <a:gd name="T62" fmla="*/ 94 w 552"/>
                <a:gd name="T63" fmla="*/ 331 h 414"/>
                <a:gd name="T64" fmla="*/ 27 w 552"/>
                <a:gd name="T65" fmla="*/ 337 h 414"/>
                <a:gd name="T66" fmla="*/ 0 w 552"/>
                <a:gd name="T67" fmla="*/ 218 h 41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52"/>
                <a:gd name="T103" fmla="*/ 0 h 414"/>
                <a:gd name="T104" fmla="*/ 552 w 552"/>
                <a:gd name="T105" fmla="*/ 414 h 41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52" h="414">
                  <a:moveTo>
                    <a:pt x="0" y="218"/>
                  </a:moveTo>
                  <a:lnTo>
                    <a:pt x="0" y="218"/>
                  </a:lnTo>
                  <a:lnTo>
                    <a:pt x="9" y="221"/>
                  </a:lnTo>
                  <a:lnTo>
                    <a:pt x="4" y="209"/>
                  </a:lnTo>
                  <a:lnTo>
                    <a:pt x="15" y="215"/>
                  </a:lnTo>
                  <a:lnTo>
                    <a:pt x="3" y="192"/>
                  </a:lnTo>
                  <a:lnTo>
                    <a:pt x="11" y="155"/>
                  </a:lnTo>
                  <a:lnTo>
                    <a:pt x="14" y="165"/>
                  </a:lnTo>
                  <a:lnTo>
                    <a:pt x="48" y="136"/>
                  </a:lnTo>
                  <a:lnTo>
                    <a:pt x="106" y="123"/>
                  </a:lnTo>
                  <a:lnTo>
                    <a:pt x="125" y="101"/>
                  </a:lnTo>
                  <a:lnTo>
                    <a:pt x="125" y="88"/>
                  </a:lnTo>
                  <a:lnTo>
                    <a:pt x="133" y="78"/>
                  </a:lnTo>
                  <a:lnTo>
                    <a:pt x="141" y="94"/>
                  </a:lnTo>
                  <a:lnTo>
                    <a:pt x="141" y="76"/>
                  </a:lnTo>
                  <a:lnTo>
                    <a:pt x="154" y="80"/>
                  </a:lnTo>
                  <a:lnTo>
                    <a:pt x="155" y="67"/>
                  </a:lnTo>
                  <a:lnTo>
                    <a:pt x="175" y="46"/>
                  </a:lnTo>
                  <a:lnTo>
                    <a:pt x="197" y="48"/>
                  </a:lnTo>
                  <a:lnTo>
                    <a:pt x="202" y="68"/>
                  </a:lnTo>
                  <a:lnTo>
                    <a:pt x="210" y="56"/>
                  </a:lnTo>
                  <a:lnTo>
                    <a:pt x="226" y="63"/>
                  </a:lnTo>
                  <a:lnTo>
                    <a:pt x="220" y="49"/>
                  </a:lnTo>
                  <a:lnTo>
                    <a:pt x="233" y="28"/>
                  </a:lnTo>
                  <a:lnTo>
                    <a:pt x="265" y="20"/>
                  </a:lnTo>
                  <a:lnTo>
                    <a:pt x="257" y="6"/>
                  </a:lnTo>
                  <a:lnTo>
                    <a:pt x="319" y="23"/>
                  </a:lnTo>
                  <a:lnTo>
                    <a:pt x="306" y="59"/>
                  </a:lnTo>
                  <a:lnTo>
                    <a:pt x="368" y="97"/>
                  </a:lnTo>
                  <a:lnTo>
                    <a:pt x="384" y="82"/>
                  </a:lnTo>
                  <a:lnTo>
                    <a:pt x="390" y="19"/>
                  </a:lnTo>
                  <a:lnTo>
                    <a:pt x="405" y="0"/>
                  </a:lnTo>
                  <a:lnTo>
                    <a:pt x="418" y="49"/>
                  </a:lnTo>
                  <a:lnTo>
                    <a:pt x="440" y="59"/>
                  </a:lnTo>
                  <a:lnTo>
                    <a:pt x="454" y="115"/>
                  </a:lnTo>
                  <a:lnTo>
                    <a:pt x="488" y="133"/>
                  </a:lnTo>
                  <a:lnTo>
                    <a:pt x="499" y="165"/>
                  </a:lnTo>
                  <a:lnTo>
                    <a:pt x="512" y="163"/>
                  </a:lnTo>
                  <a:lnTo>
                    <a:pt x="515" y="179"/>
                  </a:lnTo>
                  <a:lnTo>
                    <a:pt x="543" y="204"/>
                  </a:lnTo>
                  <a:lnTo>
                    <a:pt x="551" y="247"/>
                  </a:lnTo>
                  <a:lnTo>
                    <a:pt x="545" y="290"/>
                  </a:lnTo>
                  <a:lnTo>
                    <a:pt x="521" y="326"/>
                  </a:lnTo>
                  <a:lnTo>
                    <a:pt x="503" y="388"/>
                  </a:lnTo>
                  <a:lnTo>
                    <a:pt x="472" y="395"/>
                  </a:lnTo>
                  <a:lnTo>
                    <a:pt x="453" y="406"/>
                  </a:lnTo>
                  <a:lnTo>
                    <a:pt x="454" y="413"/>
                  </a:lnTo>
                  <a:lnTo>
                    <a:pt x="435" y="392"/>
                  </a:lnTo>
                  <a:lnTo>
                    <a:pt x="413" y="408"/>
                  </a:lnTo>
                  <a:lnTo>
                    <a:pt x="387" y="401"/>
                  </a:lnTo>
                  <a:lnTo>
                    <a:pt x="367" y="386"/>
                  </a:lnTo>
                  <a:lnTo>
                    <a:pt x="357" y="354"/>
                  </a:lnTo>
                  <a:lnTo>
                    <a:pt x="341" y="358"/>
                  </a:lnTo>
                  <a:lnTo>
                    <a:pt x="341" y="337"/>
                  </a:lnTo>
                  <a:lnTo>
                    <a:pt x="336" y="351"/>
                  </a:lnTo>
                  <a:lnTo>
                    <a:pt x="324" y="352"/>
                  </a:lnTo>
                  <a:lnTo>
                    <a:pt x="336" y="311"/>
                  </a:lnTo>
                  <a:lnTo>
                    <a:pt x="312" y="349"/>
                  </a:lnTo>
                  <a:lnTo>
                    <a:pt x="301" y="341"/>
                  </a:lnTo>
                  <a:lnTo>
                    <a:pt x="288" y="312"/>
                  </a:lnTo>
                  <a:lnTo>
                    <a:pt x="248" y="295"/>
                  </a:lnTo>
                  <a:lnTo>
                    <a:pt x="175" y="308"/>
                  </a:lnTo>
                  <a:lnTo>
                    <a:pt x="144" y="330"/>
                  </a:lnTo>
                  <a:lnTo>
                    <a:pt x="94" y="331"/>
                  </a:lnTo>
                  <a:lnTo>
                    <a:pt x="65" y="350"/>
                  </a:lnTo>
                  <a:lnTo>
                    <a:pt x="27" y="337"/>
                  </a:lnTo>
                  <a:lnTo>
                    <a:pt x="35" y="297"/>
                  </a:lnTo>
                  <a:lnTo>
                    <a:pt x="0" y="218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611">
              <a:extLst>
                <a:ext uri="{FF2B5EF4-FFF2-40B4-BE49-F238E27FC236}">
                  <a16:creationId xmlns:a16="http://schemas.microsoft.com/office/drawing/2014/main" id="{311FFAFE-C125-8FF0-8812-96B3C0225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5" y="4012"/>
              <a:ext cx="49" cy="48"/>
            </a:xfrm>
            <a:custGeom>
              <a:avLst/>
              <a:gdLst>
                <a:gd name="T0" fmla="*/ 0 w 49"/>
                <a:gd name="T1" fmla="*/ 8 h 48"/>
                <a:gd name="T2" fmla="*/ 0 w 49"/>
                <a:gd name="T3" fmla="*/ 8 h 48"/>
                <a:gd name="T4" fmla="*/ 1 w 49"/>
                <a:gd name="T5" fmla="*/ 0 h 48"/>
                <a:gd name="T6" fmla="*/ 25 w 49"/>
                <a:gd name="T7" fmla="*/ 7 h 48"/>
                <a:gd name="T8" fmla="*/ 44 w 49"/>
                <a:gd name="T9" fmla="*/ 1 h 48"/>
                <a:gd name="T10" fmla="*/ 48 w 49"/>
                <a:gd name="T11" fmla="*/ 13 h 48"/>
                <a:gd name="T12" fmla="*/ 48 w 49"/>
                <a:gd name="T13" fmla="*/ 27 h 48"/>
                <a:gd name="T14" fmla="*/ 30 w 49"/>
                <a:gd name="T15" fmla="*/ 47 h 48"/>
                <a:gd name="T16" fmla="*/ 18 w 49"/>
                <a:gd name="T17" fmla="*/ 46 h 48"/>
                <a:gd name="T18" fmla="*/ 0 w 49"/>
                <a:gd name="T19" fmla="*/ 8 h 48"/>
                <a:gd name="T20" fmla="*/ 0 w 49"/>
                <a:gd name="T21" fmla="*/ 8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9"/>
                <a:gd name="T34" fmla="*/ 0 h 48"/>
                <a:gd name="T35" fmla="*/ 49 w 49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9" h="48">
                  <a:moveTo>
                    <a:pt x="0" y="8"/>
                  </a:moveTo>
                  <a:lnTo>
                    <a:pt x="0" y="8"/>
                  </a:lnTo>
                  <a:lnTo>
                    <a:pt x="1" y="0"/>
                  </a:lnTo>
                  <a:lnTo>
                    <a:pt x="25" y="7"/>
                  </a:lnTo>
                  <a:lnTo>
                    <a:pt x="44" y="1"/>
                  </a:lnTo>
                  <a:lnTo>
                    <a:pt x="48" y="13"/>
                  </a:lnTo>
                  <a:lnTo>
                    <a:pt x="48" y="27"/>
                  </a:lnTo>
                  <a:lnTo>
                    <a:pt x="30" y="47"/>
                  </a:lnTo>
                  <a:lnTo>
                    <a:pt x="18" y="46"/>
                  </a:lnTo>
                  <a:lnTo>
                    <a:pt x="0" y="8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Freeform 612">
            <a:extLst>
              <a:ext uri="{FF2B5EF4-FFF2-40B4-BE49-F238E27FC236}">
                <a16:creationId xmlns:a16="http://schemas.microsoft.com/office/drawing/2014/main" id="{15329A0D-6D78-86BA-FB85-F6E3191B32E8}"/>
              </a:ext>
            </a:extLst>
          </p:cNvPr>
          <p:cNvSpPr>
            <a:spLocks/>
          </p:cNvSpPr>
          <p:nvPr/>
        </p:nvSpPr>
        <p:spPr bwMode="auto">
          <a:xfrm>
            <a:off x="5426555" y="4959251"/>
            <a:ext cx="75921" cy="91940"/>
          </a:xfrm>
          <a:custGeom>
            <a:avLst/>
            <a:gdLst>
              <a:gd name="T0" fmla="*/ 0 w 66"/>
              <a:gd name="T1" fmla="*/ 43327448 h 82"/>
              <a:gd name="T2" fmla="*/ 0 w 66"/>
              <a:gd name="T3" fmla="*/ 43327448 h 82"/>
              <a:gd name="T4" fmla="*/ 14079776 w 66"/>
              <a:gd name="T5" fmla="*/ 57191119 h 82"/>
              <a:gd name="T6" fmla="*/ 21902016 w 66"/>
              <a:gd name="T7" fmla="*/ 123048514 h 82"/>
              <a:gd name="T8" fmla="*/ 46932174 w 66"/>
              <a:gd name="T9" fmla="*/ 117849802 h 82"/>
              <a:gd name="T10" fmla="*/ 62575392 w 66"/>
              <a:gd name="T11" fmla="*/ 90119827 h 82"/>
              <a:gd name="T12" fmla="*/ 79784558 w 66"/>
              <a:gd name="T13" fmla="*/ 97052321 h 82"/>
              <a:gd name="T14" fmla="*/ 92299652 w 66"/>
              <a:gd name="T15" fmla="*/ 140379749 h 82"/>
              <a:gd name="T16" fmla="*/ 101685332 w 66"/>
              <a:gd name="T17" fmla="*/ 116116020 h 82"/>
              <a:gd name="T18" fmla="*/ 90734955 w 66"/>
              <a:gd name="T19" fmla="*/ 69323642 h 82"/>
              <a:gd name="T20" fmla="*/ 79784558 w 66"/>
              <a:gd name="T21" fmla="*/ 86653580 h 82"/>
              <a:gd name="T22" fmla="*/ 67269483 w 66"/>
              <a:gd name="T23" fmla="*/ 65857395 h 82"/>
              <a:gd name="T24" fmla="*/ 92299652 w 66"/>
              <a:gd name="T25" fmla="*/ 36394944 h 82"/>
              <a:gd name="T26" fmla="*/ 43802780 w 66"/>
              <a:gd name="T27" fmla="*/ 32928697 h 82"/>
              <a:gd name="T28" fmla="*/ 12515079 w 66"/>
              <a:gd name="T29" fmla="*/ 0 h 82"/>
              <a:gd name="T30" fmla="*/ 3129395 w 66"/>
              <a:gd name="T31" fmla="*/ 19063705 h 82"/>
              <a:gd name="T32" fmla="*/ 14079776 w 66"/>
              <a:gd name="T33" fmla="*/ 32928697 h 82"/>
              <a:gd name="T34" fmla="*/ 0 w 66"/>
              <a:gd name="T35" fmla="*/ 43327448 h 82"/>
              <a:gd name="T36" fmla="*/ 0 w 66"/>
              <a:gd name="T37" fmla="*/ 43327448 h 8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6"/>
              <a:gd name="T58" fmla="*/ 0 h 82"/>
              <a:gd name="T59" fmla="*/ 66 w 66"/>
              <a:gd name="T60" fmla="*/ 82 h 8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6" h="82">
                <a:moveTo>
                  <a:pt x="0" y="25"/>
                </a:moveTo>
                <a:lnTo>
                  <a:pt x="0" y="25"/>
                </a:lnTo>
                <a:lnTo>
                  <a:pt x="9" y="33"/>
                </a:lnTo>
                <a:lnTo>
                  <a:pt x="14" y="71"/>
                </a:lnTo>
                <a:lnTo>
                  <a:pt x="30" y="68"/>
                </a:lnTo>
                <a:lnTo>
                  <a:pt x="40" y="52"/>
                </a:lnTo>
                <a:lnTo>
                  <a:pt x="51" y="56"/>
                </a:lnTo>
                <a:lnTo>
                  <a:pt x="59" y="81"/>
                </a:lnTo>
                <a:lnTo>
                  <a:pt x="65" y="67"/>
                </a:lnTo>
                <a:lnTo>
                  <a:pt x="58" y="40"/>
                </a:lnTo>
                <a:lnTo>
                  <a:pt x="51" y="50"/>
                </a:lnTo>
                <a:lnTo>
                  <a:pt x="43" y="38"/>
                </a:lnTo>
                <a:lnTo>
                  <a:pt x="59" y="21"/>
                </a:lnTo>
                <a:lnTo>
                  <a:pt x="28" y="19"/>
                </a:lnTo>
                <a:lnTo>
                  <a:pt x="8" y="0"/>
                </a:lnTo>
                <a:lnTo>
                  <a:pt x="2" y="11"/>
                </a:lnTo>
                <a:lnTo>
                  <a:pt x="9" y="19"/>
                </a:lnTo>
                <a:lnTo>
                  <a:pt x="0" y="2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" name="Freeform 613">
            <a:extLst>
              <a:ext uri="{FF2B5EF4-FFF2-40B4-BE49-F238E27FC236}">
                <a16:creationId xmlns:a16="http://schemas.microsoft.com/office/drawing/2014/main" id="{F3C48CAE-0093-459D-1922-4740B796099A}"/>
              </a:ext>
            </a:extLst>
          </p:cNvPr>
          <p:cNvSpPr>
            <a:spLocks/>
          </p:cNvSpPr>
          <p:nvPr/>
        </p:nvSpPr>
        <p:spPr bwMode="auto">
          <a:xfrm>
            <a:off x="5442616" y="4930858"/>
            <a:ext cx="46720" cy="28393"/>
          </a:xfrm>
          <a:custGeom>
            <a:avLst/>
            <a:gdLst>
              <a:gd name="T0" fmla="*/ 0 w 42"/>
              <a:gd name="T1" fmla="*/ 27013506 h 24"/>
              <a:gd name="T2" fmla="*/ 0 w 42"/>
              <a:gd name="T3" fmla="*/ 27013506 h 24"/>
              <a:gd name="T4" fmla="*/ 7315200 w 42"/>
              <a:gd name="T5" fmla="*/ 44379820 h 24"/>
              <a:gd name="T6" fmla="*/ 59980283 w 42"/>
              <a:gd name="T7" fmla="*/ 36662076 h 24"/>
              <a:gd name="T8" fmla="*/ 57054446 w 42"/>
              <a:gd name="T9" fmla="*/ 13507447 h 24"/>
              <a:gd name="T10" fmla="*/ 19018550 w 42"/>
              <a:gd name="T11" fmla="*/ 0 h 24"/>
              <a:gd name="T12" fmla="*/ 0 w 42"/>
              <a:gd name="T13" fmla="*/ 27013506 h 24"/>
              <a:gd name="T14" fmla="*/ 0 w 42"/>
              <a:gd name="T15" fmla="*/ 27013506 h 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2"/>
              <a:gd name="T25" fmla="*/ 0 h 24"/>
              <a:gd name="T26" fmla="*/ 42 w 42"/>
              <a:gd name="T27" fmla="*/ 24 h 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2" h="24">
                <a:moveTo>
                  <a:pt x="0" y="14"/>
                </a:moveTo>
                <a:lnTo>
                  <a:pt x="0" y="14"/>
                </a:lnTo>
                <a:lnTo>
                  <a:pt x="5" y="23"/>
                </a:lnTo>
                <a:lnTo>
                  <a:pt x="41" y="19"/>
                </a:lnTo>
                <a:lnTo>
                  <a:pt x="39" y="7"/>
                </a:lnTo>
                <a:lnTo>
                  <a:pt x="13" y="0"/>
                </a:lnTo>
                <a:lnTo>
                  <a:pt x="0" y="1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" name="Freeform 614">
            <a:extLst>
              <a:ext uri="{FF2B5EF4-FFF2-40B4-BE49-F238E27FC236}">
                <a16:creationId xmlns:a16="http://schemas.microsoft.com/office/drawing/2014/main" id="{CC0039AC-EF25-6413-AA1C-A2F93C443482}"/>
              </a:ext>
            </a:extLst>
          </p:cNvPr>
          <p:cNvSpPr>
            <a:spLocks/>
          </p:cNvSpPr>
          <p:nvPr/>
        </p:nvSpPr>
        <p:spPr bwMode="auto">
          <a:xfrm>
            <a:off x="5835359" y="5293208"/>
            <a:ext cx="20440" cy="16225"/>
          </a:xfrm>
          <a:custGeom>
            <a:avLst/>
            <a:gdLst>
              <a:gd name="T0" fmla="*/ 0 w 17"/>
              <a:gd name="T1" fmla="*/ 9677400 h 15"/>
              <a:gd name="T2" fmla="*/ 0 w 17"/>
              <a:gd name="T3" fmla="*/ 9677400 h 15"/>
              <a:gd name="T4" fmla="*/ 13673603 w 17"/>
              <a:gd name="T5" fmla="*/ 22580604 h 15"/>
              <a:gd name="T6" fmla="*/ 27347207 w 17"/>
              <a:gd name="T7" fmla="*/ 0 h 15"/>
              <a:gd name="T8" fmla="*/ 0 w 17"/>
              <a:gd name="T9" fmla="*/ 9677400 h 15"/>
              <a:gd name="T10" fmla="*/ 0 w 17"/>
              <a:gd name="T11" fmla="*/ 9677400 h 1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15"/>
              <a:gd name="T20" fmla="*/ 17 w 17"/>
              <a:gd name="T21" fmla="*/ 15 h 1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15">
                <a:moveTo>
                  <a:pt x="0" y="6"/>
                </a:moveTo>
                <a:lnTo>
                  <a:pt x="0" y="6"/>
                </a:lnTo>
                <a:lnTo>
                  <a:pt x="8" y="14"/>
                </a:lnTo>
                <a:lnTo>
                  <a:pt x="16" y="0"/>
                </a:lnTo>
                <a:lnTo>
                  <a:pt x="0" y="6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" name="Freeform 615">
            <a:extLst>
              <a:ext uri="{FF2B5EF4-FFF2-40B4-BE49-F238E27FC236}">
                <a16:creationId xmlns:a16="http://schemas.microsoft.com/office/drawing/2014/main" id="{C405742B-9EF3-4940-EE97-A2CC07EFB0E2}"/>
              </a:ext>
            </a:extLst>
          </p:cNvPr>
          <p:cNvSpPr>
            <a:spLocks/>
          </p:cNvSpPr>
          <p:nvPr/>
        </p:nvSpPr>
        <p:spPr bwMode="auto">
          <a:xfrm>
            <a:off x="5493715" y="4932210"/>
            <a:ext cx="141621" cy="285283"/>
          </a:xfrm>
          <a:custGeom>
            <a:avLst/>
            <a:gdLst>
              <a:gd name="T0" fmla="*/ 0 w 124"/>
              <a:gd name="T1" fmla="*/ 180866331 h 254"/>
              <a:gd name="T2" fmla="*/ 0 w 124"/>
              <a:gd name="T3" fmla="*/ 180866331 h 254"/>
              <a:gd name="T4" fmla="*/ 9252940 w 124"/>
              <a:gd name="T5" fmla="*/ 156518251 h 254"/>
              <a:gd name="T6" fmla="*/ 63228222 w 124"/>
              <a:gd name="T7" fmla="*/ 41738375 h 254"/>
              <a:gd name="T8" fmla="*/ 101782356 w 124"/>
              <a:gd name="T9" fmla="*/ 26086159 h 254"/>
              <a:gd name="T10" fmla="*/ 109494173 w 124"/>
              <a:gd name="T11" fmla="*/ 0 h 254"/>
              <a:gd name="T12" fmla="*/ 135710623 w 124"/>
              <a:gd name="T13" fmla="*/ 15652222 h 254"/>
              <a:gd name="T14" fmla="*/ 137252987 w 124"/>
              <a:gd name="T15" fmla="*/ 38259519 h 254"/>
              <a:gd name="T16" fmla="*/ 114120021 w 124"/>
              <a:gd name="T17" fmla="*/ 107823492 h 254"/>
              <a:gd name="T18" fmla="*/ 138794108 w 124"/>
              <a:gd name="T19" fmla="*/ 102606526 h 254"/>
              <a:gd name="T20" fmla="*/ 151131773 w 124"/>
              <a:gd name="T21" fmla="*/ 149561857 h 254"/>
              <a:gd name="T22" fmla="*/ 189685926 w 124"/>
              <a:gd name="T23" fmla="*/ 163474645 h 254"/>
              <a:gd name="T24" fmla="*/ 169637687 w 124"/>
              <a:gd name="T25" fmla="*/ 186083297 h 254"/>
              <a:gd name="T26" fmla="*/ 124915322 w 124"/>
              <a:gd name="T27" fmla="*/ 215648302 h 254"/>
              <a:gd name="T28" fmla="*/ 114120021 w 124"/>
              <a:gd name="T29" fmla="*/ 243473879 h 254"/>
              <a:gd name="T30" fmla="*/ 138794108 w 124"/>
              <a:gd name="T31" fmla="*/ 297385605 h 254"/>
              <a:gd name="T32" fmla="*/ 129541170 w 124"/>
              <a:gd name="T33" fmla="*/ 328688719 h 254"/>
              <a:gd name="T34" fmla="*/ 158842347 w 124"/>
              <a:gd name="T35" fmla="*/ 398252743 h 254"/>
              <a:gd name="T36" fmla="*/ 137252987 w 124"/>
              <a:gd name="T37" fmla="*/ 439991109 h 254"/>
              <a:gd name="T38" fmla="*/ 115662384 w 124"/>
              <a:gd name="T39" fmla="*/ 290429210 h 254"/>
              <a:gd name="T40" fmla="*/ 97156508 w 124"/>
              <a:gd name="T41" fmla="*/ 266081171 h 254"/>
              <a:gd name="T42" fmla="*/ 66312948 w 124"/>
              <a:gd name="T43" fmla="*/ 306081427 h 254"/>
              <a:gd name="T44" fmla="*/ 43179983 w 124"/>
              <a:gd name="T45" fmla="*/ 299125033 h 254"/>
              <a:gd name="T46" fmla="*/ 47807072 w 124"/>
              <a:gd name="T47" fmla="*/ 243473879 h 254"/>
              <a:gd name="T48" fmla="*/ 0 w 124"/>
              <a:gd name="T49" fmla="*/ 180866331 h 254"/>
              <a:gd name="T50" fmla="*/ 0 w 124"/>
              <a:gd name="T51" fmla="*/ 180866331 h 25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24"/>
              <a:gd name="T79" fmla="*/ 0 h 254"/>
              <a:gd name="T80" fmla="*/ 124 w 124"/>
              <a:gd name="T81" fmla="*/ 254 h 25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24" h="254">
                <a:moveTo>
                  <a:pt x="0" y="104"/>
                </a:moveTo>
                <a:lnTo>
                  <a:pt x="0" y="104"/>
                </a:lnTo>
                <a:lnTo>
                  <a:pt x="6" y="90"/>
                </a:lnTo>
                <a:lnTo>
                  <a:pt x="41" y="24"/>
                </a:lnTo>
                <a:lnTo>
                  <a:pt x="66" y="15"/>
                </a:lnTo>
                <a:lnTo>
                  <a:pt x="71" y="0"/>
                </a:lnTo>
                <a:lnTo>
                  <a:pt x="88" y="9"/>
                </a:lnTo>
                <a:lnTo>
                  <a:pt x="89" y="22"/>
                </a:lnTo>
                <a:lnTo>
                  <a:pt x="74" y="62"/>
                </a:lnTo>
                <a:lnTo>
                  <a:pt x="90" y="59"/>
                </a:lnTo>
                <a:lnTo>
                  <a:pt x="98" y="86"/>
                </a:lnTo>
                <a:lnTo>
                  <a:pt x="123" y="94"/>
                </a:lnTo>
                <a:lnTo>
                  <a:pt x="110" y="107"/>
                </a:lnTo>
                <a:lnTo>
                  <a:pt x="81" y="124"/>
                </a:lnTo>
                <a:lnTo>
                  <a:pt x="74" y="140"/>
                </a:lnTo>
                <a:lnTo>
                  <a:pt x="90" y="171"/>
                </a:lnTo>
                <a:lnTo>
                  <a:pt x="84" y="189"/>
                </a:lnTo>
                <a:lnTo>
                  <a:pt x="103" y="229"/>
                </a:lnTo>
                <a:lnTo>
                  <a:pt x="89" y="253"/>
                </a:lnTo>
                <a:lnTo>
                  <a:pt x="75" y="167"/>
                </a:lnTo>
                <a:lnTo>
                  <a:pt x="63" y="153"/>
                </a:lnTo>
                <a:lnTo>
                  <a:pt x="43" y="176"/>
                </a:lnTo>
                <a:lnTo>
                  <a:pt x="28" y="172"/>
                </a:lnTo>
                <a:lnTo>
                  <a:pt x="31" y="140"/>
                </a:lnTo>
                <a:lnTo>
                  <a:pt x="0" y="10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4" name="Freeform 616">
            <a:extLst>
              <a:ext uri="{FF2B5EF4-FFF2-40B4-BE49-F238E27FC236}">
                <a16:creationId xmlns:a16="http://schemas.microsoft.com/office/drawing/2014/main" id="{6C314E65-BA29-7EDE-4D6E-CEE36A919EDB}"/>
              </a:ext>
            </a:extLst>
          </p:cNvPr>
          <p:cNvSpPr>
            <a:spLocks/>
          </p:cNvSpPr>
          <p:nvPr/>
        </p:nvSpPr>
        <p:spPr bwMode="auto">
          <a:xfrm>
            <a:off x="5654317" y="5148539"/>
            <a:ext cx="80301" cy="62194"/>
          </a:xfrm>
          <a:custGeom>
            <a:avLst/>
            <a:gdLst>
              <a:gd name="T0" fmla="*/ 0 w 70"/>
              <a:gd name="T1" fmla="*/ 18383734 h 59"/>
              <a:gd name="T2" fmla="*/ 0 w 70"/>
              <a:gd name="T3" fmla="*/ 18383734 h 59"/>
              <a:gd name="T4" fmla="*/ 7779587 w 70"/>
              <a:gd name="T5" fmla="*/ 62808929 h 59"/>
              <a:gd name="T6" fmla="*/ 21782099 w 70"/>
              <a:gd name="T7" fmla="*/ 85788301 h 59"/>
              <a:gd name="T8" fmla="*/ 43562951 w 70"/>
              <a:gd name="T9" fmla="*/ 88851637 h 59"/>
              <a:gd name="T10" fmla="*/ 107352573 w 70"/>
              <a:gd name="T11" fmla="*/ 47489774 h 59"/>
              <a:gd name="T12" fmla="*/ 104240490 w 70"/>
              <a:gd name="T13" fmla="*/ 0 h 59"/>
              <a:gd name="T14" fmla="*/ 56010037 w 70"/>
              <a:gd name="T15" fmla="*/ 7660199 h 59"/>
              <a:gd name="T16" fmla="*/ 15557927 w 70"/>
              <a:gd name="T17" fmla="*/ 6127912 h 59"/>
              <a:gd name="T18" fmla="*/ 0 w 70"/>
              <a:gd name="T19" fmla="*/ 18383734 h 59"/>
              <a:gd name="T20" fmla="*/ 0 w 70"/>
              <a:gd name="T21" fmla="*/ 18383734 h 5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70"/>
              <a:gd name="T34" fmla="*/ 0 h 59"/>
              <a:gd name="T35" fmla="*/ 70 w 70"/>
              <a:gd name="T36" fmla="*/ 59 h 5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70" h="59">
                <a:moveTo>
                  <a:pt x="0" y="12"/>
                </a:moveTo>
                <a:lnTo>
                  <a:pt x="0" y="12"/>
                </a:lnTo>
                <a:lnTo>
                  <a:pt x="5" y="41"/>
                </a:lnTo>
                <a:lnTo>
                  <a:pt x="14" y="56"/>
                </a:lnTo>
                <a:lnTo>
                  <a:pt x="28" y="58"/>
                </a:lnTo>
                <a:lnTo>
                  <a:pt x="69" y="31"/>
                </a:lnTo>
                <a:lnTo>
                  <a:pt x="67" y="0"/>
                </a:lnTo>
                <a:lnTo>
                  <a:pt x="36" y="5"/>
                </a:lnTo>
                <a:lnTo>
                  <a:pt x="10" y="4"/>
                </a:lnTo>
                <a:lnTo>
                  <a:pt x="0" y="1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5" name="Freeform 617">
            <a:extLst>
              <a:ext uri="{FF2B5EF4-FFF2-40B4-BE49-F238E27FC236}">
                <a16:creationId xmlns:a16="http://schemas.microsoft.com/office/drawing/2014/main" id="{E9CF28EA-1655-E9F3-F5E7-A2631BCC29B5}"/>
              </a:ext>
            </a:extLst>
          </p:cNvPr>
          <p:cNvSpPr>
            <a:spLocks/>
          </p:cNvSpPr>
          <p:nvPr/>
        </p:nvSpPr>
        <p:spPr bwMode="auto">
          <a:xfrm>
            <a:off x="5300994" y="5221549"/>
            <a:ext cx="29201" cy="55434"/>
          </a:xfrm>
          <a:custGeom>
            <a:avLst/>
            <a:gdLst>
              <a:gd name="T0" fmla="*/ 0 w 26"/>
              <a:gd name="T1" fmla="*/ 0 h 51"/>
              <a:gd name="T2" fmla="*/ 0 w 26"/>
              <a:gd name="T3" fmla="*/ 0 h 51"/>
              <a:gd name="T4" fmla="*/ 7456366 w 26"/>
              <a:gd name="T5" fmla="*/ 81436595 h 51"/>
              <a:gd name="T6" fmla="*/ 37280604 w 26"/>
              <a:gd name="T7" fmla="*/ 66777986 h 51"/>
              <a:gd name="T8" fmla="*/ 22367878 w 26"/>
              <a:gd name="T9" fmla="*/ 19545242 h 51"/>
              <a:gd name="T10" fmla="*/ 0 w 26"/>
              <a:gd name="T11" fmla="*/ 0 h 51"/>
              <a:gd name="T12" fmla="*/ 0 w 26"/>
              <a:gd name="T13" fmla="*/ 0 h 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6"/>
              <a:gd name="T22" fmla="*/ 0 h 51"/>
              <a:gd name="T23" fmla="*/ 26 w 26"/>
              <a:gd name="T24" fmla="*/ 51 h 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6" h="51">
                <a:moveTo>
                  <a:pt x="0" y="0"/>
                </a:moveTo>
                <a:lnTo>
                  <a:pt x="0" y="0"/>
                </a:lnTo>
                <a:lnTo>
                  <a:pt x="5" y="50"/>
                </a:lnTo>
                <a:lnTo>
                  <a:pt x="25" y="41"/>
                </a:lnTo>
                <a:lnTo>
                  <a:pt x="15" y="12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46" name="Group 29">
            <a:extLst>
              <a:ext uri="{FF2B5EF4-FFF2-40B4-BE49-F238E27FC236}">
                <a16:creationId xmlns:a16="http://schemas.microsoft.com/office/drawing/2014/main" id="{23906095-DBD1-0C8F-578A-9081EA447830}"/>
              </a:ext>
            </a:extLst>
          </p:cNvPr>
          <p:cNvGrpSpPr>
            <a:grpSpLocks/>
          </p:cNvGrpSpPr>
          <p:nvPr/>
        </p:nvGrpSpPr>
        <p:grpSpPr bwMode="auto">
          <a:xfrm>
            <a:off x="5204634" y="4473864"/>
            <a:ext cx="957768" cy="619242"/>
            <a:chOff x="4086" y="2626"/>
            <a:chExt cx="835" cy="555"/>
          </a:xfrm>
          <a:solidFill>
            <a:schemeClr val="accent2"/>
          </a:solidFill>
        </p:grpSpPr>
        <p:sp>
          <p:nvSpPr>
            <p:cNvPr id="319" name="Freeform 30">
              <a:extLst>
                <a:ext uri="{FF2B5EF4-FFF2-40B4-BE49-F238E27FC236}">
                  <a16:creationId xmlns:a16="http://schemas.microsoft.com/office/drawing/2014/main" id="{12304BDE-1C1F-5047-F801-E03D894B2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6" y="2626"/>
              <a:ext cx="835" cy="526"/>
            </a:xfrm>
            <a:custGeom>
              <a:avLst/>
              <a:gdLst>
                <a:gd name="T0" fmla="*/ 0 w 835"/>
                <a:gd name="T1" fmla="*/ 250 h 526"/>
                <a:gd name="T2" fmla="*/ 35 w 835"/>
                <a:gd name="T3" fmla="*/ 226 h 526"/>
                <a:gd name="T4" fmla="*/ 95 w 835"/>
                <a:gd name="T5" fmla="*/ 177 h 526"/>
                <a:gd name="T6" fmla="*/ 118 w 835"/>
                <a:gd name="T7" fmla="*/ 145 h 526"/>
                <a:gd name="T8" fmla="*/ 162 w 835"/>
                <a:gd name="T9" fmla="*/ 114 h 526"/>
                <a:gd name="T10" fmla="*/ 192 w 835"/>
                <a:gd name="T11" fmla="*/ 81 h 526"/>
                <a:gd name="T12" fmla="*/ 225 w 835"/>
                <a:gd name="T13" fmla="*/ 106 h 526"/>
                <a:gd name="T14" fmla="*/ 293 w 835"/>
                <a:gd name="T15" fmla="*/ 160 h 526"/>
                <a:gd name="T16" fmla="*/ 368 w 835"/>
                <a:gd name="T17" fmla="*/ 185 h 526"/>
                <a:gd name="T18" fmla="*/ 499 w 835"/>
                <a:gd name="T19" fmla="*/ 187 h 526"/>
                <a:gd name="T20" fmla="*/ 522 w 835"/>
                <a:gd name="T21" fmla="*/ 151 h 526"/>
                <a:gd name="T22" fmla="*/ 588 w 835"/>
                <a:gd name="T23" fmla="*/ 123 h 526"/>
                <a:gd name="T24" fmla="*/ 607 w 835"/>
                <a:gd name="T25" fmla="*/ 98 h 526"/>
                <a:gd name="T26" fmla="*/ 572 w 835"/>
                <a:gd name="T27" fmla="*/ 78 h 526"/>
                <a:gd name="T28" fmla="*/ 602 w 835"/>
                <a:gd name="T29" fmla="*/ 72 h 526"/>
                <a:gd name="T30" fmla="*/ 642 w 835"/>
                <a:gd name="T31" fmla="*/ 28 h 526"/>
                <a:gd name="T32" fmla="*/ 681 w 835"/>
                <a:gd name="T33" fmla="*/ 0 h 526"/>
                <a:gd name="T34" fmla="*/ 734 w 835"/>
                <a:gd name="T35" fmla="*/ 69 h 526"/>
                <a:gd name="T36" fmla="*/ 783 w 835"/>
                <a:gd name="T37" fmla="*/ 104 h 526"/>
                <a:gd name="T38" fmla="*/ 811 w 835"/>
                <a:gd name="T39" fmla="*/ 147 h 526"/>
                <a:gd name="T40" fmla="*/ 785 w 835"/>
                <a:gd name="T41" fmla="*/ 177 h 526"/>
                <a:gd name="T42" fmla="*/ 770 w 835"/>
                <a:gd name="T43" fmla="*/ 185 h 526"/>
                <a:gd name="T44" fmla="*/ 744 w 835"/>
                <a:gd name="T45" fmla="*/ 210 h 526"/>
                <a:gd name="T46" fmla="*/ 691 w 835"/>
                <a:gd name="T47" fmla="*/ 232 h 526"/>
                <a:gd name="T48" fmla="*/ 663 w 835"/>
                <a:gd name="T49" fmla="*/ 226 h 526"/>
                <a:gd name="T50" fmla="*/ 602 w 835"/>
                <a:gd name="T51" fmla="*/ 247 h 526"/>
                <a:gd name="T52" fmla="*/ 618 w 835"/>
                <a:gd name="T53" fmla="*/ 276 h 526"/>
                <a:gd name="T54" fmla="*/ 668 w 835"/>
                <a:gd name="T55" fmla="*/ 274 h 526"/>
                <a:gd name="T56" fmla="*/ 622 w 835"/>
                <a:gd name="T57" fmla="*/ 312 h 526"/>
                <a:gd name="T58" fmla="*/ 633 w 835"/>
                <a:gd name="T59" fmla="*/ 355 h 526"/>
                <a:gd name="T60" fmla="*/ 634 w 835"/>
                <a:gd name="T61" fmla="*/ 382 h 526"/>
                <a:gd name="T62" fmla="*/ 613 w 835"/>
                <a:gd name="T63" fmla="*/ 463 h 526"/>
                <a:gd name="T64" fmla="*/ 552 w 835"/>
                <a:gd name="T65" fmla="*/ 493 h 526"/>
                <a:gd name="T66" fmla="*/ 543 w 835"/>
                <a:gd name="T67" fmla="*/ 489 h 526"/>
                <a:gd name="T68" fmla="*/ 499 w 835"/>
                <a:gd name="T69" fmla="*/ 510 h 526"/>
                <a:gd name="T70" fmla="*/ 490 w 835"/>
                <a:gd name="T71" fmla="*/ 506 h 526"/>
                <a:gd name="T72" fmla="*/ 429 w 835"/>
                <a:gd name="T73" fmla="*/ 484 h 526"/>
                <a:gd name="T74" fmla="*/ 380 w 835"/>
                <a:gd name="T75" fmla="*/ 494 h 526"/>
                <a:gd name="T76" fmla="*/ 375 w 835"/>
                <a:gd name="T77" fmla="*/ 506 h 526"/>
                <a:gd name="T78" fmla="*/ 342 w 835"/>
                <a:gd name="T79" fmla="*/ 471 h 526"/>
                <a:gd name="T80" fmla="*/ 341 w 835"/>
                <a:gd name="T81" fmla="*/ 434 h 526"/>
                <a:gd name="T82" fmla="*/ 323 w 835"/>
                <a:gd name="T83" fmla="*/ 412 h 526"/>
                <a:gd name="T84" fmla="*/ 305 w 835"/>
                <a:gd name="T85" fmla="*/ 392 h 526"/>
                <a:gd name="T86" fmla="*/ 220 w 835"/>
                <a:gd name="T87" fmla="*/ 410 h 526"/>
                <a:gd name="T88" fmla="*/ 205 w 835"/>
                <a:gd name="T89" fmla="*/ 414 h 526"/>
                <a:gd name="T90" fmla="*/ 166 w 835"/>
                <a:gd name="T91" fmla="*/ 416 h 526"/>
                <a:gd name="T92" fmla="*/ 100 w 835"/>
                <a:gd name="T93" fmla="*/ 381 h 526"/>
                <a:gd name="T94" fmla="*/ 65 w 835"/>
                <a:gd name="T95" fmla="*/ 347 h 526"/>
                <a:gd name="T96" fmla="*/ 71 w 835"/>
                <a:gd name="T97" fmla="*/ 325 h 526"/>
                <a:gd name="T98" fmla="*/ 75 w 835"/>
                <a:gd name="T99" fmla="*/ 295 h 526"/>
                <a:gd name="T100" fmla="*/ 13 w 835"/>
                <a:gd name="T101" fmla="*/ 278 h 526"/>
                <a:gd name="T102" fmla="*/ 14 w 835"/>
                <a:gd name="T103" fmla="*/ 256 h 526"/>
                <a:gd name="T104" fmla="*/ 0 w 835"/>
                <a:gd name="T105" fmla="*/ 250 h 52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35"/>
                <a:gd name="T160" fmla="*/ 0 h 526"/>
                <a:gd name="T161" fmla="*/ 835 w 835"/>
                <a:gd name="T162" fmla="*/ 526 h 52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35" h="526">
                  <a:moveTo>
                    <a:pt x="0" y="250"/>
                  </a:moveTo>
                  <a:lnTo>
                    <a:pt x="0" y="250"/>
                  </a:lnTo>
                  <a:lnTo>
                    <a:pt x="5" y="230"/>
                  </a:lnTo>
                  <a:lnTo>
                    <a:pt x="35" y="226"/>
                  </a:lnTo>
                  <a:lnTo>
                    <a:pt x="88" y="198"/>
                  </a:lnTo>
                  <a:lnTo>
                    <a:pt x="95" y="177"/>
                  </a:lnTo>
                  <a:lnTo>
                    <a:pt x="85" y="152"/>
                  </a:lnTo>
                  <a:lnTo>
                    <a:pt x="118" y="145"/>
                  </a:lnTo>
                  <a:lnTo>
                    <a:pt x="127" y="112"/>
                  </a:lnTo>
                  <a:lnTo>
                    <a:pt x="162" y="114"/>
                  </a:lnTo>
                  <a:lnTo>
                    <a:pt x="166" y="92"/>
                  </a:lnTo>
                  <a:lnTo>
                    <a:pt x="192" y="81"/>
                  </a:lnTo>
                  <a:lnTo>
                    <a:pt x="206" y="100"/>
                  </a:lnTo>
                  <a:lnTo>
                    <a:pt x="225" y="106"/>
                  </a:lnTo>
                  <a:lnTo>
                    <a:pt x="233" y="145"/>
                  </a:lnTo>
                  <a:lnTo>
                    <a:pt x="293" y="160"/>
                  </a:lnTo>
                  <a:lnTo>
                    <a:pt x="319" y="187"/>
                  </a:lnTo>
                  <a:lnTo>
                    <a:pt x="368" y="185"/>
                  </a:lnTo>
                  <a:lnTo>
                    <a:pt x="424" y="206"/>
                  </a:lnTo>
                  <a:lnTo>
                    <a:pt x="499" y="187"/>
                  </a:lnTo>
                  <a:lnTo>
                    <a:pt x="522" y="172"/>
                  </a:lnTo>
                  <a:lnTo>
                    <a:pt x="522" y="151"/>
                  </a:lnTo>
                  <a:lnTo>
                    <a:pt x="543" y="153"/>
                  </a:lnTo>
                  <a:lnTo>
                    <a:pt x="588" y="123"/>
                  </a:lnTo>
                  <a:lnTo>
                    <a:pt x="625" y="121"/>
                  </a:lnTo>
                  <a:lnTo>
                    <a:pt x="607" y="98"/>
                  </a:lnTo>
                  <a:lnTo>
                    <a:pt x="572" y="104"/>
                  </a:lnTo>
                  <a:lnTo>
                    <a:pt x="572" y="78"/>
                  </a:lnTo>
                  <a:lnTo>
                    <a:pt x="581" y="64"/>
                  </a:lnTo>
                  <a:lnTo>
                    <a:pt x="602" y="72"/>
                  </a:lnTo>
                  <a:lnTo>
                    <a:pt x="621" y="63"/>
                  </a:lnTo>
                  <a:lnTo>
                    <a:pt x="642" y="28"/>
                  </a:lnTo>
                  <a:lnTo>
                    <a:pt x="632" y="16"/>
                  </a:lnTo>
                  <a:lnTo>
                    <a:pt x="681" y="0"/>
                  </a:lnTo>
                  <a:lnTo>
                    <a:pt x="709" y="11"/>
                  </a:lnTo>
                  <a:lnTo>
                    <a:pt x="734" y="69"/>
                  </a:lnTo>
                  <a:lnTo>
                    <a:pt x="776" y="82"/>
                  </a:lnTo>
                  <a:lnTo>
                    <a:pt x="783" y="104"/>
                  </a:lnTo>
                  <a:lnTo>
                    <a:pt x="834" y="90"/>
                  </a:lnTo>
                  <a:lnTo>
                    <a:pt x="811" y="147"/>
                  </a:lnTo>
                  <a:lnTo>
                    <a:pt x="781" y="155"/>
                  </a:lnTo>
                  <a:lnTo>
                    <a:pt x="785" y="177"/>
                  </a:lnTo>
                  <a:lnTo>
                    <a:pt x="776" y="190"/>
                  </a:lnTo>
                  <a:lnTo>
                    <a:pt x="770" y="185"/>
                  </a:lnTo>
                  <a:lnTo>
                    <a:pt x="744" y="201"/>
                  </a:lnTo>
                  <a:lnTo>
                    <a:pt x="744" y="210"/>
                  </a:lnTo>
                  <a:lnTo>
                    <a:pt x="726" y="207"/>
                  </a:lnTo>
                  <a:lnTo>
                    <a:pt x="691" y="232"/>
                  </a:lnTo>
                  <a:lnTo>
                    <a:pt x="651" y="253"/>
                  </a:lnTo>
                  <a:lnTo>
                    <a:pt x="663" y="226"/>
                  </a:lnTo>
                  <a:lnTo>
                    <a:pt x="657" y="216"/>
                  </a:lnTo>
                  <a:lnTo>
                    <a:pt x="602" y="247"/>
                  </a:lnTo>
                  <a:lnTo>
                    <a:pt x="600" y="255"/>
                  </a:lnTo>
                  <a:lnTo>
                    <a:pt x="618" y="276"/>
                  </a:lnTo>
                  <a:lnTo>
                    <a:pt x="643" y="267"/>
                  </a:lnTo>
                  <a:lnTo>
                    <a:pt x="668" y="274"/>
                  </a:lnTo>
                  <a:lnTo>
                    <a:pt x="634" y="290"/>
                  </a:lnTo>
                  <a:lnTo>
                    <a:pt x="622" y="312"/>
                  </a:lnTo>
                  <a:lnTo>
                    <a:pt x="658" y="360"/>
                  </a:lnTo>
                  <a:lnTo>
                    <a:pt x="633" y="355"/>
                  </a:lnTo>
                  <a:lnTo>
                    <a:pt x="658" y="371"/>
                  </a:lnTo>
                  <a:lnTo>
                    <a:pt x="634" y="382"/>
                  </a:lnTo>
                  <a:lnTo>
                    <a:pt x="659" y="386"/>
                  </a:lnTo>
                  <a:lnTo>
                    <a:pt x="613" y="463"/>
                  </a:lnTo>
                  <a:lnTo>
                    <a:pt x="582" y="485"/>
                  </a:lnTo>
                  <a:lnTo>
                    <a:pt x="552" y="493"/>
                  </a:lnTo>
                  <a:lnTo>
                    <a:pt x="550" y="493"/>
                  </a:lnTo>
                  <a:lnTo>
                    <a:pt x="543" y="489"/>
                  </a:lnTo>
                  <a:lnTo>
                    <a:pt x="535" y="502"/>
                  </a:lnTo>
                  <a:lnTo>
                    <a:pt x="499" y="510"/>
                  </a:lnTo>
                  <a:lnTo>
                    <a:pt x="496" y="525"/>
                  </a:lnTo>
                  <a:lnTo>
                    <a:pt x="490" y="506"/>
                  </a:lnTo>
                  <a:lnTo>
                    <a:pt x="466" y="507"/>
                  </a:lnTo>
                  <a:lnTo>
                    <a:pt x="429" y="484"/>
                  </a:lnTo>
                  <a:lnTo>
                    <a:pt x="389" y="494"/>
                  </a:lnTo>
                  <a:lnTo>
                    <a:pt x="380" y="494"/>
                  </a:lnTo>
                  <a:lnTo>
                    <a:pt x="381" y="510"/>
                  </a:lnTo>
                  <a:lnTo>
                    <a:pt x="375" y="506"/>
                  </a:lnTo>
                  <a:lnTo>
                    <a:pt x="350" y="498"/>
                  </a:lnTo>
                  <a:lnTo>
                    <a:pt x="342" y="471"/>
                  </a:lnTo>
                  <a:lnTo>
                    <a:pt x="326" y="474"/>
                  </a:lnTo>
                  <a:lnTo>
                    <a:pt x="341" y="434"/>
                  </a:lnTo>
                  <a:lnTo>
                    <a:pt x="340" y="421"/>
                  </a:lnTo>
                  <a:lnTo>
                    <a:pt x="323" y="412"/>
                  </a:lnTo>
                  <a:lnTo>
                    <a:pt x="309" y="407"/>
                  </a:lnTo>
                  <a:lnTo>
                    <a:pt x="305" y="392"/>
                  </a:lnTo>
                  <a:lnTo>
                    <a:pt x="246" y="417"/>
                  </a:lnTo>
                  <a:lnTo>
                    <a:pt x="220" y="410"/>
                  </a:lnTo>
                  <a:lnTo>
                    <a:pt x="207" y="424"/>
                  </a:lnTo>
                  <a:lnTo>
                    <a:pt x="205" y="414"/>
                  </a:lnTo>
                  <a:lnTo>
                    <a:pt x="196" y="416"/>
                  </a:lnTo>
                  <a:lnTo>
                    <a:pt x="166" y="416"/>
                  </a:lnTo>
                  <a:lnTo>
                    <a:pt x="143" y="395"/>
                  </a:lnTo>
                  <a:lnTo>
                    <a:pt x="100" y="381"/>
                  </a:lnTo>
                  <a:lnTo>
                    <a:pt x="72" y="371"/>
                  </a:lnTo>
                  <a:lnTo>
                    <a:pt x="65" y="347"/>
                  </a:lnTo>
                  <a:lnTo>
                    <a:pt x="80" y="344"/>
                  </a:lnTo>
                  <a:lnTo>
                    <a:pt x="71" y="325"/>
                  </a:lnTo>
                  <a:lnTo>
                    <a:pt x="90" y="302"/>
                  </a:lnTo>
                  <a:lnTo>
                    <a:pt x="75" y="295"/>
                  </a:lnTo>
                  <a:lnTo>
                    <a:pt x="54" y="303"/>
                  </a:lnTo>
                  <a:lnTo>
                    <a:pt x="13" y="278"/>
                  </a:lnTo>
                  <a:lnTo>
                    <a:pt x="14" y="274"/>
                  </a:lnTo>
                  <a:lnTo>
                    <a:pt x="14" y="256"/>
                  </a:lnTo>
                  <a:lnTo>
                    <a:pt x="0" y="25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3" name="Freeform 31">
              <a:extLst>
                <a:ext uri="{FF2B5EF4-FFF2-40B4-BE49-F238E27FC236}">
                  <a16:creationId xmlns:a16="http://schemas.microsoft.com/office/drawing/2014/main" id="{7CA2276E-DF12-4728-DC63-40A3E66A3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" y="3155"/>
              <a:ext cx="31" cy="26"/>
            </a:xfrm>
            <a:custGeom>
              <a:avLst/>
              <a:gdLst>
                <a:gd name="T0" fmla="*/ 0 w 31"/>
                <a:gd name="T1" fmla="*/ 19 h 26"/>
                <a:gd name="T2" fmla="*/ 0 w 31"/>
                <a:gd name="T3" fmla="*/ 19 h 26"/>
                <a:gd name="T4" fmla="*/ 9 w 31"/>
                <a:gd name="T5" fmla="*/ 0 h 26"/>
                <a:gd name="T6" fmla="*/ 30 w 31"/>
                <a:gd name="T7" fmla="*/ 4 h 26"/>
                <a:gd name="T8" fmla="*/ 13 w 31"/>
                <a:gd name="T9" fmla="*/ 25 h 26"/>
                <a:gd name="T10" fmla="*/ 0 w 31"/>
                <a:gd name="T11" fmla="*/ 19 h 26"/>
                <a:gd name="T12" fmla="*/ 0 w 31"/>
                <a:gd name="T13" fmla="*/ 19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1"/>
                <a:gd name="T22" fmla="*/ 0 h 26"/>
                <a:gd name="T23" fmla="*/ 31 w 31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1" h="26">
                  <a:moveTo>
                    <a:pt x="0" y="19"/>
                  </a:moveTo>
                  <a:lnTo>
                    <a:pt x="0" y="19"/>
                  </a:lnTo>
                  <a:lnTo>
                    <a:pt x="9" y="0"/>
                  </a:lnTo>
                  <a:lnTo>
                    <a:pt x="30" y="4"/>
                  </a:lnTo>
                  <a:lnTo>
                    <a:pt x="13" y="25"/>
                  </a:lnTo>
                  <a:lnTo>
                    <a:pt x="0" y="19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24" name="Freeform 621">
            <a:extLst>
              <a:ext uri="{FF2B5EF4-FFF2-40B4-BE49-F238E27FC236}">
                <a16:creationId xmlns:a16="http://schemas.microsoft.com/office/drawing/2014/main" id="{74B2BA83-4FE7-4CB2-54AD-9C65087E2F85}"/>
              </a:ext>
            </a:extLst>
          </p:cNvPr>
          <p:cNvSpPr>
            <a:spLocks/>
          </p:cNvSpPr>
          <p:nvPr/>
        </p:nvSpPr>
        <p:spPr bwMode="auto">
          <a:xfrm>
            <a:off x="5930260" y="4984939"/>
            <a:ext cx="30660" cy="50027"/>
          </a:xfrm>
          <a:custGeom>
            <a:avLst/>
            <a:gdLst>
              <a:gd name="T0" fmla="*/ 0 w 25"/>
              <a:gd name="T1" fmla="*/ 29348570 h 46"/>
              <a:gd name="T2" fmla="*/ 0 w 25"/>
              <a:gd name="T3" fmla="*/ 29348570 h 46"/>
              <a:gd name="T4" fmla="*/ 16003094 w 25"/>
              <a:gd name="T5" fmla="*/ 73372696 h 46"/>
              <a:gd name="T6" fmla="*/ 42676691 w 25"/>
              <a:gd name="T7" fmla="*/ 0 h 46"/>
              <a:gd name="T8" fmla="*/ 19559484 w 25"/>
              <a:gd name="T9" fmla="*/ 1630618 h 46"/>
              <a:gd name="T10" fmla="*/ 0 w 25"/>
              <a:gd name="T11" fmla="*/ 29348570 h 46"/>
              <a:gd name="T12" fmla="*/ 0 w 25"/>
              <a:gd name="T13" fmla="*/ 29348570 h 4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5"/>
              <a:gd name="T22" fmla="*/ 0 h 46"/>
              <a:gd name="T23" fmla="*/ 25 w 25"/>
              <a:gd name="T24" fmla="*/ 46 h 4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5" h="46">
                <a:moveTo>
                  <a:pt x="0" y="18"/>
                </a:moveTo>
                <a:lnTo>
                  <a:pt x="0" y="18"/>
                </a:lnTo>
                <a:lnTo>
                  <a:pt x="9" y="45"/>
                </a:lnTo>
                <a:lnTo>
                  <a:pt x="24" y="0"/>
                </a:lnTo>
                <a:lnTo>
                  <a:pt x="11" y="1"/>
                </a:lnTo>
                <a:lnTo>
                  <a:pt x="0" y="1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5" name="Freeform 622">
            <a:extLst>
              <a:ext uri="{FF2B5EF4-FFF2-40B4-BE49-F238E27FC236}">
                <a16:creationId xmlns:a16="http://schemas.microsoft.com/office/drawing/2014/main" id="{EEFAD170-A471-0C7D-1DFA-56DCD3307AF1}"/>
              </a:ext>
            </a:extLst>
          </p:cNvPr>
          <p:cNvSpPr>
            <a:spLocks/>
          </p:cNvSpPr>
          <p:nvPr/>
        </p:nvSpPr>
        <p:spPr bwMode="auto">
          <a:xfrm>
            <a:off x="5117032" y="4802412"/>
            <a:ext cx="458443" cy="444826"/>
          </a:xfrm>
          <a:custGeom>
            <a:avLst/>
            <a:gdLst>
              <a:gd name="T0" fmla="*/ 0 w 401"/>
              <a:gd name="T1" fmla="*/ 310135055 h 399"/>
              <a:gd name="T2" fmla="*/ 64899953 w 401"/>
              <a:gd name="T3" fmla="*/ 294713849 h 399"/>
              <a:gd name="T4" fmla="*/ 50993623 w 401"/>
              <a:gd name="T5" fmla="*/ 203901388 h 399"/>
              <a:gd name="T6" fmla="*/ 140617183 w 401"/>
              <a:gd name="T7" fmla="*/ 128508783 h 399"/>
              <a:gd name="T8" fmla="*/ 152979608 w 401"/>
              <a:gd name="T9" fmla="*/ 94239436 h 399"/>
              <a:gd name="T10" fmla="*/ 125164463 w 401"/>
              <a:gd name="T11" fmla="*/ 32555890 h 399"/>
              <a:gd name="T12" fmla="*/ 202426860 w 401"/>
              <a:gd name="T13" fmla="*/ 13707744 h 399"/>
              <a:gd name="T14" fmla="*/ 258055907 w 401"/>
              <a:gd name="T15" fmla="*/ 11994277 h 399"/>
              <a:gd name="T16" fmla="*/ 242604430 w 401"/>
              <a:gd name="T17" fmla="*/ 83959921 h 399"/>
              <a:gd name="T18" fmla="*/ 230242005 w 401"/>
              <a:gd name="T19" fmla="*/ 130222251 h 399"/>
              <a:gd name="T20" fmla="*/ 251875316 w 401"/>
              <a:gd name="T21" fmla="*/ 185053247 h 399"/>
              <a:gd name="T22" fmla="*/ 418762536 w 401"/>
              <a:gd name="T23" fmla="*/ 243311137 h 399"/>
              <a:gd name="T24" fmla="*/ 435760404 w 401"/>
              <a:gd name="T25" fmla="*/ 203901388 h 399"/>
              <a:gd name="T26" fmla="*/ 446576438 w 401"/>
              <a:gd name="T27" fmla="*/ 236457268 h 399"/>
              <a:gd name="T28" fmla="*/ 499115190 w 401"/>
              <a:gd name="T29" fmla="*/ 209041790 h 399"/>
              <a:gd name="T30" fmla="*/ 596465711 w 401"/>
              <a:gd name="T31" fmla="*/ 191907116 h 399"/>
              <a:gd name="T32" fmla="*/ 610373284 w 401"/>
              <a:gd name="T33" fmla="*/ 226176463 h 399"/>
              <a:gd name="T34" fmla="*/ 517658205 w 401"/>
              <a:gd name="T35" fmla="*/ 354685288 h 399"/>
              <a:gd name="T36" fmla="*/ 496024894 w 401"/>
              <a:gd name="T37" fmla="*/ 325556261 h 399"/>
              <a:gd name="T38" fmla="*/ 508386076 w 401"/>
              <a:gd name="T39" fmla="*/ 275865708 h 399"/>
              <a:gd name="T40" fmla="*/ 429578570 w 401"/>
              <a:gd name="T41" fmla="*/ 239884202 h 399"/>
              <a:gd name="T42" fmla="*/ 431123717 w 401"/>
              <a:gd name="T43" fmla="*/ 272438773 h 399"/>
              <a:gd name="T44" fmla="*/ 431123717 w 401"/>
              <a:gd name="T45" fmla="*/ 296427316 h 399"/>
              <a:gd name="T46" fmla="*/ 420307683 w 401"/>
              <a:gd name="T47" fmla="*/ 351258353 h 399"/>
              <a:gd name="T48" fmla="*/ 256510760 w 401"/>
              <a:gd name="T49" fmla="*/ 505469106 h 399"/>
              <a:gd name="T50" fmla="*/ 194701121 w 401"/>
              <a:gd name="T51" fmla="*/ 681954934 h 399"/>
              <a:gd name="T52" fmla="*/ 128256001 w 401"/>
              <a:gd name="T53" fmla="*/ 507182573 h 399"/>
              <a:gd name="T54" fmla="*/ 97350561 w 401"/>
              <a:gd name="T55" fmla="*/ 346117951 h 399"/>
              <a:gd name="T56" fmla="*/ 78807526 w 401"/>
              <a:gd name="T57" fmla="*/ 371819961 h 399"/>
              <a:gd name="T58" fmla="*/ 18543021 w 401"/>
              <a:gd name="T59" fmla="*/ 344404484 h 399"/>
              <a:gd name="T60" fmla="*/ 18543021 w 401"/>
              <a:gd name="T61" fmla="*/ 330696663 h 399"/>
              <a:gd name="T62" fmla="*/ 0 w 401"/>
              <a:gd name="T63" fmla="*/ 310135055 h 3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01"/>
              <a:gd name="T97" fmla="*/ 0 h 399"/>
              <a:gd name="T98" fmla="*/ 401 w 401"/>
              <a:gd name="T99" fmla="*/ 399 h 39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01" h="399">
                <a:moveTo>
                  <a:pt x="0" y="181"/>
                </a:moveTo>
                <a:lnTo>
                  <a:pt x="0" y="181"/>
                </a:lnTo>
                <a:lnTo>
                  <a:pt x="11" y="172"/>
                </a:lnTo>
                <a:lnTo>
                  <a:pt x="42" y="172"/>
                </a:lnTo>
                <a:lnTo>
                  <a:pt x="20" y="130"/>
                </a:lnTo>
                <a:lnTo>
                  <a:pt x="33" y="119"/>
                </a:lnTo>
                <a:lnTo>
                  <a:pt x="51" y="120"/>
                </a:lnTo>
                <a:lnTo>
                  <a:pt x="91" y="75"/>
                </a:lnTo>
                <a:lnTo>
                  <a:pt x="88" y="62"/>
                </a:lnTo>
                <a:lnTo>
                  <a:pt x="99" y="55"/>
                </a:lnTo>
                <a:lnTo>
                  <a:pt x="81" y="41"/>
                </a:lnTo>
                <a:lnTo>
                  <a:pt x="81" y="19"/>
                </a:lnTo>
                <a:lnTo>
                  <a:pt x="120" y="19"/>
                </a:lnTo>
                <a:lnTo>
                  <a:pt x="131" y="8"/>
                </a:lnTo>
                <a:lnTo>
                  <a:pt x="152" y="0"/>
                </a:lnTo>
                <a:lnTo>
                  <a:pt x="167" y="7"/>
                </a:lnTo>
                <a:lnTo>
                  <a:pt x="148" y="30"/>
                </a:lnTo>
                <a:lnTo>
                  <a:pt x="157" y="49"/>
                </a:lnTo>
                <a:lnTo>
                  <a:pt x="142" y="52"/>
                </a:lnTo>
                <a:lnTo>
                  <a:pt x="149" y="76"/>
                </a:lnTo>
                <a:lnTo>
                  <a:pt x="177" y="86"/>
                </a:lnTo>
                <a:lnTo>
                  <a:pt x="163" y="108"/>
                </a:lnTo>
                <a:lnTo>
                  <a:pt x="200" y="129"/>
                </a:lnTo>
                <a:lnTo>
                  <a:pt x="271" y="142"/>
                </a:lnTo>
                <a:lnTo>
                  <a:pt x="273" y="121"/>
                </a:lnTo>
                <a:lnTo>
                  <a:pt x="282" y="119"/>
                </a:lnTo>
                <a:lnTo>
                  <a:pt x="284" y="129"/>
                </a:lnTo>
                <a:lnTo>
                  <a:pt x="289" y="138"/>
                </a:lnTo>
                <a:lnTo>
                  <a:pt x="325" y="134"/>
                </a:lnTo>
                <a:lnTo>
                  <a:pt x="323" y="122"/>
                </a:lnTo>
                <a:lnTo>
                  <a:pt x="382" y="97"/>
                </a:lnTo>
                <a:lnTo>
                  <a:pt x="386" y="112"/>
                </a:lnTo>
                <a:lnTo>
                  <a:pt x="400" y="117"/>
                </a:lnTo>
                <a:lnTo>
                  <a:pt x="395" y="132"/>
                </a:lnTo>
                <a:lnTo>
                  <a:pt x="370" y="141"/>
                </a:lnTo>
                <a:lnTo>
                  <a:pt x="335" y="207"/>
                </a:lnTo>
                <a:lnTo>
                  <a:pt x="328" y="180"/>
                </a:lnTo>
                <a:lnTo>
                  <a:pt x="321" y="190"/>
                </a:lnTo>
                <a:lnTo>
                  <a:pt x="313" y="178"/>
                </a:lnTo>
                <a:lnTo>
                  <a:pt x="329" y="161"/>
                </a:lnTo>
                <a:lnTo>
                  <a:pt x="298" y="159"/>
                </a:lnTo>
                <a:lnTo>
                  <a:pt x="278" y="140"/>
                </a:lnTo>
                <a:lnTo>
                  <a:pt x="272" y="151"/>
                </a:lnTo>
                <a:lnTo>
                  <a:pt x="279" y="159"/>
                </a:lnTo>
                <a:lnTo>
                  <a:pt x="270" y="165"/>
                </a:lnTo>
                <a:lnTo>
                  <a:pt x="279" y="173"/>
                </a:lnTo>
                <a:lnTo>
                  <a:pt x="284" y="211"/>
                </a:lnTo>
                <a:lnTo>
                  <a:pt x="272" y="205"/>
                </a:lnTo>
                <a:lnTo>
                  <a:pt x="249" y="234"/>
                </a:lnTo>
                <a:lnTo>
                  <a:pt x="166" y="295"/>
                </a:lnTo>
                <a:lnTo>
                  <a:pt x="160" y="369"/>
                </a:lnTo>
                <a:lnTo>
                  <a:pt x="126" y="398"/>
                </a:lnTo>
                <a:lnTo>
                  <a:pt x="95" y="341"/>
                </a:lnTo>
                <a:lnTo>
                  <a:pt x="83" y="296"/>
                </a:lnTo>
                <a:lnTo>
                  <a:pt x="72" y="285"/>
                </a:lnTo>
                <a:lnTo>
                  <a:pt x="63" y="202"/>
                </a:lnTo>
                <a:lnTo>
                  <a:pt x="56" y="199"/>
                </a:lnTo>
                <a:lnTo>
                  <a:pt x="51" y="217"/>
                </a:lnTo>
                <a:lnTo>
                  <a:pt x="32" y="223"/>
                </a:lnTo>
                <a:lnTo>
                  <a:pt x="12" y="201"/>
                </a:lnTo>
                <a:lnTo>
                  <a:pt x="31" y="189"/>
                </a:lnTo>
                <a:lnTo>
                  <a:pt x="12" y="193"/>
                </a:lnTo>
                <a:lnTo>
                  <a:pt x="0" y="181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6" name="Freeform 623">
            <a:extLst>
              <a:ext uri="{FF2B5EF4-FFF2-40B4-BE49-F238E27FC236}">
                <a16:creationId xmlns:a16="http://schemas.microsoft.com/office/drawing/2014/main" id="{95EE2FCF-A428-8F5C-6528-E191F4E7B89F}"/>
              </a:ext>
            </a:extLst>
          </p:cNvPr>
          <p:cNvSpPr>
            <a:spLocks/>
          </p:cNvSpPr>
          <p:nvPr/>
        </p:nvSpPr>
        <p:spPr bwMode="auto">
          <a:xfrm>
            <a:off x="4741810" y="4733457"/>
            <a:ext cx="300763" cy="251482"/>
          </a:xfrm>
          <a:custGeom>
            <a:avLst/>
            <a:gdLst>
              <a:gd name="T0" fmla="*/ 0 w 262"/>
              <a:gd name="T1" fmla="*/ 12162959 h 224"/>
              <a:gd name="T2" fmla="*/ 0 w 262"/>
              <a:gd name="T3" fmla="*/ 12162959 h 224"/>
              <a:gd name="T4" fmla="*/ 10905410 w 262"/>
              <a:gd name="T5" fmla="*/ 0 h 224"/>
              <a:gd name="T6" fmla="*/ 42065151 w 262"/>
              <a:gd name="T7" fmla="*/ 29539366 h 224"/>
              <a:gd name="T8" fmla="*/ 81014809 w 262"/>
              <a:gd name="T9" fmla="*/ 5213449 h 224"/>
              <a:gd name="T10" fmla="*/ 84130302 w 262"/>
              <a:gd name="T11" fmla="*/ 27801989 h 224"/>
              <a:gd name="T12" fmla="*/ 102825638 w 262"/>
              <a:gd name="T13" fmla="*/ 36490190 h 224"/>
              <a:gd name="T14" fmla="*/ 105942360 w 262"/>
              <a:gd name="T15" fmla="*/ 60817427 h 224"/>
              <a:gd name="T16" fmla="*/ 162028369 w 262"/>
              <a:gd name="T17" fmla="*/ 88619426 h 224"/>
              <a:gd name="T18" fmla="*/ 213442456 w 262"/>
              <a:gd name="T19" fmla="*/ 79931205 h 224"/>
              <a:gd name="T20" fmla="*/ 208767998 w 262"/>
              <a:gd name="T21" fmla="*/ 66029556 h 224"/>
              <a:gd name="T22" fmla="*/ 275760660 w 262"/>
              <a:gd name="T23" fmla="*/ 41703638 h 224"/>
              <a:gd name="T24" fmla="*/ 363007722 w 262"/>
              <a:gd name="T25" fmla="*/ 85143335 h 224"/>
              <a:gd name="T26" fmla="*/ 364565459 w 262"/>
              <a:gd name="T27" fmla="*/ 109470581 h 224"/>
              <a:gd name="T28" fmla="*/ 350543333 w 262"/>
              <a:gd name="T29" fmla="*/ 152911586 h 224"/>
              <a:gd name="T30" fmla="*/ 353658806 w 262"/>
              <a:gd name="T31" fmla="*/ 215466409 h 224"/>
              <a:gd name="T32" fmla="*/ 375470864 w 262"/>
              <a:gd name="T33" fmla="*/ 234580188 h 224"/>
              <a:gd name="T34" fmla="*/ 356775527 w 262"/>
              <a:gd name="T35" fmla="*/ 265856920 h 224"/>
              <a:gd name="T36" fmla="*/ 406630590 w 262"/>
              <a:gd name="T37" fmla="*/ 337099903 h 224"/>
              <a:gd name="T38" fmla="*/ 373913127 w 262"/>
              <a:gd name="T39" fmla="*/ 387491814 h 224"/>
              <a:gd name="T40" fmla="*/ 283550592 w 262"/>
              <a:gd name="T41" fmla="*/ 370115413 h 224"/>
              <a:gd name="T42" fmla="*/ 263297519 w 262"/>
              <a:gd name="T43" fmla="*/ 338837280 h 224"/>
              <a:gd name="T44" fmla="*/ 200978066 w 262"/>
              <a:gd name="T45" fmla="*/ 349264258 h 224"/>
              <a:gd name="T46" fmla="*/ 155797422 w 262"/>
              <a:gd name="T47" fmla="*/ 317986125 h 224"/>
              <a:gd name="T48" fmla="*/ 124637696 w 262"/>
              <a:gd name="T49" fmla="*/ 258907414 h 224"/>
              <a:gd name="T50" fmla="*/ 101267901 w 262"/>
              <a:gd name="T51" fmla="*/ 248480518 h 224"/>
              <a:gd name="T52" fmla="*/ 95035706 w 262"/>
              <a:gd name="T53" fmla="*/ 262382167 h 224"/>
              <a:gd name="T54" fmla="*/ 66992682 w 262"/>
              <a:gd name="T55" fmla="*/ 201564761 h 224"/>
              <a:gd name="T56" fmla="*/ 28043015 w 262"/>
              <a:gd name="T57" fmla="*/ 165074540 h 224"/>
              <a:gd name="T58" fmla="*/ 46739609 w 262"/>
              <a:gd name="T59" fmla="*/ 109470581 h 224"/>
              <a:gd name="T60" fmla="*/ 29601999 w 262"/>
              <a:gd name="T61" fmla="*/ 102519757 h 224"/>
              <a:gd name="T62" fmla="*/ 14022131 w 262"/>
              <a:gd name="T63" fmla="*/ 71243004 h 224"/>
              <a:gd name="T64" fmla="*/ 0 w 262"/>
              <a:gd name="T65" fmla="*/ 12162959 h 224"/>
              <a:gd name="T66" fmla="*/ 0 w 262"/>
              <a:gd name="T67" fmla="*/ 12162959 h 22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62"/>
              <a:gd name="T103" fmla="*/ 0 h 224"/>
              <a:gd name="T104" fmla="*/ 262 w 262"/>
              <a:gd name="T105" fmla="*/ 224 h 224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62" h="224">
                <a:moveTo>
                  <a:pt x="0" y="7"/>
                </a:moveTo>
                <a:lnTo>
                  <a:pt x="0" y="7"/>
                </a:lnTo>
                <a:lnTo>
                  <a:pt x="7" y="0"/>
                </a:lnTo>
                <a:lnTo>
                  <a:pt x="27" y="17"/>
                </a:lnTo>
                <a:lnTo>
                  <a:pt x="52" y="3"/>
                </a:lnTo>
                <a:lnTo>
                  <a:pt x="54" y="16"/>
                </a:lnTo>
                <a:lnTo>
                  <a:pt x="66" y="21"/>
                </a:lnTo>
                <a:lnTo>
                  <a:pt x="68" y="35"/>
                </a:lnTo>
                <a:lnTo>
                  <a:pt x="104" y="51"/>
                </a:lnTo>
                <a:lnTo>
                  <a:pt x="137" y="46"/>
                </a:lnTo>
                <a:lnTo>
                  <a:pt x="134" y="38"/>
                </a:lnTo>
                <a:lnTo>
                  <a:pt x="177" y="24"/>
                </a:lnTo>
                <a:lnTo>
                  <a:pt x="233" y="49"/>
                </a:lnTo>
                <a:lnTo>
                  <a:pt x="234" y="63"/>
                </a:lnTo>
                <a:lnTo>
                  <a:pt x="225" y="88"/>
                </a:lnTo>
                <a:lnTo>
                  <a:pt x="227" y="124"/>
                </a:lnTo>
                <a:lnTo>
                  <a:pt x="241" y="135"/>
                </a:lnTo>
                <a:lnTo>
                  <a:pt x="229" y="153"/>
                </a:lnTo>
                <a:lnTo>
                  <a:pt x="261" y="194"/>
                </a:lnTo>
                <a:lnTo>
                  <a:pt x="240" y="223"/>
                </a:lnTo>
                <a:lnTo>
                  <a:pt x="182" y="213"/>
                </a:lnTo>
                <a:lnTo>
                  <a:pt x="169" y="195"/>
                </a:lnTo>
                <a:lnTo>
                  <a:pt x="129" y="201"/>
                </a:lnTo>
                <a:lnTo>
                  <a:pt x="100" y="183"/>
                </a:lnTo>
                <a:lnTo>
                  <a:pt x="80" y="149"/>
                </a:lnTo>
                <a:lnTo>
                  <a:pt x="65" y="143"/>
                </a:lnTo>
                <a:lnTo>
                  <a:pt x="61" y="151"/>
                </a:lnTo>
                <a:lnTo>
                  <a:pt x="43" y="116"/>
                </a:lnTo>
                <a:lnTo>
                  <a:pt x="18" y="95"/>
                </a:lnTo>
                <a:lnTo>
                  <a:pt x="30" y="63"/>
                </a:lnTo>
                <a:lnTo>
                  <a:pt x="19" y="59"/>
                </a:lnTo>
                <a:lnTo>
                  <a:pt x="9" y="41"/>
                </a:lnTo>
                <a:lnTo>
                  <a:pt x="0" y="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327" name="Group 35">
            <a:extLst>
              <a:ext uri="{FF2B5EF4-FFF2-40B4-BE49-F238E27FC236}">
                <a16:creationId xmlns:a16="http://schemas.microsoft.com/office/drawing/2014/main" id="{640A791E-361B-F7F4-1FC2-A21FFD5F8C52}"/>
              </a:ext>
            </a:extLst>
          </p:cNvPr>
          <p:cNvGrpSpPr>
            <a:grpSpLocks/>
          </p:cNvGrpSpPr>
          <p:nvPr/>
        </p:nvGrpSpPr>
        <p:grpSpPr bwMode="auto">
          <a:xfrm>
            <a:off x="6080641" y="4633371"/>
            <a:ext cx="254042" cy="248776"/>
            <a:chOff x="4850" y="2769"/>
            <a:chExt cx="221" cy="223"/>
          </a:xfrm>
          <a:solidFill>
            <a:schemeClr val="accent2"/>
          </a:solidFill>
        </p:grpSpPr>
        <p:sp>
          <p:nvSpPr>
            <p:cNvPr id="328" name="Freeform 625">
              <a:extLst>
                <a:ext uri="{FF2B5EF4-FFF2-40B4-BE49-F238E27FC236}">
                  <a16:creationId xmlns:a16="http://schemas.microsoft.com/office/drawing/2014/main" id="{6CD50AAB-3522-B742-9EB9-C1947F86C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0" y="2954"/>
              <a:ext cx="33" cy="38"/>
            </a:xfrm>
            <a:custGeom>
              <a:avLst/>
              <a:gdLst>
                <a:gd name="T0" fmla="*/ 0 w 33"/>
                <a:gd name="T1" fmla="*/ 10 h 38"/>
                <a:gd name="T2" fmla="*/ 0 w 33"/>
                <a:gd name="T3" fmla="*/ 10 h 38"/>
                <a:gd name="T4" fmla="*/ 1 w 33"/>
                <a:gd name="T5" fmla="*/ 19 h 38"/>
                <a:gd name="T6" fmla="*/ 8 w 33"/>
                <a:gd name="T7" fmla="*/ 10 h 38"/>
                <a:gd name="T8" fmla="*/ 12 w 33"/>
                <a:gd name="T9" fmla="*/ 15 h 38"/>
                <a:gd name="T10" fmla="*/ 8 w 33"/>
                <a:gd name="T11" fmla="*/ 37 h 38"/>
                <a:gd name="T12" fmla="*/ 23 w 33"/>
                <a:gd name="T13" fmla="*/ 37 h 38"/>
                <a:gd name="T14" fmla="*/ 32 w 33"/>
                <a:gd name="T15" fmla="*/ 14 h 38"/>
                <a:gd name="T16" fmla="*/ 27 w 33"/>
                <a:gd name="T17" fmla="*/ 1 h 38"/>
                <a:gd name="T18" fmla="*/ 12 w 33"/>
                <a:gd name="T19" fmla="*/ 0 h 38"/>
                <a:gd name="T20" fmla="*/ 0 w 33"/>
                <a:gd name="T21" fmla="*/ 10 h 38"/>
                <a:gd name="T22" fmla="*/ 0 w 33"/>
                <a:gd name="T23" fmla="*/ 10 h 3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38"/>
                <a:gd name="T38" fmla="*/ 33 w 33"/>
                <a:gd name="T39" fmla="*/ 38 h 3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38">
                  <a:moveTo>
                    <a:pt x="0" y="10"/>
                  </a:moveTo>
                  <a:lnTo>
                    <a:pt x="0" y="10"/>
                  </a:lnTo>
                  <a:lnTo>
                    <a:pt x="1" y="19"/>
                  </a:lnTo>
                  <a:lnTo>
                    <a:pt x="8" y="10"/>
                  </a:lnTo>
                  <a:lnTo>
                    <a:pt x="12" y="15"/>
                  </a:lnTo>
                  <a:lnTo>
                    <a:pt x="8" y="37"/>
                  </a:lnTo>
                  <a:lnTo>
                    <a:pt x="23" y="37"/>
                  </a:lnTo>
                  <a:lnTo>
                    <a:pt x="32" y="14"/>
                  </a:lnTo>
                  <a:lnTo>
                    <a:pt x="27" y="1"/>
                  </a:lnTo>
                  <a:lnTo>
                    <a:pt x="12" y="0"/>
                  </a:lnTo>
                  <a:lnTo>
                    <a:pt x="0" y="1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" name="Freeform 626">
              <a:extLst>
                <a:ext uri="{FF2B5EF4-FFF2-40B4-BE49-F238E27FC236}">
                  <a16:creationId xmlns:a16="http://schemas.microsoft.com/office/drawing/2014/main" id="{86FD29E3-3417-A3EB-AB1A-DF9586567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6" y="2835"/>
              <a:ext cx="155" cy="125"/>
            </a:xfrm>
            <a:custGeom>
              <a:avLst/>
              <a:gdLst>
                <a:gd name="T0" fmla="*/ 0 w 155"/>
                <a:gd name="T1" fmla="*/ 116 h 125"/>
                <a:gd name="T2" fmla="*/ 0 w 155"/>
                <a:gd name="T3" fmla="*/ 116 h 125"/>
                <a:gd name="T4" fmla="*/ 27 w 155"/>
                <a:gd name="T5" fmla="*/ 93 h 125"/>
                <a:gd name="T6" fmla="*/ 66 w 155"/>
                <a:gd name="T7" fmla="*/ 93 h 125"/>
                <a:gd name="T8" fmla="*/ 82 w 155"/>
                <a:gd name="T9" fmla="*/ 65 h 125"/>
                <a:gd name="T10" fmla="*/ 89 w 155"/>
                <a:gd name="T11" fmla="*/ 63 h 125"/>
                <a:gd name="T12" fmla="*/ 89 w 155"/>
                <a:gd name="T13" fmla="*/ 74 h 125"/>
                <a:gd name="T14" fmla="*/ 107 w 155"/>
                <a:gd name="T15" fmla="*/ 63 h 125"/>
                <a:gd name="T16" fmla="*/ 122 w 155"/>
                <a:gd name="T17" fmla="*/ 42 h 125"/>
                <a:gd name="T18" fmla="*/ 129 w 155"/>
                <a:gd name="T19" fmla="*/ 6 h 125"/>
                <a:gd name="T20" fmla="*/ 141 w 155"/>
                <a:gd name="T21" fmla="*/ 8 h 125"/>
                <a:gd name="T22" fmla="*/ 137 w 155"/>
                <a:gd name="T23" fmla="*/ 0 h 125"/>
                <a:gd name="T24" fmla="*/ 144 w 155"/>
                <a:gd name="T25" fmla="*/ 1 h 125"/>
                <a:gd name="T26" fmla="*/ 154 w 155"/>
                <a:gd name="T27" fmla="*/ 30 h 125"/>
                <a:gd name="T28" fmla="*/ 141 w 155"/>
                <a:gd name="T29" fmla="*/ 51 h 125"/>
                <a:gd name="T30" fmla="*/ 141 w 155"/>
                <a:gd name="T31" fmla="*/ 70 h 125"/>
                <a:gd name="T32" fmla="*/ 131 w 155"/>
                <a:gd name="T33" fmla="*/ 98 h 125"/>
                <a:gd name="T34" fmla="*/ 124 w 155"/>
                <a:gd name="T35" fmla="*/ 102 h 125"/>
                <a:gd name="T36" fmla="*/ 124 w 155"/>
                <a:gd name="T37" fmla="*/ 91 h 125"/>
                <a:gd name="T38" fmla="*/ 101 w 155"/>
                <a:gd name="T39" fmla="*/ 107 h 125"/>
                <a:gd name="T40" fmla="*/ 82 w 155"/>
                <a:gd name="T41" fmla="*/ 100 h 125"/>
                <a:gd name="T42" fmla="*/ 83 w 155"/>
                <a:gd name="T43" fmla="*/ 113 h 125"/>
                <a:gd name="T44" fmla="*/ 67 w 155"/>
                <a:gd name="T45" fmla="*/ 124 h 125"/>
                <a:gd name="T46" fmla="*/ 62 w 155"/>
                <a:gd name="T47" fmla="*/ 106 h 125"/>
                <a:gd name="T48" fmla="*/ 0 w 155"/>
                <a:gd name="T49" fmla="*/ 116 h 125"/>
                <a:gd name="T50" fmla="*/ 0 w 155"/>
                <a:gd name="T51" fmla="*/ 116 h 12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5"/>
                <a:gd name="T79" fmla="*/ 0 h 125"/>
                <a:gd name="T80" fmla="*/ 155 w 155"/>
                <a:gd name="T81" fmla="*/ 125 h 12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5" h="125">
                  <a:moveTo>
                    <a:pt x="0" y="116"/>
                  </a:moveTo>
                  <a:lnTo>
                    <a:pt x="0" y="116"/>
                  </a:lnTo>
                  <a:lnTo>
                    <a:pt x="27" y="93"/>
                  </a:lnTo>
                  <a:lnTo>
                    <a:pt x="66" y="93"/>
                  </a:lnTo>
                  <a:lnTo>
                    <a:pt x="82" y="65"/>
                  </a:lnTo>
                  <a:lnTo>
                    <a:pt x="89" y="63"/>
                  </a:lnTo>
                  <a:lnTo>
                    <a:pt x="89" y="74"/>
                  </a:lnTo>
                  <a:lnTo>
                    <a:pt x="107" y="63"/>
                  </a:lnTo>
                  <a:lnTo>
                    <a:pt x="122" y="42"/>
                  </a:lnTo>
                  <a:lnTo>
                    <a:pt x="129" y="6"/>
                  </a:lnTo>
                  <a:lnTo>
                    <a:pt x="141" y="8"/>
                  </a:lnTo>
                  <a:lnTo>
                    <a:pt x="137" y="0"/>
                  </a:lnTo>
                  <a:lnTo>
                    <a:pt x="144" y="1"/>
                  </a:lnTo>
                  <a:lnTo>
                    <a:pt x="154" y="30"/>
                  </a:lnTo>
                  <a:lnTo>
                    <a:pt x="141" y="51"/>
                  </a:lnTo>
                  <a:lnTo>
                    <a:pt x="141" y="70"/>
                  </a:lnTo>
                  <a:lnTo>
                    <a:pt x="131" y="98"/>
                  </a:lnTo>
                  <a:lnTo>
                    <a:pt x="124" y="102"/>
                  </a:lnTo>
                  <a:lnTo>
                    <a:pt x="124" y="91"/>
                  </a:lnTo>
                  <a:lnTo>
                    <a:pt x="101" y="107"/>
                  </a:lnTo>
                  <a:lnTo>
                    <a:pt x="82" y="100"/>
                  </a:lnTo>
                  <a:lnTo>
                    <a:pt x="83" y="113"/>
                  </a:lnTo>
                  <a:lnTo>
                    <a:pt x="67" y="124"/>
                  </a:lnTo>
                  <a:lnTo>
                    <a:pt x="62" y="106"/>
                  </a:lnTo>
                  <a:lnTo>
                    <a:pt x="0" y="116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" name="Freeform 627">
              <a:extLst>
                <a:ext uri="{FF2B5EF4-FFF2-40B4-BE49-F238E27FC236}">
                  <a16:creationId xmlns:a16="http://schemas.microsoft.com/office/drawing/2014/main" id="{4EEBA8B6-67CC-A10F-82DF-D257B0CE9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5" y="2948"/>
              <a:ext cx="32" cy="23"/>
            </a:xfrm>
            <a:custGeom>
              <a:avLst/>
              <a:gdLst>
                <a:gd name="T0" fmla="*/ 0 w 32"/>
                <a:gd name="T1" fmla="*/ 12 h 23"/>
                <a:gd name="T2" fmla="*/ 0 w 32"/>
                <a:gd name="T3" fmla="*/ 12 h 23"/>
                <a:gd name="T4" fmla="*/ 10 w 32"/>
                <a:gd name="T5" fmla="*/ 22 h 23"/>
                <a:gd name="T6" fmla="*/ 28 w 32"/>
                <a:gd name="T7" fmla="*/ 14 h 23"/>
                <a:gd name="T8" fmla="*/ 31 w 32"/>
                <a:gd name="T9" fmla="*/ 0 h 23"/>
                <a:gd name="T10" fmla="*/ 0 w 32"/>
                <a:gd name="T11" fmla="*/ 12 h 23"/>
                <a:gd name="T12" fmla="*/ 0 w 32"/>
                <a:gd name="T13" fmla="*/ 12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23"/>
                <a:gd name="T23" fmla="*/ 32 w 32"/>
                <a:gd name="T24" fmla="*/ 23 h 2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23">
                  <a:moveTo>
                    <a:pt x="0" y="12"/>
                  </a:moveTo>
                  <a:lnTo>
                    <a:pt x="0" y="12"/>
                  </a:lnTo>
                  <a:lnTo>
                    <a:pt x="10" y="22"/>
                  </a:lnTo>
                  <a:lnTo>
                    <a:pt x="28" y="14"/>
                  </a:lnTo>
                  <a:lnTo>
                    <a:pt x="31" y="0"/>
                  </a:lnTo>
                  <a:lnTo>
                    <a:pt x="0" y="12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1" name="Freeform 628">
              <a:extLst>
                <a:ext uri="{FF2B5EF4-FFF2-40B4-BE49-F238E27FC236}">
                  <a16:creationId xmlns:a16="http://schemas.microsoft.com/office/drawing/2014/main" id="{C01C48CD-0566-734C-7791-46E267C33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0" y="2769"/>
              <a:ext cx="81" cy="67"/>
            </a:xfrm>
            <a:custGeom>
              <a:avLst/>
              <a:gdLst>
                <a:gd name="T0" fmla="*/ 0 w 81"/>
                <a:gd name="T1" fmla="*/ 47 h 67"/>
                <a:gd name="T2" fmla="*/ 0 w 81"/>
                <a:gd name="T3" fmla="*/ 47 h 67"/>
                <a:gd name="T4" fmla="*/ 3 w 81"/>
                <a:gd name="T5" fmla="*/ 66 h 67"/>
                <a:gd name="T6" fmla="*/ 17 w 81"/>
                <a:gd name="T7" fmla="*/ 59 h 67"/>
                <a:gd name="T8" fmla="*/ 8 w 81"/>
                <a:gd name="T9" fmla="*/ 48 h 67"/>
                <a:gd name="T10" fmla="*/ 46 w 81"/>
                <a:gd name="T11" fmla="*/ 58 h 67"/>
                <a:gd name="T12" fmla="*/ 55 w 81"/>
                <a:gd name="T13" fmla="*/ 42 h 67"/>
                <a:gd name="T14" fmla="*/ 80 w 81"/>
                <a:gd name="T15" fmla="*/ 37 h 67"/>
                <a:gd name="T16" fmla="*/ 71 w 81"/>
                <a:gd name="T17" fmla="*/ 27 h 67"/>
                <a:gd name="T18" fmla="*/ 74 w 81"/>
                <a:gd name="T19" fmla="*/ 18 h 67"/>
                <a:gd name="T20" fmla="*/ 53 w 81"/>
                <a:gd name="T21" fmla="*/ 20 h 67"/>
                <a:gd name="T22" fmla="*/ 27 w 81"/>
                <a:gd name="T23" fmla="*/ 0 h 67"/>
                <a:gd name="T24" fmla="*/ 18 w 81"/>
                <a:gd name="T25" fmla="*/ 38 h 67"/>
                <a:gd name="T26" fmla="*/ 7 w 81"/>
                <a:gd name="T27" fmla="*/ 35 h 67"/>
                <a:gd name="T28" fmla="*/ 0 w 81"/>
                <a:gd name="T29" fmla="*/ 47 h 67"/>
                <a:gd name="T30" fmla="*/ 0 w 81"/>
                <a:gd name="T31" fmla="*/ 47 h 6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1"/>
                <a:gd name="T49" fmla="*/ 0 h 67"/>
                <a:gd name="T50" fmla="*/ 81 w 81"/>
                <a:gd name="T51" fmla="*/ 67 h 6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1" h="67">
                  <a:moveTo>
                    <a:pt x="0" y="47"/>
                  </a:moveTo>
                  <a:lnTo>
                    <a:pt x="0" y="47"/>
                  </a:lnTo>
                  <a:lnTo>
                    <a:pt x="3" y="66"/>
                  </a:lnTo>
                  <a:lnTo>
                    <a:pt x="17" y="59"/>
                  </a:lnTo>
                  <a:lnTo>
                    <a:pt x="8" y="48"/>
                  </a:lnTo>
                  <a:lnTo>
                    <a:pt x="46" y="58"/>
                  </a:lnTo>
                  <a:lnTo>
                    <a:pt x="55" y="42"/>
                  </a:lnTo>
                  <a:lnTo>
                    <a:pt x="80" y="37"/>
                  </a:lnTo>
                  <a:lnTo>
                    <a:pt x="71" y="27"/>
                  </a:lnTo>
                  <a:lnTo>
                    <a:pt x="74" y="18"/>
                  </a:lnTo>
                  <a:lnTo>
                    <a:pt x="53" y="20"/>
                  </a:lnTo>
                  <a:lnTo>
                    <a:pt x="27" y="0"/>
                  </a:lnTo>
                  <a:lnTo>
                    <a:pt x="18" y="38"/>
                  </a:lnTo>
                  <a:lnTo>
                    <a:pt x="7" y="35"/>
                  </a:lnTo>
                  <a:lnTo>
                    <a:pt x="0" y="47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32" name="Freeform 629">
            <a:extLst>
              <a:ext uri="{FF2B5EF4-FFF2-40B4-BE49-F238E27FC236}">
                <a16:creationId xmlns:a16="http://schemas.microsoft.com/office/drawing/2014/main" id="{99C26B28-B718-1116-10E0-533C6EE464B2}"/>
              </a:ext>
            </a:extLst>
          </p:cNvPr>
          <p:cNvSpPr>
            <a:spLocks/>
          </p:cNvSpPr>
          <p:nvPr/>
        </p:nvSpPr>
        <p:spPr bwMode="auto">
          <a:xfrm>
            <a:off x="5997420" y="4680727"/>
            <a:ext cx="100740" cy="94643"/>
          </a:xfrm>
          <a:custGeom>
            <a:avLst/>
            <a:gdLst>
              <a:gd name="T0" fmla="*/ 0 w 87"/>
              <a:gd name="T1" fmla="*/ 82254980 h 84"/>
              <a:gd name="T2" fmla="*/ 0 w 87"/>
              <a:gd name="T3" fmla="*/ 82254980 h 84"/>
              <a:gd name="T4" fmla="*/ 25363482 w 87"/>
              <a:gd name="T5" fmla="*/ 94505205 h 84"/>
              <a:gd name="T6" fmla="*/ 9510832 w 87"/>
              <a:gd name="T7" fmla="*/ 136509117 h 84"/>
              <a:gd name="T8" fmla="*/ 47555429 w 87"/>
              <a:gd name="T9" fmla="*/ 145258884 h 84"/>
              <a:gd name="T10" fmla="*/ 87186425 w 87"/>
              <a:gd name="T11" fmla="*/ 120757154 h 84"/>
              <a:gd name="T12" fmla="*/ 69748624 w 87"/>
              <a:gd name="T13" fmla="*/ 87505655 h 84"/>
              <a:gd name="T14" fmla="*/ 115718915 w 87"/>
              <a:gd name="T15" fmla="*/ 56003032 h 84"/>
              <a:gd name="T16" fmla="*/ 136326972 w 87"/>
              <a:gd name="T17" fmla="*/ 14000427 h 84"/>
              <a:gd name="T18" fmla="*/ 134741833 w 87"/>
              <a:gd name="T19" fmla="*/ 8751093 h 84"/>
              <a:gd name="T20" fmla="*/ 125231004 w 87"/>
              <a:gd name="T21" fmla="*/ 0 h 84"/>
              <a:gd name="T22" fmla="*/ 84014889 w 87"/>
              <a:gd name="T23" fmla="*/ 28002177 h 84"/>
              <a:gd name="T24" fmla="*/ 84014889 w 87"/>
              <a:gd name="T25" fmla="*/ 43752828 h 84"/>
              <a:gd name="T26" fmla="*/ 55482379 w 87"/>
              <a:gd name="T27" fmla="*/ 38502163 h 84"/>
              <a:gd name="T28" fmla="*/ 0 w 87"/>
              <a:gd name="T29" fmla="*/ 82254980 h 84"/>
              <a:gd name="T30" fmla="*/ 0 w 87"/>
              <a:gd name="T31" fmla="*/ 82254980 h 8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7"/>
              <a:gd name="T49" fmla="*/ 0 h 84"/>
              <a:gd name="T50" fmla="*/ 87 w 87"/>
              <a:gd name="T51" fmla="*/ 84 h 8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7" h="84">
                <a:moveTo>
                  <a:pt x="0" y="47"/>
                </a:moveTo>
                <a:lnTo>
                  <a:pt x="0" y="47"/>
                </a:lnTo>
                <a:lnTo>
                  <a:pt x="16" y="54"/>
                </a:lnTo>
                <a:lnTo>
                  <a:pt x="6" y="78"/>
                </a:lnTo>
                <a:lnTo>
                  <a:pt x="30" y="83"/>
                </a:lnTo>
                <a:lnTo>
                  <a:pt x="55" y="69"/>
                </a:lnTo>
                <a:lnTo>
                  <a:pt x="44" y="50"/>
                </a:lnTo>
                <a:lnTo>
                  <a:pt x="73" y="32"/>
                </a:lnTo>
                <a:lnTo>
                  <a:pt x="86" y="8"/>
                </a:lnTo>
                <a:lnTo>
                  <a:pt x="85" y="5"/>
                </a:lnTo>
                <a:lnTo>
                  <a:pt x="79" y="0"/>
                </a:lnTo>
                <a:lnTo>
                  <a:pt x="53" y="16"/>
                </a:lnTo>
                <a:lnTo>
                  <a:pt x="53" y="25"/>
                </a:lnTo>
                <a:lnTo>
                  <a:pt x="35" y="22"/>
                </a:lnTo>
                <a:lnTo>
                  <a:pt x="0" y="4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33" name="Freeform 630">
            <a:extLst>
              <a:ext uri="{FF2B5EF4-FFF2-40B4-BE49-F238E27FC236}">
                <a16:creationId xmlns:a16="http://schemas.microsoft.com/office/drawing/2014/main" id="{7CA4B497-B9D5-1505-7FE8-1D43071EA46B}"/>
              </a:ext>
            </a:extLst>
          </p:cNvPr>
          <p:cNvSpPr>
            <a:spLocks/>
          </p:cNvSpPr>
          <p:nvPr/>
        </p:nvSpPr>
        <p:spPr bwMode="auto">
          <a:xfrm>
            <a:off x="6028080" y="4759147"/>
            <a:ext cx="52561" cy="73011"/>
          </a:xfrm>
          <a:custGeom>
            <a:avLst/>
            <a:gdLst>
              <a:gd name="T0" fmla="*/ 0 w 48"/>
              <a:gd name="T1" fmla="*/ 109657851 h 66"/>
              <a:gd name="T2" fmla="*/ 0 w 48"/>
              <a:gd name="T3" fmla="*/ 109657851 h 66"/>
              <a:gd name="T4" fmla="*/ 7087791 w 48"/>
              <a:gd name="T5" fmla="*/ 23618536 h 66"/>
              <a:gd name="T6" fmla="*/ 42527939 w 48"/>
              <a:gd name="T7" fmla="*/ 0 h 66"/>
              <a:gd name="T8" fmla="*/ 66626182 w 48"/>
              <a:gd name="T9" fmla="*/ 67482449 h 66"/>
              <a:gd name="T10" fmla="*/ 42527939 w 48"/>
              <a:gd name="T11" fmla="*/ 99535812 h 66"/>
              <a:gd name="T12" fmla="*/ 0 w 48"/>
              <a:gd name="T13" fmla="*/ 109657851 h 66"/>
              <a:gd name="T14" fmla="*/ 0 w 48"/>
              <a:gd name="T15" fmla="*/ 109657851 h 6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8"/>
              <a:gd name="T25" fmla="*/ 0 h 66"/>
              <a:gd name="T26" fmla="*/ 48 w 48"/>
              <a:gd name="T27" fmla="*/ 66 h 6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8" h="66">
                <a:moveTo>
                  <a:pt x="0" y="65"/>
                </a:moveTo>
                <a:lnTo>
                  <a:pt x="0" y="65"/>
                </a:lnTo>
                <a:lnTo>
                  <a:pt x="5" y="14"/>
                </a:lnTo>
                <a:lnTo>
                  <a:pt x="30" y="0"/>
                </a:lnTo>
                <a:lnTo>
                  <a:pt x="47" y="40"/>
                </a:lnTo>
                <a:lnTo>
                  <a:pt x="30" y="59"/>
                </a:lnTo>
                <a:lnTo>
                  <a:pt x="0" y="6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34" name="Freeform 631">
            <a:extLst>
              <a:ext uri="{FF2B5EF4-FFF2-40B4-BE49-F238E27FC236}">
                <a16:creationId xmlns:a16="http://schemas.microsoft.com/office/drawing/2014/main" id="{6978D2E0-1AD4-9D1F-4B8C-113DA4F867F0}"/>
              </a:ext>
            </a:extLst>
          </p:cNvPr>
          <p:cNvSpPr>
            <a:spLocks/>
          </p:cNvSpPr>
          <p:nvPr/>
        </p:nvSpPr>
        <p:spPr bwMode="auto">
          <a:xfrm>
            <a:off x="5620738" y="5025501"/>
            <a:ext cx="112420" cy="127093"/>
          </a:xfrm>
          <a:custGeom>
            <a:avLst/>
            <a:gdLst>
              <a:gd name="T0" fmla="*/ 0 w 99"/>
              <a:gd name="T1" fmla="*/ 42094425 h 115"/>
              <a:gd name="T2" fmla="*/ 0 w 99"/>
              <a:gd name="T3" fmla="*/ 42094425 h 115"/>
              <a:gd name="T4" fmla="*/ 19818444 w 99"/>
              <a:gd name="T5" fmla="*/ 69035380 h 115"/>
              <a:gd name="T6" fmla="*/ 13720178 w 99"/>
              <a:gd name="T7" fmla="*/ 116181404 h 115"/>
              <a:gd name="T8" fmla="*/ 67079713 w 99"/>
              <a:gd name="T9" fmla="*/ 95976345 h 115"/>
              <a:gd name="T10" fmla="*/ 89946687 w 99"/>
              <a:gd name="T11" fmla="*/ 116181404 h 115"/>
              <a:gd name="T12" fmla="*/ 109766361 w 99"/>
              <a:gd name="T13" fmla="*/ 163327409 h 115"/>
              <a:gd name="T14" fmla="*/ 102143220 w 99"/>
              <a:gd name="T15" fmla="*/ 191951392 h 115"/>
              <a:gd name="T16" fmla="*/ 149403240 w 99"/>
              <a:gd name="T17" fmla="*/ 183532509 h 115"/>
              <a:gd name="T18" fmla="*/ 126536285 w 99"/>
              <a:gd name="T19" fmla="*/ 121232994 h 115"/>
              <a:gd name="T20" fmla="*/ 76226495 w 99"/>
              <a:gd name="T21" fmla="*/ 75769967 h 115"/>
              <a:gd name="T22" fmla="*/ 89946687 w 99"/>
              <a:gd name="T23" fmla="*/ 50513318 h 115"/>
              <a:gd name="T24" fmla="*/ 62505087 w 99"/>
              <a:gd name="T25" fmla="*/ 35359838 h 115"/>
              <a:gd name="T26" fmla="*/ 41161773 w 99"/>
              <a:gd name="T27" fmla="*/ 0 h 115"/>
              <a:gd name="T28" fmla="*/ 27441590 w 99"/>
              <a:gd name="T29" fmla="*/ 0 h 115"/>
              <a:gd name="T30" fmla="*/ 28966466 w 99"/>
              <a:gd name="T31" fmla="*/ 26940955 h 115"/>
              <a:gd name="T32" fmla="*/ 19818444 w 99"/>
              <a:gd name="T33" fmla="*/ 20205065 h 115"/>
              <a:gd name="T34" fmla="*/ 0 w 99"/>
              <a:gd name="T35" fmla="*/ 42094425 h 115"/>
              <a:gd name="T36" fmla="*/ 0 w 99"/>
              <a:gd name="T37" fmla="*/ 42094425 h 1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99"/>
              <a:gd name="T58" fmla="*/ 0 h 115"/>
              <a:gd name="T59" fmla="*/ 99 w 99"/>
              <a:gd name="T60" fmla="*/ 115 h 115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99" h="115">
                <a:moveTo>
                  <a:pt x="0" y="25"/>
                </a:moveTo>
                <a:lnTo>
                  <a:pt x="0" y="25"/>
                </a:lnTo>
                <a:lnTo>
                  <a:pt x="13" y="41"/>
                </a:lnTo>
                <a:lnTo>
                  <a:pt x="9" y="69"/>
                </a:lnTo>
                <a:lnTo>
                  <a:pt x="44" y="57"/>
                </a:lnTo>
                <a:lnTo>
                  <a:pt x="59" y="69"/>
                </a:lnTo>
                <a:lnTo>
                  <a:pt x="72" y="97"/>
                </a:lnTo>
                <a:lnTo>
                  <a:pt x="67" y="114"/>
                </a:lnTo>
                <a:lnTo>
                  <a:pt x="98" y="109"/>
                </a:lnTo>
                <a:lnTo>
                  <a:pt x="83" y="72"/>
                </a:lnTo>
                <a:lnTo>
                  <a:pt x="50" y="45"/>
                </a:lnTo>
                <a:lnTo>
                  <a:pt x="59" y="30"/>
                </a:lnTo>
                <a:lnTo>
                  <a:pt x="41" y="21"/>
                </a:lnTo>
                <a:lnTo>
                  <a:pt x="27" y="0"/>
                </a:lnTo>
                <a:lnTo>
                  <a:pt x="18" y="0"/>
                </a:lnTo>
                <a:lnTo>
                  <a:pt x="19" y="16"/>
                </a:lnTo>
                <a:lnTo>
                  <a:pt x="13" y="12"/>
                </a:lnTo>
                <a:lnTo>
                  <a:pt x="0" y="2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335" name="Group 43">
            <a:extLst>
              <a:ext uri="{FF2B5EF4-FFF2-40B4-BE49-F238E27FC236}">
                <a16:creationId xmlns:a16="http://schemas.microsoft.com/office/drawing/2014/main" id="{91F25DDA-B566-91C7-FB46-B5C2DB41C902}"/>
              </a:ext>
            </a:extLst>
          </p:cNvPr>
          <p:cNvGrpSpPr>
            <a:grpSpLocks/>
          </p:cNvGrpSpPr>
          <p:nvPr/>
        </p:nvGrpSpPr>
        <p:grpSpPr bwMode="auto">
          <a:xfrm>
            <a:off x="1845143" y="3676147"/>
            <a:ext cx="1384088" cy="1023508"/>
            <a:chOff x="1156" y="1908"/>
            <a:chExt cx="1207" cy="919"/>
          </a:xfrm>
          <a:solidFill>
            <a:schemeClr val="accent2"/>
          </a:solidFill>
        </p:grpSpPr>
        <p:sp>
          <p:nvSpPr>
            <p:cNvPr id="336" name="Freeform 633">
              <a:extLst>
                <a:ext uri="{FF2B5EF4-FFF2-40B4-BE49-F238E27FC236}">
                  <a16:creationId xmlns:a16="http://schemas.microsoft.com/office/drawing/2014/main" id="{9B38B644-6514-E793-A95A-4C97DA23F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6" y="2232"/>
              <a:ext cx="1166" cy="595"/>
            </a:xfrm>
            <a:custGeom>
              <a:avLst/>
              <a:gdLst>
                <a:gd name="T0" fmla="*/ 93 w 1166"/>
                <a:gd name="T1" fmla="*/ 82 h 595"/>
                <a:gd name="T2" fmla="*/ 110 w 1166"/>
                <a:gd name="T3" fmla="*/ 69 h 595"/>
                <a:gd name="T4" fmla="*/ 177 w 1166"/>
                <a:gd name="T5" fmla="*/ 35 h 595"/>
                <a:gd name="T6" fmla="*/ 250 w 1166"/>
                <a:gd name="T7" fmla="*/ 52 h 595"/>
                <a:gd name="T8" fmla="*/ 347 w 1166"/>
                <a:gd name="T9" fmla="*/ 95 h 595"/>
                <a:gd name="T10" fmla="*/ 453 w 1166"/>
                <a:gd name="T11" fmla="*/ 123 h 595"/>
                <a:gd name="T12" fmla="*/ 450 w 1166"/>
                <a:gd name="T13" fmla="*/ 93 h 595"/>
                <a:gd name="T14" fmla="*/ 515 w 1166"/>
                <a:gd name="T15" fmla="*/ 93 h 595"/>
                <a:gd name="T16" fmla="*/ 595 w 1166"/>
                <a:gd name="T17" fmla="*/ 105 h 595"/>
                <a:gd name="T18" fmla="*/ 597 w 1166"/>
                <a:gd name="T19" fmla="*/ 85 h 595"/>
                <a:gd name="T20" fmla="*/ 624 w 1166"/>
                <a:gd name="T21" fmla="*/ 114 h 595"/>
                <a:gd name="T22" fmla="*/ 632 w 1166"/>
                <a:gd name="T23" fmla="*/ 78 h 595"/>
                <a:gd name="T24" fmla="*/ 620 w 1166"/>
                <a:gd name="T25" fmla="*/ 18 h 595"/>
                <a:gd name="T26" fmla="*/ 676 w 1166"/>
                <a:gd name="T27" fmla="*/ 44 h 595"/>
                <a:gd name="T28" fmla="*/ 685 w 1166"/>
                <a:gd name="T29" fmla="*/ 61 h 595"/>
                <a:gd name="T30" fmla="*/ 721 w 1166"/>
                <a:gd name="T31" fmla="*/ 76 h 595"/>
                <a:gd name="T32" fmla="*/ 743 w 1166"/>
                <a:gd name="T33" fmla="*/ 109 h 595"/>
                <a:gd name="T34" fmla="*/ 797 w 1166"/>
                <a:gd name="T35" fmla="*/ 55 h 595"/>
                <a:gd name="T36" fmla="*/ 798 w 1166"/>
                <a:gd name="T37" fmla="*/ 85 h 595"/>
                <a:gd name="T38" fmla="*/ 783 w 1166"/>
                <a:gd name="T39" fmla="*/ 137 h 595"/>
                <a:gd name="T40" fmla="*/ 695 w 1166"/>
                <a:gd name="T41" fmla="*/ 143 h 595"/>
                <a:gd name="T42" fmla="*/ 698 w 1166"/>
                <a:gd name="T43" fmla="*/ 183 h 595"/>
                <a:gd name="T44" fmla="*/ 689 w 1166"/>
                <a:gd name="T45" fmla="*/ 208 h 595"/>
                <a:gd name="T46" fmla="*/ 661 w 1166"/>
                <a:gd name="T47" fmla="*/ 226 h 595"/>
                <a:gd name="T48" fmla="*/ 653 w 1166"/>
                <a:gd name="T49" fmla="*/ 293 h 595"/>
                <a:gd name="T50" fmla="*/ 759 w 1166"/>
                <a:gd name="T51" fmla="*/ 359 h 595"/>
                <a:gd name="T52" fmla="*/ 800 w 1166"/>
                <a:gd name="T53" fmla="*/ 404 h 595"/>
                <a:gd name="T54" fmla="*/ 817 w 1166"/>
                <a:gd name="T55" fmla="*/ 440 h 595"/>
                <a:gd name="T56" fmla="*/ 836 w 1166"/>
                <a:gd name="T57" fmla="*/ 375 h 595"/>
                <a:gd name="T58" fmla="*/ 849 w 1166"/>
                <a:gd name="T59" fmla="*/ 293 h 595"/>
                <a:gd name="T60" fmla="*/ 858 w 1166"/>
                <a:gd name="T61" fmla="*/ 252 h 595"/>
                <a:gd name="T62" fmla="*/ 900 w 1166"/>
                <a:gd name="T63" fmla="*/ 225 h 595"/>
                <a:gd name="T64" fmla="*/ 974 w 1166"/>
                <a:gd name="T65" fmla="*/ 248 h 595"/>
                <a:gd name="T66" fmla="*/ 980 w 1166"/>
                <a:gd name="T67" fmla="*/ 283 h 595"/>
                <a:gd name="T68" fmla="*/ 978 w 1166"/>
                <a:gd name="T69" fmla="*/ 312 h 595"/>
                <a:gd name="T70" fmla="*/ 1022 w 1166"/>
                <a:gd name="T71" fmla="*/ 300 h 595"/>
                <a:gd name="T72" fmla="*/ 1061 w 1166"/>
                <a:gd name="T73" fmla="*/ 285 h 595"/>
                <a:gd name="T74" fmla="*/ 1058 w 1166"/>
                <a:gd name="T75" fmla="*/ 300 h 595"/>
                <a:gd name="T76" fmla="*/ 1079 w 1166"/>
                <a:gd name="T77" fmla="*/ 316 h 595"/>
                <a:gd name="T78" fmla="*/ 1082 w 1166"/>
                <a:gd name="T79" fmla="*/ 336 h 595"/>
                <a:gd name="T80" fmla="*/ 1118 w 1166"/>
                <a:gd name="T81" fmla="*/ 362 h 595"/>
                <a:gd name="T82" fmla="*/ 1144 w 1166"/>
                <a:gd name="T83" fmla="*/ 381 h 595"/>
                <a:gd name="T84" fmla="*/ 1156 w 1166"/>
                <a:gd name="T85" fmla="*/ 400 h 595"/>
                <a:gd name="T86" fmla="*/ 985 w 1166"/>
                <a:gd name="T87" fmla="*/ 477 h 595"/>
                <a:gd name="T88" fmla="*/ 1047 w 1166"/>
                <a:gd name="T89" fmla="*/ 482 h 595"/>
                <a:gd name="T90" fmla="*/ 1053 w 1166"/>
                <a:gd name="T91" fmla="*/ 527 h 595"/>
                <a:gd name="T92" fmla="*/ 1108 w 1166"/>
                <a:gd name="T93" fmla="*/ 523 h 595"/>
                <a:gd name="T94" fmla="*/ 1022 w 1166"/>
                <a:gd name="T95" fmla="*/ 552 h 595"/>
                <a:gd name="T96" fmla="*/ 1010 w 1166"/>
                <a:gd name="T97" fmla="*/ 540 h 595"/>
                <a:gd name="T98" fmla="*/ 960 w 1166"/>
                <a:gd name="T99" fmla="*/ 539 h 595"/>
                <a:gd name="T100" fmla="*/ 846 w 1166"/>
                <a:gd name="T101" fmla="*/ 574 h 595"/>
                <a:gd name="T102" fmla="*/ 798 w 1166"/>
                <a:gd name="T103" fmla="*/ 582 h 595"/>
                <a:gd name="T104" fmla="*/ 820 w 1166"/>
                <a:gd name="T105" fmla="*/ 550 h 595"/>
                <a:gd name="T106" fmla="*/ 770 w 1166"/>
                <a:gd name="T107" fmla="*/ 518 h 595"/>
                <a:gd name="T108" fmla="*/ 735 w 1166"/>
                <a:gd name="T109" fmla="*/ 479 h 595"/>
                <a:gd name="T110" fmla="*/ 634 w 1166"/>
                <a:gd name="T111" fmla="*/ 480 h 595"/>
                <a:gd name="T112" fmla="*/ 244 w 1166"/>
                <a:gd name="T113" fmla="*/ 462 h 595"/>
                <a:gd name="T114" fmla="*/ 188 w 1166"/>
                <a:gd name="T115" fmla="*/ 431 h 595"/>
                <a:gd name="T116" fmla="*/ 149 w 1166"/>
                <a:gd name="T117" fmla="*/ 366 h 595"/>
                <a:gd name="T118" fmla="*/ 48 w 1166"/>
                <a:gd name="T119" fmla="*/ 291 h 595"/>
                <a:gd name="T120" fmla="*/ 0 w 1166"/>
                <a:gd name="T121" fmla="*/ 264 h 59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166"/>
                <a:gd name="T184" fmla="*/ 0 h 595"/>
                <a:gd name="T185" fmla="*/ 1166 w 1166"/>
                <a:gd name="T186" fmla="*/ 595 h 59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166" h="595">
                  <a:moveTo>
                    <a:pt x="0" y="264"/>
                  </a:moveTo>
                  <a:lnTo>
                    <a:pt x="0" y="264"/>
                  </a:lnTo>
                  <a:lnTo>
                    <a:pt x="0" y="55"/>
                  </a:lnTo>
                  <a:lnTo>
                    <a:pt x="93" y="82"/>
                  </a:lnTo>
                  <a:lnTo>
                    <a:pt x="88" y="71"/>
                  </a:lnTo>
                  <a:lnTo>
                    <a:pt x="98" y="64"/>
                  </a:lnTo>
                  <a:lnTo>
                    <a:pt x="154" y="42"/>
                  </a:lnTo>
                  <a:lnTo>
                    <a:pt x="110" y="69"/>
                  </a:lnTo>
                  <a:lnTo>
                    <a:pt x="136" y="62"/>
                  </a:lnTo>
                  <a:lnTo>
                    <a:pt x="136" y="67"/>
                  </a:lnTo>
                  <a:lnTo>
                    <a:pt x="183" y="43"/>
                  </a:lnTo>
                  <a:lnTo>
                    <a:pt x="177" y="35"/>
                  </a:lnTo>
                  <a:lnTo>
                    <a:pt x="207" y="64"/>
                  </a:lnTo>
                  <a:lnTo>
                    <a:pt x="227" y="47"/>
                  </a:lnTo>
                  <a:lnTo>
                    <a:pt x="225" y="64"/>
                  </a:lnTo>
                  <a:lnTo>
                    <a:pt x="250" y="52"/>
                  </a:lnTo>
                  <a:lnTo>
                    <a:pt x="319" y="73"/>
                  </a:lnTo>
                  <a:lnTo>
                    <a:pt x="351" y="72"/>
                  </a:lnTo>
                  <a:lnTo>
                    <a:pt x="369" y="85"/>
                  </a:lnTo>
                  <a:lnTo>
                    <a:pt x="347" y="95"/>
                  </a:lnTo>
                  <a:lnTo>
                    <a:pt x="360" y="100"/>
                  </a:lnTo>
                  <a:lnTo>
                    <a:pt x="422" y="94"/>
                  </a:lnTo>
                  <a:lnTo>
                    <a:pt x="450" y="112"/>
                  </a:lnTo>
                  <a:lnTo>
                    <a:pt x="453" y="123"/>
                  </a:lnTo>
                  <a:lnTo>
                    <a:pt x="460" y="116"/>
                  </a:lnTo>
                  <a:lnTo>
                    <a:pt x="450" y="100"/>
                  </a:lnTo>
                  <a:lnTo>
                    <a:pt x="479" y="80"/>
                  </a:lnTo>
                  <a:lnTo>
                    <a:pt x="450" y="93"/>
                  </a:lnTo>
                  <a:lnTo>
                    <a:pt x="440" y="87"/>
                  </a:lnTo>
                  <a:lnTo>
                    <a:pt x="475" y="72"/>
                  </a:lnTo>
                  <a:lnTo>
                    <a:pt x="494" y="93"/>
                  </a:lnTo>
                  <a:lnTo>
                    <a:pt x="515" y="93"/>
                  </a:lnTo>
                  <a:lnTo>
                    <a:pt x="528" y="102"/>
                  </a:lnTo>
                  <a:lnTo>
                    <a:pt x="582" y="100"/>
                  </a:lnTo>
                  <a:lnTo>
                    <a:pt x="580" y="93"/>
                  </a:lnTo>
                  <a:lnTo>
                    <a:pt x="595" y="105"/>
                  </a:lnTo>
                  <a:lnTo>
                    <a:pt x="598" y="95"/>
                  </a:lnTo>
                  <a:lnTo>
                    <a:pt x="586" y="99"/>
                  </a:lnTo>
                  <a:lnTo>
                    <a:pt x="577" y="86"/>
                  </a:lnTo>
                  <a:lnTo>
                    <a:pt x="597" y="85"/>
                  </a:lnTo>
                  <a:lnTo>
                    <a:pt x="605" y="94"/>
                  </a:lnTo>
                  <a:lnTo>
                    <a:pt x="613" y="91"/>
                  </a:lnTo>
                  <a:lnTo>
                    <a:pt x="609" y="106"/>
                  </a:lnTo>
                  <a:lnTo>
                    <a:pt x="624" y="114"/>
                  </a:lnTo>
                  <a:lnTo>
                    <a:pt x="620" y="93"/>
                  </a:lnTo>
                  <a:lnTo>
                    <a:pt x="648" y="81"/>
                  </a:lnTo>
                  <a:lnTo>
                    <a:pt x="640" y="71"/>
                  </a:lnTo>
                  <a:lnTo>
                    <a:pt x="632" y="78"/>
                  </a:lnTo>
                  <a:lnTo>
                    <a:pt x="646" y="61"/>
                  </a:lnTo>
                  <a:lnTo>
                    <a:pt x="607" y="48"/>
                  </a:lnTo>
                  <a:lnTo>
                    <a:pt x="611" y="17"/>
                  </a:lnTo>
                  <a:lnTo>
                    <a:pt x="620" y="18"/>
                  </a:lnTo>
                  <a:lnTo>
                    <a:pt x="625" y="0"/>
                  </a:lnTo>
                  <a:lnTo>
                    <a:pt x="655" y="17"/>
                  </a:lnTo>
                  <a:lnTo>
                    <a:pt x="656" y="29"/>
                  </a:lnTo>
                  <a:lnTo>
                    <a:pt x="676" y="44"/>
                  </a:lnTo>
                  <a:lnTo>
                    <a:pt x="663" y="44"/>
                  </a:lnTo>
                  <a:lnTo>
                    <a:pt x="668" y="49"/>
                  </a:lnTo>
                  <a:lnTo>
                    <a:pt x="661" y="56"/>
                  </a:lnTo>
                  <a:lnTo>
                    <a:pt x="685" y="61"/>
                  </a:lnTo>
                  <a:lnTo>
                    <a:pt x="677" y="64"/>
                  </a:lnTo>
                  <a:lnTo>
                    <a:pt x="692" y="90"/>
                  </a:lnTo>
                  <a:lnTo>
                    <a:pt x="704" y="67"/>
                  </a:lnTo>
                  <a:lnTo>
                    <a:pt x="721" y="76"/>
                  </a:lnTo>
                  <a:lnTo>
                    <a:pt x="726" y="91"/>
                  </a:lnTo>
                  <a:lnTo>
                    <a:pt x="717" y="95"/>
                  </a:lnTo>
                  <a:lnTo>
                    <a:pt x="733" y="114"/>
                  </a:lnTo>
                  <a:lnTo>
                    <a:pt x="743" y="109"/>
                  </a:lnTo>
                  <a:lnTo>
                    <a:pt x="755" y="81"/>
                  </a:lnTo>
                  <a:lnTo>
                    <a:pt x="769" y="78"/>
                  </a:lnTo>
                  <a:lnTo>
                    <a:pt x="758" y="53"/>
                  </a:lnTo>
                  <a:lnTo>
                    <a:pt x="797" y="55"/>
                  </a:lnTo>
                  <a:lnTo>
                    <a:pt x="814" y="69"/>
                  </a:lnTo>
                  <a:lnTo>
                    <a:pt x="807" y="77"/>
                  </a:lnTo>
                  <a:lnTo>
                    <a:pt x="815" y="81"/>
                  </a:lnTo>
                  <a:lnTo>
                    <a:pt x="798" y="85"/>
                  </a:lnTo>
                  <a:lnTo>
                    <a:pt x="813" y="117"/>
                  </a:lnTo>
                  <a:lnTo>
                    <a:pt x="788" y="134"/>
                  </a:lnTo>
                  <a:lnTo>
                    <a:pt x="779" y="126"/>
                  </a:lnTo>
                  <a:lnTo>
                    <a:pt x="783" y="137"/>
                  </a:lnTo>
                  <a:lnTo>
                    <a:pt x="743" y="129"/>
                  </a:lnTo>
                  <a:lnTo>
                    <a:pt x="751" y="140"/>
                  </a:lnTo>
                  <a:lnTo>
                    <a:pt x="735" y="156"/>
                  </a:lnTo>
                  <a:lnTo>
                    <a:pt x="695" y="143"/>
                  </a:lnTo>
                  <a:lnTo>
                    <a:pt x="710" y="156"/>
                  </a:lnTo>
                  <a:lnTo>
                    <a:pt x="739" y="159"/>
                  </a:lnTo>
                  <a:lnTo>
                    <a:pt x="719" y="185"/>
                  </a:lnTo>
                  <a:lnTo>
                    <a:pt x="698" y="183"/>
                  </a:lnTo>
                  <a:lnTo>
                    <a:pt x="688" y="197"/>
                  </a:lnTo>
                  <a:lnTo>
                    <a:pt x="650" y="185"/>
                  </a:lnTo>
                  <a:lnTo>
                    <a:pt x="685" y="197"/>
                  </a:lnTo>
                  <a:lnTo>
                    <a:pt x="689" y="208"/>
                  </a:lnTo>
                  <a:lnTo>
                    <a:pt x="663" y="212"/>
                  </a:lnTo>
                  <a:lnTo>
                    <a:pt x="668" y="215"/>
                  </a:lnTo>
                  <a:lnTo>
                    <a:pt x="661" y="216"/>
                  </a:lnTo>
                  <a:lnTo>
                    <a:pt x="661" y="226"/>
                  </a:lnTo>
                  <a:lnTo>
                    <a:pt x="633" y="241"/>
                  </a:lnTo>
                  <a:lnTo>
                    <a:pt x="627" y="289"/>
                  </a:lnTo>
                  <a:lnTo>
                    <a:pt x="638" y="300"/>
                  </a:lnTo>
                  <a:lnTo>
                    <a:pt x="653" y="293"/>
                  </a:lnTo>
                  <a:lnTo>
                    <a:pt x="659" y="330"/>
                  </a:lnTo>
                  <a:lnTo>
                    <a:pt x="681" y="322"/>
                  </a:lnTo>
                  <a:lnTo>
                    <a:pt x="707" y="333"/>
                  </a:lnTo>
                  <a:lnTo>
                    <a:pt x="759" y="359"/>
                  </a:lnTo>
                  <a:lnTo>
                    <a:pt x="755" y="370"/>
                  </a:lnTo>
                  <a:lnTo>
                    <a:pt x="761" y="362"/>
                  </a:lnTo>
                  <a:lnTo>
                    <a:pt x="800" y="364"/>
                  </a:lnTo>
                  <a:lnTo>
                    <a:pt x="800" y="404"/>
                  </a:lnTo>
                  <a:lnTo>
                    <a:pt x="812" y="417"/>
                  </a:lnTo>
                  <a:lnTo>
                    <a:pt x="803" y="420"/>
                  </a:lnTo>
                  <a:lnTo>
                    <a:pt x="823" y="427"/>
                  </a:lnTo>
                  <a:lnTo>
                    <a:pt x="817" y="440"/>
                  </a:lnTo>
                  <a:lnTo>
                    <a:pt x="836" y="439"/>
                  </a:lnTo>
                  <a:lnTo>
                    <a:pt x="862" y="418"/>
                  </a:lnTo>
                  <a:lnTo>
                    <a:pt x="851" y="413"/>
                  </a:lnTo>
                  <a:lnTo>
                    <a:pt x="836" y="375"/>
                  </a:lnTo>
                  <a:lnTo>
                    <a:pt x="885" y="342"/>
                  </a:lnTo>
                  <a:lnTo>
                    <a:pt x="877" y="342"/>
                  </a:lnTo>
                  <a:lnTo>
                    <a:pt x="867" y="303"/>
                  </a:lnTo>
                  <a:lnTo>
                    <a:pt x="849" y="293"/>
                  </a:lnTo>
                  <a:lnTo>
                    <a:pt x="872" y="277"/>
                  </a:lnTo>
                  <a:lnTo>
                    <a:pt x="864" y="269"/>
                  </a:lnTo>
                  <a:lnTo>
                    <a:pt x="868" y="255"/>
                  </a:lnTo>
                  <a:lnTo>
                    <a:pt x="858" y="252"/>
                  </a:lnTo>
                  <a:lnTo>
                    <a:pt x="868" y="238"/>
                  </a:lnTo>
                  <a:lnTo>
                    <a:pt x="857" y="229"/>
                  </a:lnTo>
                  <a:lnTo>
                    <a:pt x="863" y="216"/>
                  </a:lnTo>
                  <a:lnTo>
                    <a:pt x="900" y="225"/>
                  </a:lnTo>
                  <a:lnTo>
                    <a:pt x="916" y="218"/>
                  </a:lnTo>
                  <a:lnTo>
                    <a:pt x="947" y="238"/>
                  </a:lnTo>
                  <a:lnTo>
                    <a:pt x="947" y="246"/>
                  </a:lnTo>
                  <a:lnTo>
                    <a:pt x="974" y="248"/>
                  </a:lnTo>
                  <a:lnTo>
                    <a:pt x="977" y="267"/>
                  </a:lnTo>
                  <a:lnTo>
                    <a:pt x="953" y="268"/>
                  </a:lnTo>
                  <a:lnTo>
                    <a:pt x="973" y="271"/>
                  </a:lnTo>
                  <a:lnTo>
                    <a:pt x="980" y="283"/>
                  </a:lnTo>
                  <a:lnTo>
                    <a:pt x="958" y="300"/>
                  </a:lnTo>
                  <a:lnTo>
                    <a:pt x="990" y="292"/>
                  </a:lnTo>
                  <a:lnTo>
                    <a:pt x="992" y="306"/>
                  </a:lnTo>
                  <a:lnTo>
                    <a:pt x="978" y="312"/>
                  </a:lnTo>
                  <a:lnTo>
                    <a:pt x="998" y="297"/>
                  </a:lnTo>
                  <a:lnTo>
                    <a:pt x="1000" y="307"/>
                  </a:lnTo>
                  <a:lnTo>
                    <a:pt x="1018" y="292"/>
                  </a:lnTo>
                  <a:lnTo>
                    <a:pt x="1022" y="300"/>
                  </a:lnTo>
                  <a:lnTo>
                    <a:pt x="1035" y="279"/>
                  </a:lnTo>
                  <a:lnTo>
                    <a:pt x="1030" y="275"/>
                  </a:lnTo>
                  <a:lnTo>
                    <a:pt x="1045" y="264"/>
                  </a:lnTo>
                  <a:lnTo>
                    <a:pt x="1061" y="285"/>
                  </a:lnTo>
                  <a:lnTo>
                    <a:pt x="1047" y="291"/>
                  </a:lnTo>
                  <a:lnTo>
                    <a:pt x="1062" y="288"/>
                  </a:lnTo>
                  <a:lnTo>
                    <a:pt x="1068" y="297"/>
                  </a:lnTo>
                  <a:lnTo>
                    <a:pt x="1058" y="300"/>
                  </a:lnTo>
                  <a:lnTo>
                    <a:pt x="1071" y="301"/>
                  </a:lnTo>
                  <a:lnTo>
                    <a:pt x="1062" y="308"/>
                  </a:lnTo>
                  <a:lnTo>
                    <a:pt x="1072" y="306"/>
                  </a:lnTo>
                  <a:lnTo>
                    <a:pt x="1079" y="316"/>
                  </a:lnTo>
                  <a:lnTo>
                    <a:pt x="1074" y="320"/>
                  </a:lnTo>
                  <a:lnTo>
                    <a:pt x="1088" y="328"/>
                  </a:lnTo>
                  <a:lnTo>
                    <a:pt x="1066" y="336"/>
                  </a:lnTo>
                  <a:lnTo>
                    <a:pt x="1082" y="336"/>
                  </a:lnTo>
                  <a:lnTo>
                    <a:pt x="1079" y="344"/>
                  </a:lnTo>
                  <a:lnTo>
                    <a:pt x="1102" y="351"/>
                  </a:lnTo>
                  <a:lnTo>
                    <a:pt x="1110" y="369"/>
                  </a:lnTo>
                  <a:lnTo>
                    <a:pt x="1118" y="362"/>
                  </a:lnTo>
                  <a:lnTo>
                    <a:pt x="1142" y="375"/>
                  </a:lnTo>
                  <a:lnTo>
                    <a:pt x="1091" y="390"/>
                  </a:lnTo>
                  <a:lnTo>
                    <a:pt x="1102" y="399"/>
                  </a:lnTo>
                  <a:lnTo>
                    <a:pt x="1144" y="381"/>
                  </a:lnTo>
                  <a:lnTo>
                    <a:pt x="1144" y="396"/>
                  </a:lnTo>
                  <a:lnTo>
                    <a:pt x="1163" y="393"/>
                  </a:lnTo>
                  <a:lnTo>
                    <a:pt x="1165" y="400"/>
                  </a:lnTo>
                  <a:lnTo>
                    <a:pt x="1156" y="400"/>
                  </a:lnTo>
                  <a:lnTo>
                    <a:pt x="1165" y="418"/>
                  </a:lnTo>
                  <a:lnTo>
                    <a:pt x="1106" y="453"/>
                  </a:lnTo>
                  <a:lnTo>
                    <a:pt x="1021" y="453"/>
                  </a:lnTo>
                  <a:lnTo>
                    <a:pt x="985" y="477"/>
                  </a:lnTo>
                  <a:lnTo>
                    <a:pt x="955" y="513"/>
                  </a:lnTo>
                  <a:lnTo>
                    <a:pt x="985" y="486"/>
                  </a:lnTo>
                  <a:lnTo>
                    <a:pt x="1031" y="470"/>
                  </a:lnTo>
                  <a:lnTo>
                    <a:pt x="1047" y="482"/>
                  </a:lnTo>
                  <a:lnTo>
                    <a:pt x="1017" y="492"/>
                  </a:lnTo>
                  <a:lnTo>
                    <a:pt x="1041" y="497"/>
                  </a:lnTo>
                  <a:lnTo>
                    <a:pt x="1035" y="508"/>
                  </a:lnTo>
                  <a:lnTo>
                    <a:pt x="1053" y="527"/>
                  </a:lnTo>
                  <a:lnTo>
                    <a:pt x="1089" y="535"/>
                  </a:lnTo>
                  <a:lnTo>
                    <a:pt x="1098" y="510"/>
                  </a:lnTo>
                  <a:lnTo>
                    <a:pt x="1098" y="525"/>
                  </a:lnTo>
                  <a:lnTo>
                    <a:pt x="1108" y="523"/>
                  </a:lnTo>
                  <a:lnTo>
                    <a:pt x="1091" y="539"/>
                  </a:lnTo>
                  <a:lnTo>
                    <a:pt x="1049" y="550"/>
                  </a:lnTo>
                  <a:lnTo>
                    <a:pt x="1034" y="568"/>
                  </a:lnTo>
                  <a:lnTo>
                    <a:pt x="1022" y="552"/>
                  </a:lnTo>
                  <a:lnTo>
                    <a:pt x="1062" y="537"/>
                  </a:lnTo>
                  <a:lnTo>
                    <a:pt x="1041" y="538"/>
                  </a:lnTo>
                  <a:lnTo>
                    <a:pt x="1045" y="527"/>
                  </a:lnTo>
                  <a:lnTo>
                    <a:pt x="1010" y="540"/>
                  </a:lnTo>
                  <a:lnTo>
                    <a:pt x="1000" y="532"/>
                  </a:lnTo>
                  <a:lnTo>
                    <a:pt x="1000" y="510"/>
                  </a:lnTo>
                  <a:lnTo>
                    <a:pt x="977" y="503"/>
                  </a:lnTo>
                  <a:lnTo>
                    <a:pt x="960" y="539"/>
                  </a:lnTo>
                  <a:lnTo>
                    <a:pt x="891" y="552"/>
                  </a:lnTo>
                  <a:lnTo>
                    <a:pt x="843" y="566"/>
                  </a:lnTo>
                  <a:lnTo>
                    <a:pt x="835" y="572"/>
                  </a:lnTo>
                  <a:lnTo>
                    <a:pt x="846" y="574"/>
                  </a:lnTo>
                  <a:lnTo>
                    <a:pt x="849" y="579"/>
                  </a:lnTo>
                  <a:lnTo>
                    <a:pt x="791" y="594"/>
                  </a:lnTo>
                  <a:lnTo>
                    <a:pt x="794" y="587"/>
                  </a:lnTo>
                  <a:lnTo>
                    <a:pt x="798" y="582"/>
                  </a:lnTo>
                  <a:lnTo>
                    <a:pt x="800" y="576"/>
                  </a:lnTo>
                  <a:lnTo>
                    <a:pt x="809" y="571"/>
                  </a:lnTo>
                  <a:lnTo>
                    <a:pt x="810" y="539"/>
                  </a:lnTo>
                  <a:lnTo>
                    <a:pt x="820" y="550"/>
                  </a:lnTo>
                  <a:lnTo>
                    <a:pt x="837" y="546"/>
                  </a:lnTo>
                  <a:lnTo>
                    <a:pt x="823" y="527"/>
                  </a:lnTo>
                  <a:lnTo>
                    <a:pt x="773" y="518"/>
                  </a:lnTo>
                  <a:lnTo>
                    <a:pt x="770" y="518"/>
                  </a:lnTo>
                  <a:lnTo>
                    <a:pt x="765" y="493"/>
                  </a:lnTo>
                  <a:lnTo>
                    <a:pt x="755" y="495"/>
                  </a:lnTo>
                  <a:lnTo>
                    <a:pt x="746" y="480"/>
                  </a:lnTo>
                  <a:lnTo>
                    <a:pt x="735" y="479"/>
                  </a:lnTo>
                  <a:lnTo>
                    <a:pt x="735" y="488"/>
                  </a:lnTo>
                  <a:lnTo>
                    <a:pt x="722" y="475"/>
                  </a:lnTo>
                  <a:lnTo>
                    <a:pt x="699" y="493"/>
                  </a:lnTo>
                  <a:lnTo>
                    <a:pt x="634" y="480"/>
                  </a:lnTo>
                  <a:lnTo>
                    <a:pt x="626" y="468"/>
                  </a:lnTo>
                  <a:lnTo>
                    <a:pt x="625" y="476"/>
                  </a:lnTo>
                  <a:lnTo>
                    <a:pt x="249" y="476"/>
                  </a:lnTo>
                  <a:lnTo>
                    <a:pt x="244" y="462"/>
                  </a:lnTo>
                  <a:lnTo>
                    <a:pt x="224" y="458"/>
                  </a:lnTo>
                  <a:lnTo>
                    <a:pt x="225" y="449"/>
                  </a:lnTo>
                  <a:lnTo>
                    <a:pt x="183" y="437"/>
                  </a:lnTo>
                  <a:lnTo>
                    <a:pt x="188" y="431"/>
                  </a:lnTo>
                  <a:lnTo>
                    <a:pt x="178" y="414"/>
                  </a:lnTo>
                  <a:lnTo>
                    <a:pt x="168" y="413"/>
                  </a:lnTo>
                  <a:lnTo>
                    <a:pt x="145" y="377"/>
                  </a:lnTo>
                  <a:lnTo>
                    <a:pt x="149" y="366"/>
                  </a:lnTo>
                  <a:lnTo>
                    <a:pt x="150" y="347"/>
                  </a:lnTo>
                  <a:lnTo>
                    <a:pt x="124" y="336"/>
                  </a:lnTo>
                  <a:lnTo>
                    <a:pt x="76" y="273"/>
                  </a:lnTo>
                  <a:lnTo>
                    <a:pt x="48" y="291"/>
                  </a:lnTo>
                  <a:lnTo>
                    <a:pt x="41" y="283"/>
                  </a:lnTo>
                  <a:lnTo>
                    <a:pt x="39" y="281"/>
                  </a:lnTo>
                  <a:lnTo>
                    <a:pt x="26" y="264"/>
                  </a:lnTo>
                  <a:lnTo>
                    <a:pt x="0" y="264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7" name="Freeform 45">
              <a:extLst>
                <a:ext uri="{FF2B5EF4-FFF2-40B4-BE49-F238E27FC236}">
                  <a16:creationId xmlns:a16="http://schemas.microsoft.com/office/drawing/2014/main" id="{F1A276CA-E4AB-38FC-B4D8-113E279C3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0" y="2676"/>
              <a:ext cx="69" cy="40"/>
            </a:xfrm>
            <a:custGeom>
              <a:avLst/>
              <a:gdLst>
                <a:gd name="T0" fmla="*/ 0 w 69"/>
                <a:gd name="T1" fmla="*/ 0 h 40"/>
                <a:gd name="T2" fmla="*/ 0 w 69"/>
                <a:gd name="T3" fmla="*/ 0 h 40"/>
                <a:gd name="T4" fmla="*/ 37 w 69"/>
                <a:gd name="T5" fmla="*/ 8 h 40"/>
                <a:gd name="T6" fmla="*/ 68 w 69"/>
                <a:gd name="T7" fmla="*/ 39 h 40"/>
                <a:gd name="T8" fmla="*/ 50 w 69"/>
                <a:gd name="T9" fmla="*/ 33 h 40"/>
                <a:gd name="T10" fmla="*/ 0 w 69"/>
                <a:gd name="T11" fmla="*/ 0 h 40"/>
                <a:gd name="T12" fmla="*/ 0 w 69"/>
                <a:gd name="T13" fmla="*/ 0 h 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9"/>
                <a:gd name="T22" fmla="*/ 0 h 40"/>
                <a:gd name="T23" fmla="*/ 69 w 69"/>
                <a:gd name="T24" fmla="*/ 40 h 4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9" h="40">
                  <a:moveTo>
                    <a:pt x="0" y="0"/>
                  </a:moveTo>
                  <a:lnTo>
                    <a:pt x="0" y="0"/>
                  </a:lnTo>
                  <a:lnTo>
                    <a:pt x="37" y="8"/>
                  </a:lnTo>
                  <a:lnTo>
                    <a:pt x="68" y="39"/>
                  </a:lnTo>
                  <a:lnTo>
                    <a:pt x="50" y="33"/>
                  </a:lnTo>
                  <a:lnTo>
                    <a:pt x="0" y="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" name="Freeform 635">
              <a:extLst>
                <a:ext uri="{FF2B5EF4-FFF2-40B4-BE49-F238E27FC236}">
                  <a16:creationId xmlns:a16="http://schemas.microsoft.com/office/drawing/2014/main" id="{26D1DB65-5803-E919-4A23-4CEC338C6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" y="2165"/>
              <a:ext cx="144" cy="89"/>
            </a:xfrm>
            <a:custGeom>
              <a:avLst/>
              <a:gdLst>
                <a:gd name="T0" fmla="*/ 0 w 144"/>
                <a:gd name="T1" fmla="*/ 66 h 89"/>
                <a:gd name="T2" fmla="*/ 0 w 144"/>
                <a:gd name="T3" fmla="*/ 66 h 89"/>
                <a:gd name="T4" fmla="*/ 6 w 144"/>
                <a:gd name="T5" fmla="*/ 55 h 89"/>
                <a:gd name="T6" fmla="*/ 27 w 144"/>
                <a:gd name="T7" fmla="*/ 18 h 89"/>
                <a:gd name="T8" fmla="*/ 17 w 144"/>
                <a:gd name="T9" fmla="*/ 3 h 89"/>
                <a:gd name="T10" fmla="*/ 61 w 144"/>
                <a:gd name="T11" fmla="*/ 0 h 89"/>
                <a:gd name="T12" fmla="*/ 92 w 144"/>
                <a:gd name="T13" fmla="*/ 14 h 89"/>
                <a:gd name="T14" fmla="*/ 112 w 144"/>
                <a:gd name="T15" fmla="*/ 6 h 89"/>
                <a:gd name="T16" fmla="*/ 143 w 144"/>
                <a:gd name="T17" fmla="*/ 27 h 89"/>
                <a:gd name="T18" fmla="*/ 77 w 144"/>
                <a:gd name="T19" fmla="*/ 59 h 89"/>
                <a:gd name="T20" fmla="*/ 72 w 144"/>
                <a:gd name="T21" fmla="*/ 79 h 89"/>
                <a:gd name="T22" fmla="*/ 39 w 144"/>
                <a:gd name="T23" fmla="*/ 88 h 89"/>
                <a:gd name="T24" fmla="*/ 25 w 144"/>
                <a:gd name="T25" fmla="*/ 73 h 89"/>
                <a:gd name="T26" fmla="*/ 0 w 144"/>
                <a:gd name="T27" fmla="*/ 66 h 89"/>
                <a:gd name="T28" fmla="*/ 0 w 144"/>
                <a:gd name="T29" fmla="*/ 66 h 8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4"/>
                <a:gd name="T46" fmla="*/ 0 h 89"/>
                <a:gd name="T47" fmla="*/ 144 w 144"/>
                <a:gd name="T48" fmla="*/ 89 h 8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4" h="89">
                  <a:moveTo>
                    <a:pt x="0" y="66"/>
                  </a:moveTo>
                  <a:lnTo>
                    <a:pt x="0" y="66"/>
                  </a:lnTo>
                  <a:lnTo>
                    <a:pt x="6" y="55"/>
                  </a:lnTo>
                  <a:lnTo>
                    <a:pt x="27" y="18"/>
                  </a:lnTo>
                  <a:lnTo>
                    <a:pt x="17" y="3"/>
                  </a:lnTo>
                  <a:lnTo>
                    <a:pt x="61" y="0"/>
                  </a:lnTo>
                  <a:lnTo>
                    <a:pt x="92" y="14"/>
                  </a:lnTo>
                  <a:lnTo>
                    <a:pt x="112" y="6"/>
                  </a:lnTo>
                  <a:lnTo>
                    <a:pt x="143" y="27"/>
                  </a:lnTo>
                  <a:lnTo>
                    <a:pt x="77" y="59"/>
                  </a:lnTo>
                  <a:lnTo>
                    <a:pt x="72" y="79"/>
                  </a:lnTo>
                  <a:lnTo>
                    <a:pt x="39" y="88"/>
                  </a:lnTo>
                  <a:lnTo>
                    <a:pt x="25" y="73"/>
                  </a:lnTo>
                  <a:lnTo>
                    <a:pt x="0" y="66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9" name="Freeform 636">
              <a:extLst>
                <a:ext uri="{FF2B5EF4-FFF2-40B4-BE49-F238E27FC236}">
                  <a16:creationId xmlns:a16="http://schemas.microsoft.com/office/drawing/2014/main" id="{4DC9DFB4-FB75-3C8F-0C03-C66A1716B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3" y="2082"/>
              <a:ext cx="101" cy="51"/>
            </a:xfrm>
            <a:custGeom>
              <a:avLst/>
              <a:gdLst>
                <a:gd name="T0" fmla="*/ 0 w 101"/>
                <a:gd name="T1" fmla="*/ 38 h 51"/>
                <a:gd name="T2" fmla="*/ 0 w 101"/>
                <a:gd name="T3" fmla="*/ 38 h 51"/>
                <a:gd name="T4" fmla="*/ 23 w 101"/>
                <a:gd name="T5" fmla="*/ 45 h 51"/>
                <a:gd name="T6" fmla="*/ 29 w 101"/>
                <a:gd name="T7" fmla="*/ 37 h 51"/>
                <a:gd name="T8" fmla="*/ 34 w 101"/>
                <a:gd name="T9" fmla="*/ 50 h 51"/>
                <a:gd name="T10" fmla="*/ 45 w 101"/>
                <a:gd name="T11" fmla="*/ 45 h 51"/>
                <a:gd name="T12" fmla="*/ 43 w 101"/>
                <a:gd name="T13" fmla="*/ 33 h 51"/>
                <a:gd name="T14" fmla="*/ 54 w 101"/>
                <a:gd name="T15" fmla="*/ 39 h 51"/>
                <a:gd name="T16" fmla="*/ 60 w 101"/>
                <a:gd name="T17" fmla="*/ 21 h 51"/>
                <a:gd name="T18" fmla="*/ 69 w 101"/>
                <a:gd name="T19" fmla="*/ 20 h 51"/>
                <a:gd name="T20" fmla="*/ 72 w 101"/>
                <a:gd name="T21" fmla="*/ 37 h 51"/>
                <a:gd name="T22" fmla="*/ 94 w 101"/>
                <a:gd name="T23" fmla="*/ 24 h 51"/>
                <a:gd name="T24" fmla="*/ 87 w 101"/>
                <a:gd name="T25" fmla="*/ 10 h 51"/>
                <a:gd name="T26" fmla="*/ 100 w 101"/>
                <a:gd name="T27" fmla="*/ 7 h 51"/>
                <a:gd name="T28" fmla="*/ 86 w 101"/>
                <a:gd name="T29" fmla="*/ 0 h 51"/>
                <a:gd name="T30" fmla="*/ 50 w 101"/>
                <a:gd name="T31" fmla="*/ 7 h 51"/>
                <a:gd name="T32" fmla="*/ 0 w 101"/>
                <a:gd name="T33" fmla="*/ 38 h 51"/>
                <a:gd name="T34" fmla="*/ 0 w 101"/>
                <a:gd name="T35" fmla="*/ 38 h 5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1"/>
                <a:gd name="T55" fmla="*/ 0 h 51"/>
                <a:gd name="T56" fmla="*/ 101 w 101"/>
                <a:gd name="T57" fmla="*/ 51 h 5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1" h="51">
                  <a:moveTo>
                    <a:pt x="0" y="38"/>
                  </a:moveTo>
                  <a:lnTo>
                    <a:pt x="0" y="38"/>
                  </a:lnTo>
                  <a:lnTo>
                    <a:pt x="23" y="45"/>
                  </a:lnTo>
                  <a:lnTo>
                    <a:pt x="29" y="37"/>
                  </a:lnTo>
                  <a:lnTo>
                    <a:pt x="34" y="50"/>
                  </a:lnTo>
                  <a:lnTo>
                    <a:pt x="45" y="45"/>
                  </a:lnTo>
                  <a:lnTo>
                    <a:pt x="43" y="33"/>
                  </a:lnTo>
                  <a:lnTo>
                    <a:pt x="54" y="39"/>
                  </a:lnTo>
                  <a:lnTo>
                    <a:pt x="60" y="21"/>
                  </a:lnTo>
                  <a:lnTo>
                    <a:pt x="69" y="20"/>
                  </a:lnTo>
                  <a:lnTo>
                    <a:pt x="72" y="37"/>
                  </a:lnTo>
                  <a:lnTo>
                    <a:pt x="94" y="24"/>
                  </a:lnTo>
                  <a:lnTo>
                    <a:pt x="87" y="10"/>
                  </a:lnTo>
                  <a:lnTo>
                    <a:pt x="100" y="7"/>
                  </a:lnTo>
                  <a:lnTo>
                    <a:pt x="86" y="0"/>
                  </a:lnTo>
                  <a:lnTo>
                    <a:pt x="50" y="7"/>
                  </a:lnTo>
                  <a:lnTo>
                    <a:pt x="0" y="38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0" name="Freeform 637">
              <a:extLst>
                <a:ext uri="{FF2B5EF4-FFF2-40B4-BE49-F238E27FC236}">
                  <a16:creationId xmlns:a16="http://schemas.microsoft.com/office/drawing/2014/main" id="{F85059D6-093B-5796-092E-CBFD1F6A4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" y="2196"/>
              <a:ext cx="247" cy="122"/>
            </a:xfrm>
            <a:custGeom>
              <a:avLst/>
              <a:gdLst>
                <a:gd name="T0" fmla="*/ 0 w 247"/>
                <a:gd name="T1" fmla="*/ 39 h 122"/>
                <a:gd name="T2" fmla="*/ 0 w 247"/>
                <a:gd name="T3" fmla="*/ 39 h 122"/>
                <a:gd name="T4" fmla="*/ 12 w 247"/>
                <a:gd name="T5" fmla="*/ 29 h 122"/>
                <a:gd name="T6" fmla="*/ 6 w 247"/>
                <a:gd name="T7" fmla="*/ 24 h 122"/>
                <a:gd name="T8" fmla="*/ 35 w 247"/>
                <a:gd name="T9" fmla="*/ 7 h 122"/>
                <a:gd name="T10" fmla="*/ 59 w 247"/>
                <a:gd name="T11" fmla="*/ 0 h 122"/>
                <a:gd name="T12" fmla="*/ 67 w 247"/>
                <a:gd name="T13" fmla="*/ 13 h 122"/>
                <a:gd name="T14" fmla="*/ 59 w 247"/>
                <a:gd name="T15" fmla="*/ 20 h 122"/>
                <a:gd name="T16" fmla="*/ 81 w 247"/>
                <a:gd name="T17" fmla="*/ 10 h 122"/>
                <a:gd name="T18" fmla="*/ 105 w 247"/>
                <a:gd name="T19" fmla="*/ 18 h 122"/>
                <a:gd name="T20" fmla="*/ 96 w 247"/>
                <a:gd name="T21" fmla="*/ 27 h 122"/>
                <a:gd name="T22" fmla="*/ 124 w 247"/>
                <a:gd name="T23" fmla="*/ 21 h 122"/>
                <a:gd name="T24" fmla="*/ 116 w 247"/>
                <a:gd name="T25" fmla="*/ 11 h 122"/>
                <a:gd name="T26" fmla="*/ 127 w 247"/>
                <a:gd name="T27" fmla="*/ 12 h 122"/>
                <a:gd name="T28" fmla="*/ 149 w 247"/>
                <a:gd name="T29" fmla="*/ 44 h 122"/>
                <a:gd name="T30" fmla="*/ 157 w 247"/>
                <a:gd name="T31" fmla="*/ 37 h 122"/>
                <a:gd name="T32" fmla="*/ 148 w 247"/>
                <a:gd name="T33" fmla="*/ 1 h 122"/>
                <a:gd name="T34" fmla="*/ 166 w 247"/>
                <a:gd name="T35" fmla="*/ 2 h 122"/>
                <a:gd name="T36" fmla="*/ 186 w 247"/>
                <a:gd name="T37" fmla="*/ 14 h 122"/>
                <a:gd name="T38" fmla="*/ 197 w 247"/>
                <a:gd name="T39" fmla="*/ 58 h 122"/>
                <a:gd name="T40" fmla="*/ 246 w 247"/>
                <a:gd name="T41" fmla="*/ 80 h 122"/>
                <a:gd name="T42" fmla="*/ 245 w 247"/>
                <a:gd name="T43" fmla="*/ 91 h 122"/>
                <a:gd name="T44" fmla="*/ 232 w 247"/>
                <a:gd name="T45" fmla="*/ 86 h 122"/>
                <a:gd name="T46" fmla="*/ 217 w 247"/>
                <a:gd name="T47" fmla="*/ 94 h 122"/>
                <a:gd name="T48" fmla="*/ 238 w 247"/>
                <a:gd name="T49" fmla="*/ 104 h 122"/>
                <a:gd name="T50" fmla="*/ 219 w 247"/>
                <a:gd name="T51" fmla="*/ 114 h 122"/>
                <a:gd name="T52" fmla="*/ 187 w 247"/>
                <a:gd name="T53" fmla="*/ 109 h 122"/>
                <a:gd name="T54" fmla="*/ 169 w 247"/>
                <a:gd name="T55" fmla="*/ 97 h 122"/>
                <a:gd name="T56" fmla="*/ 128 w 247"/>
                <a:gd name="T57" fmla="*/ 117 h 122"/>
                <a:gd name="T58" fmla="*/ 78 w 247"/>
                <a:gd name="T59" fmla="*/ 121 h 122"/>
                <a:gd name="T60" fmla="*/ 68 w 247"/>
                <a:gd name="T61" fmla="*/ 102 h 122"/>
                <a:gd name="T62" fmla="*/ 40 w 247"/>
                <a:gd name="T63" fmla="*/ 100 h 122"/>
                <a:gd name="T64" fmla="*/ 22 w 247"/>
                <a:gd name="T65" fmla="*/ 84 h 122"/>
                <a:gd name="T66" fmla="*/ 93 w 247"/>
                <a:gd name="T67" fmla="*/ 74 h 122"/>
                <a:gd name="T68" fmla="*/ 19 w 247"/>
                <a:gd name="T69" fmla="*/ 69 h 122"/>
                <a:gd name="T70" fmla="*/ 9 w 247"/>
                <a:gd name="T71" fmla="*/ 59 h 122"/>
                <a:gd name="T72" fmla="*/ 47 w 247"/>
                <a:gd name="T73" fmla="*/ 48 h 122"/>
                <a:gd name="T74" fmla="*/ 12 w 247"/>
                <a:gd name="T75" fmla="*/ 49 h 122"/>
                <a:gd name="T76" fmla="*/ 15 w 247"/>
                <a:gd name="T77" fmla="*/ 44 h 122"/>
                <a:gd name="T78" fmla="*/ 0 w 247"/>
                <a:gd name="T79" fmla="*/ 39 h 122"/>
                <a:gd name="T80" fmla="*/ 0 w 247"/>
                <a:gd name="T81" fmla="*/ 39 h 12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47"/>
                <a:gd name="T124" fmla="*/ 0 h 122"/>
                <a:gd name="T125" fmla="*/ 247 w 247"/>
                <a:gd name="T126" fmla="*/ 122 h 12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47" h="122">
                  <a:moveTo>
                    <a:pt x="0" y="39"/>
                  </a:moveTo>
                  <a:lnTo>
                    <a:pt x="0" y="39"/>
                  </a:lnTo>
                  <a:lnTo>
                    <a:pt x="12" y="29"/>
                  </a:lnTo>
                  <a:lnTo>
                    <a:pt x="6" y="24"/>
                  </a:lnTo>
                  <a:lnTo>
                    <a:pt x="35" y="7"/>
                  </a:lnTo>
                  <a:lnTo>
                    <a:pt x="59" y="0"/>
                  </a:lnTo>
                  <a:lnTo>
                    <a:pt x="67" y="13"/>
                  </a:lnTo>
                  <a:lnTo>
                    <a:pt x="59" y="20"/>
                  </a:lnTo>
                  <a:lnTo>
                    <a:pt x="81" y="10"/>
                  </a:lnTo>
                  <a:lnTo>
                    <a:pt x="105" y="18"/>
                  </a:lnTo>
                  <a:lnTo>
                    <a:pt x="96" y="27"/>
                  </a:lnTo>
                  <a:lnTo>
                    <a:pt x="124" y="21"/>
                  </a:lnTo>
                  <a:lnTo>
                    <a:pt x="116" y="11"/>
                  </a:lnTo>
                  <a:lnTo>
                    <a:pt x="127" y="12"/>
                  </a:lnTo>
                  <a:lnTo>
                    <a:pt x="149" y="44"/>
                  </a:lnTo>
                  <a:lnTo>
                    <a:pt x="157" y="37"/>
                  </a:lnTo>
                  <a:lnTo>
                    <a:pt x="148" y="1"/>
                  </a:lnTo>
                  <a:lnTo>
                    <a:pt x="166" y="2"/>
                  </a:lnTo>
                  <a:lnTo>
                    <a:pt x="186" y="14"/>
                  </a:lnTo>
                  <a:lnTo>
                    <a:pt x="197" y="58"/>
                  </a:lnTo>
                  <a:lnTo>
                    <a:pt x="246" y="80"/>
                  </a:lnTo>
                  <a:lnTo>
                    <a:pt x="245" y="91"/>
                  </a:lnTo>
                  <a:lnTo>
                    <a:pt x="232" y="86"/>
                  </a:lnTo>
                  <a:lnTo>
                    <a:pt x="217" y="94"/>
                  </a:lnTo>
                  <a:lnTo>
                    <a:pt x="238" y="104"/>
                  </a:lnTo>
                  <a:lnTo>
                    <a:pt x="219" y="114"/>
                  </a:lnTo>
                  <a:lnTo>
                    <a:pt x="187" y="109"/>
                  </a:lnTo>
                  <a:lnTo>
                    <a:pt x="169" y="97"/>
                  </a:lnTo>
                  <a:lnTo>
                    <a:pt x="128" y="117"/>
                  </a:lnTo>
                  <a:lnTo>
                    <a:pt x="78" y="121"/>
                  </a:lnTo>
                  <a:lnTo>
                    <a:pt x="68" y="102"/>
                  </a:lnTo>
                  <a:lnTo>
                    <a:pt x="40" y="100"/>
                  </a:lnTo>
                  <a:lnTo>
                    <a:pt x="22" y="84"/>
                  </a:lnTo>
                  <a:lnTo>
                    <a:pt x="93" y="74"/>
                  </a:lnTo>
                  <a:lnTo>
                    <a:pt x="19" y="69"/>
                  </a:lnTo>
                  <a:lnTo>
                    <a:pt x="9" y="59"/>
                  </a:lnTo>
                  <a:lnTo>
                    <a:pt x="47" y="48"/>
                  </a:lnTo>
                  <a:lnTo>
                    <a:pt x="12" y="49"/>
                  </a:lnTo>
                  <a:lnTo>
                    <a:pt x="15" y="44"/>
                  </a:lnTo>
                  <a:lnTo>
                    <a:pt x="0" y="39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1" name="Freeform 638">
              <a:extLst>
                <a:ext uri="{FF2B5EF4-FFF2-40B4-BE49-F238E27FC236}">
                  <a16:creationId xmlns:a16="http://schemas.microsoft.com/office/drawing/2014/main" id="{61D7F557-28F9-BBF8-9391-7ACFE485B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5" y="2101"/>
              <a:ext cx="168" cy="68"/>
            </a:xfrm>
            <a:custGeom>
              <a:avLst/>
              <a:gdLst>
                <a:gd name="T0" fmla="*/ 0 w 168"/>
                <a:gd name="T1" fmla="*/ 44 h 68"/>
                <a:gd name="T2" fmla="*/ 0 w 168"/>
                <a:gd name="T3" fmla="*/ 44 h 68"/>
                <a:gd name="T4" fmla="*/ 6 w 168"/>
                <a:gd name="T5" fmla="*/ 38 h 68"/>
                <a:gd name="T6" fmla="*/ 34 w 168"/>
                <a:gd name="T7" fmla="*/ 32 h 68"/>
                <a:gd name="T8" fmla="*/ 6 w 168"/>
                <a:gd name="T9" fmla="*/ 33 h 68"/>
                <a:gd name="T10" fmla="*/ 39 w 168"/>
                <a:gd name="T11" fmla="*/ 27 h 68"/>
                <a:gd name="T12" fmla="*/ 12 w 168"/>
                <a:gd name="T13" fmla="*/ 27 h 68"/>
                <a:gd name="T14" fmla="*/ 14 w 168"/>
                <a:gd name="T15" fmla="*/ 19 h 68"/>
                <a:gd name="T16" fmla="*/ 40 w 168"/>
                <a:gd name="T17" fmla="*/ 19 h 68"/>
                <a:gd name="T18" fmla="*/ 22 w 168"/>
                <a:gd name="T19" fmla="*/ 17 h 68"/>
                <a:gd name="T20" fmla="*/ 36 w 168"/>
                <a:gd name="T21" fmla="*/ 10 h 68"/>
                <a:gd name="T22" fmla="*/ 70 w 168"/>
                <a:gd name="T23" fmla="*/ 19 h 68"/>
                <a:gd name="T24" fmla="*/ 87 w 168"/>
                <a:gd name="T25" fmla="*/ 36 h 68"/>
                <a:gd name="T26" fmla="*/ 118 w 168"/>
                <a:gd name="T27" fmla="*/ 37 h 68"/>
                <a:gd name="T28" fmla="*/ 106 w 168"/>
                <a:gd name="T29" fmla="*/ 27 h 68"/>
                <a:gd name="T30" fmla="*/ 113 w 168"/>
                <a:gd name="T31" fmla="*/ 20 h 68"/>
                <a:gd name="T32" fmla="*/ 99 w 168"/>
                <a:gd name="T33" fmla="*/ 12 h 68"/>
                <a:gd name="T34" fmla="*/ 121 w 168"/>
                <a:gd name="T35" fmla="*/ 0 h 68"/>
                <a:gd name="T36" fmla="*/ 131 w 168"/>
                <a:gd name="T37" fmla="*/ 14 h 68"/>
                <a:gd name="T38" fmla="*/ 124 w 168"/>
                <a:gd name="T39" fmla="*/ 21 h 68"/>
                <a:gd name="T40" fmla="*/ 136 w 168"/>
                <a:gd name="T41" fmla="*/ 23 h 68"/>
                <a:gd name="T42" fmla="*/ 132 w 168"/>
                <a:gd name="T43" fmla="*/ 31 h 68"/>
                <a:gd name="T44" fmla="*/ 147 w 168"/>
                <a:gd name="T45" fmla="*/ 33 h 68"/>
                <a:gd name="T46" fmla="*/ 156 w 168"/>
                <a:gd name="T47" fmla="*/ 23 h 68"/>
                <a:gd name="T48" fmla="*/ 167 w 168"/>
                <a:gd name="T49" fmla="*/ 35 h 68"/>
                <a:gd name="T50" fmla="*/ 158 w 168"/>
                <a:gd name="T51" fmla="*/ 50 h 68"/>
                <a:gd name="T52" fmla="*/ 122 w 168"/>
                <a:gd name="T53" fmla="*/ 49 h 68"/>
                <a:gd name="T54" fmla="*/ 67 w 168"/>
                <a:gd name="T55" fmla="*/ 67 h 68"/>
                <a:gd name="T56" fmla="*/ 45 w 168"/>
                <a:gd name="T57" fmla="*/ 57 h 68"/>
                <a:gd name="T58" fmla="*/ 91 w 168"/>
                <a:gd name="T59" fmla="*/ 42 h 68"/>
                <a:gd name="T60" fmla="*/ 51 w 168"/>
                <a:gd name="T61" fmla="*/ 51 h 68"/>
                <a:gd name="T62" fmla="*/ 58 w 168"/>
                <a:gd name="T63" fmla="*/ 39 h 68"/>
                <a:gd name="T64" fmla="*/ 38 w 168"/>
                <a:gd name="T65" fmla="*/ 52 h 68"/>
                <a:gd name="T66" fmla="*/ 14 w 168"/>
                <a:gd name="T67" fmla="*/ 49 h 68"/>
                <a:gd name="T68" fmla="*/ 0 w 168"/>
                <a:gd name="T69" fmla="*/ 44 h 68"/>
                <a:gd name="T70" fmla="*/ 0 w 168"/>
                <a:gd name="T71" fmla="*/ 44 h 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68"/>
                <a:gd name="T109" fmla="*/ 0 h 68"/>
                <a:gd name="T110" fmla="*/ 168 w 168"/>
                <a:gd name="T111" fmla="*/ 68 h 6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68" h="68">
                  <a:moveTo>
                    <a:pt x="0" y="44"/>
                  </a:moveTo>
                  <a:lnTo>
                    <a:pt x="0" y="44"/>
                  </a:lnTo>
                  <a:lnTo>
                    <a:pt x="6" y="38"/>
                  </a:lnTo>
                  <a:lnTo>
                    <a:pt x="34" y="32"/>
                  </a:lnTo>
                  <a:lnTo>
                    <a:pt x="6" y="33"/>
                  </a:lnTo>
                  <a:lnTo>
                    <a:pt x="39" y="27"/>
                  </a:lnTo>
                  <a:lnTo>
                    <a:pt x="12" y="27"/>
                  </a:lnTo>
                  <a:lnTo>
                    <a:pt x="14" y="19"/>
                  </a:lnTo>
                  <a:lnTo>
                    <a:pt x="40" y="19"/>
                  </a:lnTo>
                  <a:lnTo>
                    <a:pt x="22" y="17"/>
                  </a:lnTo>
                  <a:lnTo>
                    <a:pt x="36" y="10"/>
                  </a:lnTo>
                  <a:lnTo>
                    <a:pt x="70" y="19"/>
                  </a:lnTo>
                  <a:lnTo>
                    <a:pt x="87" y="36"/>
                  </a:lnTo>
                  <a:lnTo>
                    <a:pt x="118" y="37"/>
                  </a:lnTo>
                  <a:lnTo>
                    <a:pt x="106" y="27"/>
                  </a:lnTo>
                  <a:lnTo>
                    <a:pt x="113" y="20"/>
                  </a:lnTo>
                  <a:lnTo>
                    <a:pt x="99" y="12"/>
                  </a:lnTo>
                  <a:lnTo>
                    <a:pt x="121" y="0"/>
                  </a:lnTo>
                  <a:lnTo>
                    <a:pt x="131" y="14"/>
                  </a:lnTo>
                  <a:lnTo>
                    <a:pt x="124" y="21"/>
                  </a:lnTo>
                  <a:lnTo>
                    <a:pt x="136" y="23"/>
                  </a:lnTo>
                  <a:lnTo>
                    <a:pt x="132" y="31"/>
                  </a:lnTo>
                  <a:lnTo>
                    <a:pt x="147" y="33"/>
                  </a:lnTo>
                  <a:lnTo>
                    <a:pt x="156" y="23"/>
                  </a:lnTo>
                  <a:lnTo>
                    <a:pt x="167" y="35"/>
                  </a:lnTo>
                  <a:lnTo>
                    <a:pt x="158" y="50"/>
                  </a:lnTo>
                  <a:lnTo>
                    <a:pt x="122" y="49"/>
                  </a:lnTo>
                  <a:lnTo>
                    <a:pt x="67" y="67"/>
                  </a:lnTo>
                  <a:lnTo>
                    <a:pt x="45" y="57"/>
                  </a:lnTo>
                  <a:lnTo>
                    <a:pt x="91" y="42"/>
                  </a:lnTo>
                  <a:lnTo>
                    <a:pt x="51" y="51"/>
                  </a:lnTo>
                  <a:lnTo>
                    <a:pt x="58" y="39"/>
                  </a:lnTo>
                  <a:lnTo>
                    <a:pt x="38" y="52"/>
                  </a:lnTo>
                  <a:lnTo>
                    <a:pt x="14" y="49"/>
                  </a:lnTo>
                  <a:lnTo>
                    <a:pt x="0" y="44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2" name="Freeform 639">
              <a:extLst>
                <a:ext uri="{FF2B5EF4-FFF2-40B4-BE49-F238E27FC236}">
                  <a16:creationId xmlns:a16="http://schemas.microsoft.com/office/drawing/2014/main" id="{DFD42EB3-EAE6-E363-D909-4141E8685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31"/>
              <a:ext cx="87" cy="43"/>
            </a:xfrm>
            <a:custGeom>
              <a:avLst/>
              <a:gdLst>
                <a:gd name="T0" fmla="*/ 0 w 87"/>
                <a:gd name="T1" fmla="*/ 0 h 43"/>
                <a:gd name="T2" fmla="*/ 0 w 87"/>
                <a:gd name="T3" fmla="*/ 0 h 43"/>
                <a:gd name="T4" fmla="*/ 7 w 87"/>
                <a:gd name="T5" fmla="*/ 15 h 43"/>
                <a:gd name="T6" fmla="*/ 28 w 87"/>
                <a:gd name="T7" fmla="*/ 15 h 43"/>
                <a:gd name="T8" fmla="*/ 21 w 87"/>
                <a:gd name="T9" fmla="*/ 18 h 43"/>
                <a:gd name="T10" fmla="*/ 26 w 87"/>
                <a:gd name="T11" fmla="*/ 23 h 43"/>
                <a:gd name="T12" fmla="*/ 8 w 87"/>
                <a:gd name="T13" fmla="*/ 25 h 43"/>
                <a:gd name="T14" fmla="*/ 38 w 87"/>
                <a:gd name="T15" fmla="*/ 31 h 43"/>
                <a:gd name="T16" fmla="*/ 86 w 87"/>
                <a:gd name="T17" fmla="*/ 42 h 43"/>
                <a:gd name="T18" fmla="*/ 79 w 87"/>
                <a:gd name="T19" fmla="*/ 17 h 43"/>
                <a:gd name="T20" fmla="*/ 44 w 87"/>
                <a:gd name="T21" fmla="*/ 3 h 43"/>
                <a:gd name="T22" fmla="*/ 33 w 87"/>
                <a:gd name="T23" fmla="*/ 9 h 43"/>
                <a:gd name="T24" fmla="*/ 30 w 87"/>
                <a:gd name="T25" fmla="*/ 0 h 43"/>
                <a:gd name="T26" fmla="*/ 0 w 87"/>
                <a:gd name="T27" fmla="*/ 0 h 43"/>
                <a:gd name="T28" fmla="*/ 0 w 87"/>
                <a:gd name="T29" fmla="*/ 0 h 4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7"/>
                <a:gd name="T46" fmla="*/ 0 h 43"/>
                <a:gd name="T47" fmla="*/ 87 w 87"/>
                <a:gd name="T48" fmla="*/ 43 h 4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7" h="43">
                  <a:moveTo>
                    <a:pt x="0" y="0"/>
                  </a:moveTo>
                  <a:lnTo>
                    <a:pt x="0" y="0"/>
                  </a:lnTo>
                  <a:lnTo>
                    <a:pt x="7" y="15"/>
                  </a:lnTo>
                  <a:lnTo>
                    <a:pt x="28" y="15"/>
                  </a:lnTo>
                  <a:lnTo>
                    <a:pt x="21" y="18"/>
                  </a:lnTo>
                  <a:lnTo>
                    <a:pt x="26" y="23"/>
                  </a:lnTo>
                  <a:lnTo>
                    <a:pt x="8" y="25"/>
                  </a:lnTo>
                  <a:lnTo>
                    <a:pt x="38" y="31"/>
                  </a:lnTo>
                  <a:lnTo>
                    <a:pt x="86" y="42"/>
                  </a:lnTo>
                  <a:lnTo>
                    <a:pt x="79" y="17"/>
                  </a:lnTo>
                  <a:lnTo>
                    <a:pt x="44" y="3"/>
                  </a:lnTo>
                  <a:lnTo>
                    <a:pt x="33" y="9"/>
                  </a:lnTo>
                  <a:lnTo>
                    <a:pt x="30" y="0"/>
                  </a:lnTo>
                  <a:lnTo>
                    <a:pt x="0" y="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3" name="Freeform 640">
              <a:extLst>
                <a:ext uri="{FF2B5EF4-FFF2-40B4-BE49-F238E27FC236}">
                  <a16:creationId xmlns:a16="http://schemas.microsoft.com/office/drawing/2014/main" id="{20CD1F3E-E90A-B2AC-6439-1979BE8404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" y="2110"/>
              <a:ext cx="70" cy="43"/>
            </a:xfrm>
            <a:custGeom>
              <a:avLst/>
              <a:gdLst>
                <a:gd name="T0" fmla="*/ 0 w 70"/>
                <a:gd name="T1" fmla="*/ 28 h 43"/>
                <a:gd name="T2" fmla="*/ 0 w 70"/>
                <a:gd name="T3" fmla="*/ 28 h 43"/>
                <a:gd name="T4" fmla="*/ 8 w 70"/>
                <a:gd name="T5" fmla="*/ 18 h 43"/>
                <a:gd name="T6" fmla="*/ 21 w 70"/>
                <a:gd name="T7" fmla="*/ 19 h 43"/>
                <a:gd name="T8" fmla="*/ 4 w 70"/>
                <a:gd name="T9" fmla="*/ 9 h 43"/>
                <a:gd name="T10" fmla="*/ 8 w 70"/>
                <a:gd name="T11" fmla="*/ 3 h 43"/>
                <a:gd name="T12" fmla="*/ 36 w 70"/>
                <a:gd name="T13" fmla="*/ 17 h 43"/>
                <a:gd name="T14" fmla="*/ 20 w 70"/>
                <a:gd name="T15" fmla="*/ 2 h 43"/>
                <a:gd name="T16" fmla="*/ 62 w 70"/>
                <a:gd name="T17" fmla="*/ 0 h 43"/>
                <a:gd name="T18" fmla="*/ 69 w 70"/>
                <a:gd name="T19" fmla="*/ 31 h 43"/>
                <a:gd name="T20" fmla="*/ 61 w 70"/>
                <a:gd name="T21" fmla="*/ 26 h 43"/>
                <a:gd name="T22" fmla="*/ 60 w 70"/>
                <a:gd name="T23" fmla="*/ 42 h 43"/>
                <a:gd name="T24" fmla="*/ 27 w 70"/>
                <a:gd name="T25" fmla="*/ 41 h 43"/>
                <a:gd name="T26" fmla="*/ 33 w 70"/>
                <a:gd name="T27" fmla="*/ 36 h 43"/>
                <a:gd name="T28" fmla="*/ 24 w 70"/>
                <a:gd name="T29" fmla="*/ 30 h 43"/>
                <a:gd name="T30" fmla="*/ 48 w 70"/>
                <a:gd name="T31" fmla="*/ 22 h 43"/>
                <a:gd name="T32" fmla="*/ 0 w 70"/>
                <a:gd name="T33" fmla="*/ 28 h 43"/>
                <a:gd name="T34" fmla="*/ 0 w 70"/>
                <a:gd name="T35" fmla="*/ 2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0"/>
                <a:gd name="T55" fmla="*/ 0 h 43"/>
                <a:gd name="T56" fmla="*/ 70 w 70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0" h="43">
                  <a:moveTo>
                    <a:pt x="0" y="28"/>
                  </a:moveTo>
                  <a:lnTo>
                    <a:pt x="0" y="28"/>
                  </a:lnTo>
                  <a:lnTo>
                    <a:pt x="8" y="18"/>
                  </a:lnTo>
                  <a:lnTo>
                    <a:pt x="21" y="19"/>
                  </a:lnTo>
                  <a:lnTo>
                    <a:pt x="4" y="9"/>
                  </a:lnTo>
                  <a:lnTo>
                    <a:pt x="8" y="3"/>
                  </a:lnTo>
                  <a:lnTo>
                    <a:pt x="36" y="17"/>
                  </a:lnTo>
                  <a:lnTo>
                    <a:pt x="20" y="2"/>
                  </a:lnTo>
                  <a:lnTo>
                    <a:pt x="62" y="0"/>
                  </a:lnTo>
                  <a:lnTo>
                    <a:pt x="69" y="31"/>
                  </a:lnTo>
                  <a:lnTo>
                    <a:pt x="61" y="26"/>
                  </a:lnTo>
                  <a:lnTo>
                    <a:pt x="60" y="42"/>
                  </a:lnTo>
                  <a:lnTo>
                    <a:pt x="27" y="41"/>
                  </a:lnTo>
                  <a:lnTo>
                    <a:pt x="33" y="36"/>
                  </a:lnTo>
                  <a:lnTo>
                    <a:pt x="24" y="30"/>
                  </a:lnTo>
                  <a:lnTo>
                    <a:pt x="48" y="22"/>
                  </a:lnTo>
                  <a:lnTo>
                    <a:pt x="0" y="28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4" name="Freeform 641">
              <a:extLst>
                <a:ext uri="{FF2B5EF4-FFF2-40B4-BE49-F238E27FC236}">
                  <a16:creationId xmlns:a16="http://schemas.microsoft.com/office/drawing/2014/main" id="{C768CAF1-D873-E4BA-1AC4-23EDAEFAC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3" y="2183"/>
              <a:ext cx="82" cy="67"/>
            </a:xfrm>
            <a:custGeom>
              <a:avLst/>
              <a:gdLst>
                <a:gd name="T0" fmla="*/ 0 w 82"/>
                <a:gd name="T1" fmla="*/ 33 h 67"/>
                <a:gd name="T2" fmla="*/ 0 w 82"/>
                <a:gd name="T3" fmla="*/ 33 h 67"/>
                <a:gd name="T4" fmla="*/ 4 w 82"/>
                <a:gd name="T5" fmla="*/ 24 h 67"/>
                <a:gd name="T6" fmla="*/ 31 w 82"/>
                <a:gd name="T7" fmla="*/ 29 h 67"/>
                <a:gd name="T8" fmla="*/ 27 w 82"/>
                <a:gd name="T9" fmla="*/ 19 h 67"/>
                <a:gd name="T10" fmla="*/ 34 w 82"/>
                <a:gd name="T11" fmla="*/ 19 h 67"/>
                <a:gd name="T12" fmla="*/ 16 w 82"/>
                <a:gd name="T13" fmla="*/ 14 h 67"/>
                <a:gd name="T14" fmla="*/ 25 w 82"/>
                <a:gd name="T15" fmla="*/ 11 h 67"/>
                <a:gd name="T16" fmla="*/ 17 w 82"/>
                <a:gd name="T17" fmla="*/ 5 h 67"/>
                <a:gd name="T18" fmla="*/ 68 w 82"/>
                <a:gd name="T19" fmla="*/ 0 h 67"/>
                <a:gd name="T20" fmla="*/ 70 w 82"/>
                <a:gd name="T21" fmla="*/ 14 h 67"/>
                <a:gd name="T22" fmla="*/ 54 w 82"/>
                <a:gd name="T23" fmla="*/ 26 h 67"/>
                <a:gd name="T24" fmla="*/ 78 w 82"/>
                <a:gd name="T25" fmla="*/ 29 h 67"/>
                <a:gd name="T26" fmla="*/ 81 w 82"/>
                <a:gd name="T27" fmla="*/ 53 h 67"/>
                <a:gd name="T28" fmla="*/ 46 w 82"/>
                <a:gd name="T29" fmla="*/ 66 h 67"/>
                <a:gd name="T30" fmla="*/ 31 w 82"/>
                <a:gd name="T31" fmla="*/ 47 h 67"/>
                <a:gd name="T32" fmla="*/ 0 w 82"/>
                <a:gd name="T33" fmla="*/ 33 h 67"/>
                <a:gd name="T34" fmla="*/ 0 w 82"/>
                <a:gd name="T35" fmla="*/ 33 h 6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2"/>
                <a:gd name="T55" fmla="*/ 0 h 67"/>
                <a:gd name="T56" fmla="*/ 82 w 82"/>
                <a:gd name="T57" fmla="*/ 67 h 6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2" h="67">
                  <a:moveTo>
                    <a:pt x="0" y="33"/>
                  </a:moveTo>
                  <a:lnTo>
                    <a:pt x="0" y="33"/>
                  </a:lnTo>
                  <a:lnTo>
                    <a:pt x="4" y="24"/>
                  </a:lnTo>
                  <a:lnTo>
                    <a:pt x="31" y="29"/>
                  </a:lnTo>
                  <a:lnTo>
                    <a:pt x="27" y="19"/>
                  </a:lnTo>
                  <a:lnTo>
                    <a:pt x="34" y="19"/>
                  </a:lnTo>
                  <a:lnTo>
                    <a:pt x="16" y="14"/>
                  </a:lnTo>
                  <a:lnTo>
                    <a:pt x="25" y="11"/>
                  </a:lnTo>
                  <a:lnTo>
                    <a:pt x="17" y="5"/>
                  </a:lnTo>
                  <a:lnTo>
                    <a:pt x="68" y="0"/>
                  </a:lnTo>
                  <a:lnTo>
                    <a:pt x="70" y="14"/>
                  </a:lnTo>
                  <a:lnTo>
                    <a:pt x="54" y="26"/>
                  </a:lnTo>
                  <a:lnTo>
                    <a:pt x="78" y="29"/>
                  </a:lnTo>
                  <a:lnTo>
                    <a:pt x="81" y="53"/>
                  </a:lnTo>
                  <a:lnTo>
                    <a:pt x="46" y="66"/>
                  </a:lnTo>
                  <a:lnTo>
                    <a:pt x="31" y="47"/>
                  </a:lnTo>
                  <a:lnTo>
                    <a:pt x="0" y="33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5" name="Freeform 642">
              <a:extLst>
                <a:ext uri="{FF2B5EF4-FFF2-40B4-BE49-F238E27FC236}">
                  <a16:creationId xmlns:a16="http://schemas.microsoft.com/office/drawing/2014/main" id="{5DC733A9-CD76-55FC-3C61-6B3C3929E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0" y="2042"/>
              <a:ext cx="49" cy="34"/>
            </a:xfrm>
            <a:custGeom>
              <a:avLst/>
              <a:gdLst>
                <a:gd name="T0" fmla="*/ 0 w 49"/>
                <a:gd name="T1" fmla="*/ 0 h 34"/>
                <a:gd name="T2" fmla="*/ 0 w 49"/>
                <a:gd name="T3" fmla="*/ 0 h 34"/>
                <a:gd name="T4" fmla="*/ 5 w 49"/>
                <a:gd name="T5" fmla="*/ 20 h 34"/>
                <a:gd name="T6" fmla="*/ 20 w 49"/>
                <a:gd name="T7" fmla="*/ 21 h 34"/>
                <a:gd name="T8" fmla="*/ 7 w 49"/>
                <a:gd name="T9" fmla="*/ 24 h 34"/>
                <a:gd name="T10" fmla="*/ 14 w 49"/>
                <a:gd name="T11" fmla="*/ 33 h 34"/>
                <a:gd name="T12" fmla="*/ 44 w 49"/>
                <a:gd name="T13" fmla="*/ 28 h 34"/>
                <a:gd name="T14" fmla="*/ 48 w 49"/>
                <a:gd name="T15" fmla="*/ 16 h 34"/>
                <a:gd name="T16" fmla="*/ 0 w 49"/>
                <a:gd name="T17" fmla="*/ 0 h 34"/>
                <a:gd name="T18" fmla="*/ 0 w 49"/>
                <a:gd name="T19" fmla="*/ 0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34"/>
                <a:gd name="T32" fmla="*/ 49 w 49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34">
                  <a:moveTo>
                    <a:pt x="0" y="0"/>
                  </a:moveTo>
                  <a:lnTo>
                    <a:pt x="0" y="0"/>
                  </a:lnTo>
                  <a:lnTo>
                    <a:pt x="5" y="20"/>
                  </a:lnTo>
                  <a:lnTo>
                    <a:pt x="20" y="21"/>
                  </a:lnTo>
                  <a:lnTo>
                    <a:pt x="7" y="24"/>
                  </a:lnTo>
                  <a:lnTo>
                    <a:pt x="14" y="33"/>
                  </a:lnTo>
                  <a:lnTo>
                    <a:pt x="44" y="28"/>
                  </a:lnTo>
                  <a:lnTo>
                    <a:pt x="48" y="16"/>
                  </a:lnTo>
                  <a:lnTo>
                    <a:pt x="0" y="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6" name="Freeform 643">
              <a:extLst>
                <a:ext uri="{FF2B5EF4-FFF2-40B4-BE49-F238E27FC236}">
                  <a16:creationId xmlns:a16="http://schemas.microsoft.com/office/drawing/2014/main" id="{0D84BCA1-6108-F823-1188-A4EF26CCF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" y="2093"/>
              <a:ext cx="236" cy="76"/>
            </a:xfrm>
            <a:custGeom>
              <a:avLst/>
              <a:gdLst>
                <a:gd name="T0" fmla="*/ 0 w 236"/>
                <a:gd name="T1" fmla="*/ 12 h 76"/>
                <a:gd name="T2" fmla="*/ 0 w 236"/>
                <a:gd name="T3" fmla="*/ 12 h 76"/>
                <a:gd name="T4" fmla="*/ 15 w 236"/>
                <a:gd name="T5" fmla="*/ 0 h 76"/>
                <a:gd name="T6" fmla="*/ 35 w 236"/>
                <a:gd name="T7" fmla="*/ 7 h 76"/>
                <a:gd name="T8" fmla="*/ 49 w 236"/>
                <a:gd name="T9" fmla="*/ 12 h 76"/>
                <a:gd name="T10" fmla="*/ 45 w 236"/>
                <a:gd name="T11" fmla="*/ 21 h 76"/>
                <a:gd name="T12" fmla="*/ 72 w 236"/>
                <a:gd name="T13" fmla="*/ 13 h 76"/>
                <a:gd name="T14" fmla="*/ 89 w 236"/>
                <a:gd name="T15" fmla="*/ 21 h 76"/>
                <a:gd name="T16" fmla="*/ 75 w 236"/>
                <a:gd name="T17" fmla="*/ 21 h 76"/>
                <a:gd name="T18" fmla="*/ 105 w 236"/>
                <a:gd name="T19" fmla="*/ 26 h 76"/>
                <a:gd name="T20" fmla="*/ 72 w 236"/>
                <a:gd name="T21" fmla="*/ 28 h 76"/>
                <a:gd name="T22" fmla="*/ 89 w 236"/>
                <a:gd name="T23" fmla="*/ 34 h 76"/>
                <a:gd name="T24" fmla="*/ 76 w 236"/>
                <a:gd name="T25" fmla="*/ 40 h 76"/>
                <a:gd name="T26" fmla="*/ 93 w 236"/>
                <a:gd name="T27" fmla="*/ 35 h 76"/>
                <a:gd name="T28" fmla="*/ 107 w 236"/>
                <a:gd name="T29" fmla="*/ 49 h 76"/>
                <a:gd name="T30" fmla="*/ 111 w 236"/>
                <a:gd name="T31" fmla="*/ 43 h 76"/>
                <a:gd name="T32" fmla="*/ 154 w 236"/>
                <a:gd name="T33" fmla="*/ 49 h 76"/>
                <a:gd name="T34" fmla="*/ 199 w 236"/>
                <a:gd name="T35" fmla="*/ 35 h 76"/>
                <a:gd name="T36" fmla="*/ 235 w 236"/>
                <a:gd name="T37" fmla="*/ 52 h 76"/>
                <a:gd name="T38" fmla="*/ 224 w 236"/>
                <a:gd name="T39" fmla="*/ 59 h 76"/>
                <a:gd name="T40" fmla="*/ 228 w 236"/>
                <a:gd name="T41" fmla="*/ 72 h 76"/>
                <a:gd name="T42" fmla="*/ 206 w 236"/>
                <a:gd name="T43" fmla="*/ 75 h 76"/>
                <a:gd name="T44" fmla="*/ 182 w 236"/>
                <a:gd name="T45" fmla="*/ 63 h 76"/>
                <a:gd name="T46" fmla="*/ 182 w 236"/>
                <a:gd name="T47" fmla="*/ 72 h 76"/>
                <a:gd name="T48" fmla="*/ 169 w 236"/>
                <a:gd name="T49" fmla="*/ 73 h 76"/>
                <a:gd name="T50" fmla="*/ 116 w 236"/>
                <a:gd name="T51" fmla="*/ 75 h 76"/>
                <a:gd name="T52" fmla="*/ 111 w 236"/>
                <a:gd name="T53" fmla="*/ 64 h 76"/>
                <a:gd name="T54" fmla="*/ 98 w 236"/>
                <a:gd name="T55" fmla="*/ 73 h 76"/>
                <a:gd name="T56" fmla="*/ 82 w 236"/>
                <a:gd name="T57" fmla="*/ 64 h 76"/>
                <a:gd name="T58" fmla="*/ 71 w 236"/>
                <a:gd name="T59" fmla="*/ 71 h 76"/>
                <a:gd name="T60" fmla="*/ 51 w 236"/>
                <a:gd name="T61" fmla="*/ 22 h 76"/>
                <a:gd name="T62" fmla="*/ 26 w 236"/>
                <a:gd name="T63" fmla="*/ 27 h 76"/>
                <a:gd name="T64" fmla="*/ 0 w 236"/>
                <a:gd name="T65" fmla="*/ 12 h 76"/>
                <a:gd name="T66" fmla="*/ 0 w 236"/>
                <a:gd name="T67" fmla="*/ 12 h 7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36"/>
                <a:gd name="T103" fmla="*/ 0 h 76"/>
                <a:gd name="T104" fmla="*/ 236 w 236"/>
                <a:gd name="T105" fmla="*/ 76 h 7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36" h="76">
                  <a:moveTo>
                    <a:pt x="0" y="12"/>
                  </a:moveTo>
                  <a:lnTo>
                    <a:pt x="0" y="12"/>
                  </a:lnTo>
                  <a:lnTo>
                    <a:pt x="15" y="0"/>
                  </a:lnTo>
                  <a:lnTo>
                    <a:pt x="35" y="7"/>
                  </a:lnTo>
                  <a:lnTo>
                    <a:pt x="49" y="12"/>
                  </a:lnTo>
                  <a:lnTo>
                    <a:pt x="45" y="21"/>
                  </a:lnTo>
                  <a:lnTo>
                    <a:pt x="72" y="13"/>
                  </a:lnTo>
                  <a:lnTo>
                    <a:pt x="89" y="21"/>
                  </a:lnTo>
                  <a:lnTo>
                    <a:pt x="75" y="21"/>
                  </a:lnTo>
                  <a:lnTo>
                    <a:pt x="105" y="26"/>
                  </a:lnTo>
                  <a:lnTo>
                    <a:pt x="72" y="28"/>
                  </a:lnTo>
                  <a:lnTo>
                    <a:pt x="89" y="34"/>
                  </a:lnTo>
                  <a:lnTo>
                    <a:pt x="76" y="40"/>
                  </a:lnTo>
                  <a:lnTo>
                    <a:pt x="93" y="35"/>
                  </a:lnTo>
                  <a:lnTo>
                    <a:pt x="107" y="49"/>
                  </a:lnTo>
                  <a:lnTo>
                    <a:pt x="111" y="43"/>
                  </a:lnTo>
                  <a:lnTo>
                    <a:pt x="154" y="49"/>
                  </a:lnTo>
                  <a:lnTo>
                    <a:pt x="199" y="35"/>
                  </a:lnTo>
                  <a:lnTo>
                    <a:pt x="235" y="52"/>
                  </a:lnTo>
                  <a:lnTo>
                    <a:pt x="224" y="59"/>
                  </a:lnTo>
                  <a:lnTo>
                    <a:pt x="228" y="72"/>
                  </a:lnTo>
                  <a:lnTo>
                    <a:pt x="206" y="75"/>
                  </a:lnTo>
                  <a:lnTo>
                    <a:pt x="182" y="63"/>
                  </a:lnTo>
                  <a:lnTo>
                    <a:pt x="182" y="72"/>
                  </a:lnTo>
                  <a:lnTo>
                    <a:pt x="169" y="73"/>
                  </a:lnTo>
                  <a:lnTo>
                    <a:pt x="116" y="75"/>
                  </a:lnTo>
                  <a:lnTo>
                    <a:pt x="111" y="64"/>
                  </a:lnTo>
                  <a:lnTo>
                    <a:pt x="98" y="73"/>
                  </a:lnTo>
                  <a:lnTo>
                    <a:pt x="82" y="64"/>
                  </a:lnTo>
                  <a:lnTo>
                    <a:pt x="71" y="71"/>
                  </a:lnTo>
                  <a:lnTo>
                    <a:pt x="51" y="22"/>
                  </a:lnTo>
                  <a:lnTo>
                    <a:pt x="26" y="27"/>
                  </a:lnTo>
                  <a:lnTo>
                    <a:pt x="0" y="12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7" name="Freeform 644">
              <a:extLst>
                <a:ext uri="{FF2B5EF4-FFF2-40B4-BE49-F238E27FC236}">
                  <a16:creationId xmlns:a16="http://schemas.microsoft.com/office/drawing/2014/main" id="{77116ADB-AD88-DAE9-0DFC-8A0E6684C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7" y="1966"/>
              <a:ext cx="154" cy="100"/>
            </a:xfrm>
            <a:custGeom>
              <a:avLst/>
              <a:gdLst>
                <a:gd name="T0" fmla="*/ 0 w 154"/>
                <a:gd name="T1" fmla="*/ 31 h 100"/>
                <a:gd name="T2" fmla="*/ 0 w 154"/>
                <a:gd name="T3" fmla="*/ 31 h 100"/>
                <a:gd name="T4" fmla="*/ 37 w 154"/>
                <a:gd name="T5" fmla="*/ 26 h 100"/>
                <a:gd name="T6" fmla="*/ 17 w 154"/>
                <a:gd name="T7" fmla="*/ 12 h 100"/>
                <a:gd name="T8" fmla="*/ 50 w 154"/>
                <a:gd name="T9" fmla="*/ 6 h 100"/>
                <a:gd name="T10" fmla="*/ 24 w 154"/>
                <a:gd name="T11" fmla="*/ 0 h 100"/>
                <a:gd name="T12" fmla="*/ 65 w 154"/>
                <a:gd name="T13" fmla="*/ 8 h 100"/>
                <a:gd name="T14" fmla="*/ 77 w 154"/>
                <a:gd name="T15" fmla="*/ 26 h 100"/>
                <a:gd name="T16" fmla="*/ 98 w 154"/>
                <a:gd name="T17" fmla="*/ 27 h 100"/>
                <a:gd name="T18" fmla="*/ 106 w 154"/>
                <a:gd name="T19" fmla="*/ 40 h 100"/>
                <a:gd name="T20" fmla="*/ 108 w 154"/>
                <a:gd name="T21" fmla="*/ 31 h 100"/>
                <a:gd name="T22" fmla="*/ 118 w 154"/>
                <a:gd name="T23" fmla="*/ 31 h 100"/>
                <a:gd name="T24" fmla="*/ 114 w 154"/>
                <a:gd name="T25" fmla="*/ 40 h 100"/>
                <a:gd name="T26" fmla="*/ 126 w 154"/>
                <a:gd name="T27" fmla="*/ 46 h 100"/>
                <a:gd name="T28" fmla="*/ 118 w 154"/>
                <a:gd name="T29" fmla="*/ 55 h 100"/>
                <a:gd name="T30" fmla="*/ 142 w 154"/>
                <a:gd name="T31" fmla="*/ 54 h 100"/>
                <a:gd name="T32" fmla="*/ 153 w 154"/>
                <a:gd name="T33" fmla="*/ 67 h 100"/>
                <a:gd name="T34" fmla="*/ 124 w 154"/>
                <a:gd name="T35" fmla="*/ 71 h 100"/>
                <a:gd name="T36" fmla="*/ 116 w 154"/>
                <a:gd name="T37" fmla="*/ 83 h 100"/>
                <a:gd name="T38" fmla="*/ 110 w 154"/>
                <a:gd name="T39" fmla="*/ 71 h 100"/>
                <a:gd name="T40" fmla="*/ 102 w 154"/>
                <a:gd name="T41" fmla="*/ 99 h 100"/>
                <a:gd name="T42" fmla="*/ 84 w 154"/>
                <a:gd name="T43" fmla="*/ 84 h 100"/>
                <a:gd name="T44" fmla="*/ 93 w 154"/>
                <a:gd name="T45" fmla="*/ 99 h 100"/>
                <a:gd name="T46" fmla="*/ 57 w 154"/>
                <a:gd name="T47" fmla="*/ 97 h 100"/>
                <a:gd name="T48" fmla="*/ 46 w 154"/>
                <a:gd name="T49" fmla="*/ 89 h 100"/>
                <a:gd name="T50" fmla="*/ 63 w 154"/>
                <a:gd name="T51" fmla="*/ 88 h 100"/>
                <a:gd name="T52" fmla="*/ 45 w 154"/>
                <a:gd name="T53" fmla="*/ 85 h 100"/>
                <a:gd name="T54" fmla="*/ 40 w 154"/>
                <a:gd name="T55" fmla="*/ 81 h 100"/>
                <a:gd name="T56" fmla="*/ 50 w 154"/>
                <a:gd name="T57" fmla="*/ 80 h 100"/>
                <a:gd name="T58" fmla="*/ 34 w 154"/>
                <a:gd name="T59" fmla="*/ 74 h 100"/>
                <a:gd name="T60" fmla="*/ 83 w 154"/>
                <a:gd name="T61" fmla="*/ 65 h 100"/>
                <a:gd name="T62" fmla="*/ 24 w 154"/>
                <a:gd name="T63" fmla="*/ 67 h 100"/>
                <a:gd name="T64" fmla="*/ 13 w 154"/>
                <a:gd name="T65" fmla="*/ 57 h 100"/>
                <a:gd name="T66" fmla="*/ 34 w 154"/>
                <a:gd name="T67" fmla="*/ 53 h 100"/>
                <a:gd name="T68" fmla="*/ 2 w 154"/>
                <a:gd name="T69" fmla="*/ 46 h 100"/>
                <a:gd name="T70" fmla="*/ 9 w 154"/>
                <a:gd name="T71" fmla="*/ 45 h 100"/>
                <a:gd name="T72" fmla="*/ 0 w 154"/>
                <a:gd name="T73" fmla="*/ 38 h 100"/>
                <a:gd name="T74" fmla="*/ 37 w 154"/>
                <a:gd name="T75" fmla="*/ 38 h 100"/>
                <a:gd name="T76" fmla="*/ 0 w 154"/>
                <a:gd name="T77" fmla="*/ 31 h 100"/>
                <a:gd name="T78" fmla="*/ 0 w 154"/>
                <a:gd name="T79" fmla="*/ 31 h 10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54"/>
                <a:gd name="T121" fmla="*/ 0 h 100"/>
                <a:gd name="T122" fmla="*/ 154 w 154"/>
                <a:gd name="T123" fmla="*/ 100 h 10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54" h="100">
                  <a:moveTo>
                    <a:pt x="0" y="31"/>
                  </a:moveTo>
                  <a:lnTo>
                    <a:pt x="0" y="31"/>
                  </a:lnTo>
                  <a:lnTo>
                    <a:pt x="37" y="26"/>
                  </a:lnTo>
                  <a:lnTo>
                    <a:pt x="17" y="12"/>
                  </a:lnTo>
                  <a:lnTo>
                    <a:pt x="50" y="6"/>
                  </a:lnTo>
                  <a:lnTo>
                    <a:pt x="24" y="0"/>
                  </a:lnTo>
                  <a:lnTo>
                    <a:pt x="65" y="8"/>
                  </a:lnTo>
                  <a:lnTo>
                    <a:pt x="77" y="26"/>
                  </a:lnTo>
                  <a:lnTo>
                    <a:pt x="98" y="27"/>
                  </a:lnTo>
                  <a:lnTo>
                    <a:pt x="106" y="40"/>
                  </a:lnTo>
                  <a:lnTo>
                    <a:pt x="108" y="31"/>
                  </a:lnTo>
                  <a:lnTo>
                    <a:pt x="118" y="31"/>
                  </a:lnTo>
                  <a:lnTo>
                    <a:pt x="114" y="40"/>
                  </a:lnTo>
                  <a:lnTo>
                    <a:pt x="126" y="46"/>
                  </a:lnTo>
                  <a:lnTo>
                    <a:pt x="118" y="55"/>
                  </a:lnTo>
                  <a:lnTo>
                    <a:pt x="142" y="54"/>
                  </a:lnTo>
                  <a:lnTo>
                    <a:pt x="153" y="67"/>
                  </a:lnTo>
                  <a:lnTo>
                    <a:pt x="124" y="71"/>
                  </a:lnTo>
                  <a:lnTo>
                    <a:pt x="116" y="83"/>
                  </a:lnTo>
                  <a:lnTo>
                    <a:pt x="110" y="71"/>
                  </a:lnTo>
                  <a:lnTo>
                    <a:pt x="102" y="99"/>
                  </a:lnTo>
                  <a:lnTo>
                    <a:pt x="84" y="84"/>
                  </a:lnTo>
                  <a:lnTo>
                    <a:pt x="93" y="99"/>
                  </a:lnTo>
                  <a:lnTo>
                    <a:pt x="57" y="97"/>
                  </a:lnTo>
                  <a:lnTo>
                    <a:pt x="46" y="89"/>
                  </a:lnTo>
                  <a:lnTo>
                    <a:pt x="63" y="88"/>
                  </a:lnTo>
                  <a:lnTo>
                    <a:pt x="45" y="85"/>
                  </a:lnTo>
                  <a:lnTo>
                    <a:pt x="40" y="81"/>
                  </a:lnTo>
                  <a:lnTo>
                    <a:pt x="50" y="80"/>
                  </a:lnTo>
                  <a:lnTo>
                    <a:pt x="34" y="74"/>
                  </a:lnTo>
                  <a:lnTo>
                    <a:pt x="83" y="65"/>
                  </a:lnTo>
                  <a:lnTo>
                    <a:pt x="24" y="67"/>
                  </a:lnTo>
                  <a:lnTo>
                    <a:pt x="13" y="57"/>
                  </a:lnTo>
                  <a:lnTo>
                    <a:pt x="34" y="53"/>
                  </a:lnTo>
                  <a:lnTo>
                    <a:pt x="2" y="46"/>
                  </a:lnTo>
                  <a:lnTo>
                    <a:pt x="9" y="45"/>
                  </a:lnTo>
                  <a:lnTo>
                    <a:pt x="0" y="38"/>
                  </a:lnTo>
                  <a:lnTo>
                    <a:pt x="37" y="38"/>
                  </a:lnTo>
                  <a:lnTo>
                    <a:pt x="0" y="31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8" name="Freeform 645">
              <a:extLst>
                <a:ext uri="{FF2B5EF4-FFF2-40B4-BE49-F238E27FC236}">
                  <a16:creationId xmlns:a16="http://schemas.microsoft.com/office/drawing/2014/main" id="{45F94FA2-0E47-1E6B-714F-524317E4E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7" y="2137"/>
              <a:ext cx="38" cy="26"/>
            </a:xfrm>
            <a:custGeom>
              <a:avLst/>
              <a:gdLst>
                <a:gd name="T0" fmla="*/ 0 w 38"/>
                <a:gd name="T1" fmla="*/ 17 h 26"/>
                <a:gd name="T2" fmla="*/ 0 w 38"/>
                <a:gd name="T3" fmla="*/ 17 h 26"/>
                <a:gd name="T4" fmla="*/ 6 w 38"/>
                <a:gd name="T5" fmla="*/ 0 h 26"/>
                <a:gd name="T6" fmla="*/ 30 w 38"/>
                <a:gd name="T7" fmla="*/ 5 h 26"/>
                <a:gd name="T8" fmla="*/ 37 w 38"/>
                <a:gd name="T9" fmla="*/ 25 h 26"/>
                <a:gd name="T10" fmla="*/ 0 w 38"/>
                <a:gd name="T11" fmla="*/ 17 h 26"/>
                <a:gd name="T12" fmla="*/ 0 w 38"/>
                <a:gd name="T13" fmla="*/ 17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26"/>
                <a:gd name="T23" fmla="*/ 38 w 38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26">
                  <a:moveTo>
                    <a:pt x="0" y="17"/>
                  </a:moveTo>
                  <a:lnTo>
                    <a:pt x="0" y="17"/>
                  </a:lnTo>
                  <a:lnTo>
                    <a:pt x="6" y="0"/>
                  </a:lnTo>
                  <a:lnTo>
                    <a:pt x="30" y="5"/>
                  </a:lnTo>
                  <a:lnTo>
                    <a:pt x="37" y="25"/>
                  </a:lnTo>
                  <a:lnTo>
                    <a:pt x="0" y="17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9" name="Freeform 646">
              <a:extLst>
                <a:ext uri="{FF2B5EF4-FFF2-40B4-BE49-F238E27FC236}">
                  <a16:creationId xmlns:a16="http://schemas.microsoft.com/office/drawing/2014/main" id="{DEB9E08E-ABCE-4D07-6D62-1792389598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7" y="2075"/>
              <a:ext cx="43" cy="10"/>
            </a:xfrm>
            <a:custGeom>
              <a:avLst/>
              <a:gdLst>
                <a:gd name="T0" fmla="*/ 0 w 43"/>
                <a:gd name="T1" fmla="*/ 4 h 10"/>
                <a:gd name="T2" fmla="*/ 0 w 43"/>
                <a:gd name="T3" fmla="*/ 4 h 10"/>
                <a:gd name="T4" fmla="*/ 10 w 43"/>
                <a:gd name="T5" fmla="*/ 9 h 10"/>
                <a:gd name="T6" fmla="*/ 42 w 43"/>
                <a:gd name="T7" fmla="*/ 4 h 10"/>
                <a:gd name="T8" fmla="*/ 11 w 43"/>
                <a:gd name="T9" fmla="*/ 0 h 10"/>
                <a:gd name="T10" fmla="*/ 0 w 43"/>
                <a:gd name="T11" fmla="*/ 4 h 10"/>
                <a:gd name="T12" fmla="*/ 0 w 43"/>
                <a:gd name="T13" fmla="*/ 4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3"/>
                <a:gd name="T22" fmla="*/ 0 h 10"/>
                <a:gd name="T23" fmla="*/ 43 w 43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3" h="10">
                  <a:moveTo>
                    <a:pt x="0" y="4"/>
                  </a:moveTo>
                  <a:lnTo>
                    <a:pt x="0" y="4"/>
                  </a:lnTo>
                  <a:lnTo>
                    <a:pt x="10" y="9"/>
                  </a:lnTo>
                  <a:lnTo>
                    <a:pt x="42" y="4"/>
                  </a:lnTo>
                  <a:lnTo>
                    <a:pt x="11" y="0"/>
                  </a:lnTo>
                  <a:lnTo>
                    <a:pt x="0" y="4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0" name="Freeform 647">
              <a:extLst>
                <a:ext uri="{FF2B5EF4-FFF2-40B4-BE49-F238E27FC236}">
                  <a16:creationId xmlns:a16="http://schemas.microsoft.com/office/drawing/2014/main" id="{0D26E982-8C93-FA43-B5CF-6A51A53E2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" y="2179"/>
              <a:ext cx="75" cy="53"/>
            </a:xfrm>
            <a:custGeom>
              <a:avLst/>
              <a:gdLst>
                <a:gd name="T0" fmla="*/ 0 w 75"/>
                <a:gd name="T1" fmla="*/ 9 h 53"/>
                <a:gd name="T2" fmla="*/ 0 w 75"/>
                <a:gd name="T3" fmla="*/ 9 h 53"/>
                <a:gd name="T4" fmla="*/ 2 w 75"/>
                <a:gd name="T5" fmla="*/ 33 h 53"/>
                <a:gd name="T6" fmla="*/ 10 w 75"/>
                <a:gd name="T7" fmla="*/ 38 h 53"/>
                <a:gd name="T8" fmla="*/ 7 w 75"/>
                <a:gd name="T9" fmla="*/ 52 h 53"/>
                <a:gd name="T10" fmla="*/ 18 w 75"/>
                <a:gd name="T11" fmla="*/ 52 h 53"/>
                <a:gd name="T12" fmla="*/ 30 w 75"/>
                <a:gd name="T13" fmla="*/ 41 h 53"/>
                <a:gd name="T14" fmla="*/ 18 w 75"/>
                <a:gd name="T15" fmla="*/ 33 h 53"/>
                <a:gd name="T16" fmla="*/ 48 w 75"/>
                <a:gd name="T17" fmla="*/ 33 h 53"/>
                <a:gd name="T18" fmla="*/ 74 w 75"/>
                <a:gd name="T19" fmla="*/ 4 h 53"/>
                <a:gd name="T20" fmla="*/ 6 w 75"/>
                <a:gd name="T21" fmla="*/ 0 h 53"/>
                <a:gd name="T22" fmla="*/ 15 w 75"/>
                <a:gd name="T23" fmla="*/ 10 h 53"/>
                <a:gd name="T24" fmla="*/ 0 w 75"/>
                <a:gd name="T25" fmla="*/ 9 h 53"/>
                <a:gd name="T26" fmla="*/ 0 w 75"/>
                <a:gd name="T27" fmla="*/ 9 h 5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5"/>
                <a:gd name="T43" fmla="*/ 0 h 53"/>
                <a:gd name="T44" fmla="*/ 75 w 75"/>
                <a:gd name="T45" fmla="*/ 53 h 5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5" h="53">
                  <a:moveTo>
                    <a:pt x="0" y="9"/>
                  </a:moveTo>
                  <a:lnTo>
                    <a:pt x="0" y="9"/>
                  </a:lnTo>
                  <a:lnTo>
                    <a:pt x="2" y="33"/>
                  </a:lnTo>
                  <a:lnTo>
                    <a:pt x="10" y="38"/>
                  </a:lnTo>
                  <a:lnTo>
                    <a:pt x="7" y="52"/>
                  </a:lnTo>
                  <a:lnTo>
                    <a:pt x="18" y="52"/>
                  </a:lnTo>
                  <a:lnTo>
                    <a:pt x="30" y="41"/>
                  </a:lnTo>
                  <a:lnTo>
                    <a:pt x="18" y="33"/>
                  </a:lnTo>
                  <a:lnTo>
                    <a:pt x="48" y="33"/>
                  </a:lnTo>
                  <a:lnTo>
                    <a:pt x="74" y="4"/>
                  </a:lnTo>
                  <a:lnTo>
                    <a:pt x="6" y="0"/>
                  </a:lnTo>
                  <a:lnTo>
                    <a:pt x="15" y="10"/>
                  </a:lnTo>
                  <a:lnTo>
                    <a:pt x="0" y="9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1" name="Freeform 59">
              <a:extLst>
                <a:ext uri="{FF2B5EF4-FFF2-40B4-BE49-F238E27FC236}">
                  <a16:creationId xmlns:a16="http://schemas.microsoft.com/office/drawing/2014/main" id="{094868C4-CE2A-9414-ECCF-860A1CC4D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4" y="1908"/>
              <a:ext cx="421" cy="214"/>
            </a:xfrm>
            <a:custGeom>
              <a:avLst/>
              <a:gdLst>
                <a:gd name="T0" fmla="*/ 37 w 421"/>
                <a:gd name="T1" fmla="*/ 50 h 214"/>
                <a:gd name="T2" fmla="*/ 31 w 421"/>
                <a:gd name="T3" fmla="*/ 58 h 214"/>
                <a:gd name="T4" fmla="*/ 36 w 421"/>
                <a:gd name="T5" fmla="*/ 68 h 214"/>
                <a:gd name="T6" fmla="*/ 66 w 421"/>
                <a:gd name="T7" fmla="*/ 83 h 214"/>
                <a:gd name="T8" fmla="*/ 89 w 421"/>
                <a:gd name="T9" fmla="*/ 71 h 214"/>
                <a:gd name="T10" fmla="*/ 135 w 421"/>
                <a:gd name="T11" fmla="*/ 72 h 214"/>
                <a:gd name="T12" fmla="*/ 166 w 421"/>
                <a:gd name="T13" fmla="*/ 75 h 214"/>
                <a:gd name="T14" fmla="*/ 172 w 421"/>
                <a:gd name="T15" fmla="*/ 74 h 214"/>
                <a:gd name="T16" fmla="*/ 142 w 421"/>
                <a:gd name="T17" fmla="*/ 111 h 214"/>
                <a:gd name="T18" fmla="*/ 111 w 421"/>
                <a:gd name="T19" fmla="*/ 93 h 214"/>
                <a:gd name="T20" fmla="*/ 90 w 421"/>
                <a:gd name="T21" fmla="*/ 103 h 214"/>
                <a:gd name="T22" fmla="*/ 100 w 421"/>
                <a:gd name="T23" fmla="*/ 131 h 214"/>
                <a:gd name="T24" fmla="*/ 132 w 421"/>
                <a:gd name="T25" fmla="*/ 145 h 214"/>
                <a:gd name="T26" fmla="*/ 62 w 421"/>
                <a:gd name="T27" fmla="*/ 157 h 214"/>
                <a:gd name="T28" fmla="*/ 88 w 421"/>
                <a:gd name="T29" fmla="*/ 158 h 214"/>
                <a:gd name="T30" fmla="*/ 109 w 421"/>
                <a:gd name="T31" fmla="*/ 157 h 214"/>
                <a:gd name="T32" fmla="*/ 88 w 421"/>
                <a:gd name="T33" fmla="*/ 167 h 214"/>
                <a:gd name="T34" fmla="*/ 132 w 421"/>
                <a:gd name="T35" fmla="*/ 159 h 214"/>
                <a:gd name="T36" fmla="*/ 51 w 421"/>
                <a:gd name="T37" fmla="*/ 168 h 214"/>
                <a:gd name="T38" fmla="*/ 39 w 421"/>
                <a:gd name="T39" fmla="*/ 207 h 214"/>
                <a:gd name="T40" fmla="*/ 72 w 421"/>
                <a:gd name="T41" fmla="*/ 202 h 214"/>
                <a:gd name="T42" fmla="*/ 93 w 421"/>
                <a:gd name="T43" fmla="*/ 203 h 214"/>
                <a:gd name="T44" fmla="*/ 126 w 421"/>
                <a:gd name="T45" fmla="*/ 207 h 214"/>
                <a:gd name="T46" fmla="*/ 149 w 421"/>
                <a:gd name="T47" fmla="*/ 205 h 214"/>
                <a:gd name="T48" fmla="*/ 191 w 421"/>
                <a:gd name="T49" fmla="*/ 193 h 214"/>
                <a:gd name="T50" fmla="*/ 135 w 421"/>
                <a:gd name="T51" fmla="*/ 184 h 214"/>
                <a:gd name="T52" fmla="*/ 188 w 421"/>
                <a:gd name="T53" fmla="*/ 162 h 214"/>
                <a:gd name="T54" fmla="*/ 204 w 421"/>
                <a:gd name="T55" fmla="*/ 155 h 214"/>
                <a:gd name="T56" fmla="*/ 235 w 421"/>
                <a:gd name="T57" fmla="*/ 142 h 214"/>
                <a:gd name="T58" fmla="*/ 217 w 421"/>
                <a:gd name="T59" fmla="*/ 129 h 214"/>
                <a:gd name="T60" fmla="*/ 237 w 421"/>
                <a:gd name="T61" fmla="*/ 125 h 214"/>
                <a:gd name="T62" fmla="*/ 235 w 421"/>
                <a:gd name="T63" fmla="*/ 108 h 214"/>
                <a:gd name="T64" fmla="*/ 268 w 421"/>
                <a:gd name="T65" fmla="*/ 98 h 214"/>
                <a:gd name="T66" fmla="*/ 305 w 421"/>
                <a:gd name="T67" fmla="*/ 90 h 214"/>
                <a:gd name="T68" fmla="*/ 341 w 421"/>
                <a:gd name="T69" fmla="*/ 53 h 214"/>
                <a:gd name="T70" fmla="*/ 357 w 421"/>
                <a:gd name="T71" fmla="*/ 50 h 214"/>
                <a:gd name="T72" fmla="*/ 393 w 421"/>
                <a:gd name="T73" fmla="*/ 23 h 214"/>
                <a:gd name="T74" fmla="*/ 345 w 421"/>
                <a:gd name="T75" fmla="*/ 6 h 214"/>
                <a:gd name="T76" fmla="*/ 249 w 421"/>
                <a:gd name="T77" fmla="*/ 11 h 214"/>
                <a:gd name="T78" fmla="*/ 219 w 421"/>
                <a:gd name="T79" fmla="*/ 19 h 214"/>
                <a:gd name="T80" fmla="*/ 154 w 421"/>
                <a:gd name="T81" fmla="*/ 7 h 214"/>
                <a:gd name="T82" fmla="*/ 147 w 421"/>
                <a:gd name="T83" fmla="*/ 21 h 214"/>
                <a:gd name="T84" fmla="*/ 117 w 421"/>
                <a:gd name="T85" fmla="*/ 23 h 214"/>
                <a:gd name="T86" fmla="*/ 65 w 421"/>
                <a:gd name="T87" fmla="*/ 33 h 214"/>
                <a:gd name="T88" fmla="*/ 0 w 421"/>
                <a:gd name="T89" fmla="*/ 50 h 21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21"/>
                <a:gd name="T136" fmla="*/ 0 h 214"/>
                <a:gd name="T137" fmla="*/ 421 w 421"/>
                <a:gd name="T138" fmla="*/ 214 h 21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21" h="214">
                  <a:moveTo>
                    <a:pt x="0" y="50"/>
                  </a:moveTo>
                  <a:lnTo>
                    <a:pt x="0" y="50"/>
                  </a:lnTo>
                  <a:lnTo>
                    <a:pt x="37" y="50"/>
                  </a:lnTo>
                  <a:lnTo>
                    <a:pt x="24" y="58"/>
                  </a:lnTo>
                  <a:lnTo>
                    <a:pt x="76" y="53"/>
                  </a:lnTo>
                  <a:lnTo>
                    <a:pt x="31" y="58"/>
                  </a:lnTo>
                  <a:lnTo>
                    <a:pt x="45" y="62"/>
                  </a:lnTo>
                  <a:lnTo>
                    <a:pt x="30" y="63"/>
                  </a:lnTo>
                  <a:lnTo>
                    <a:pt x="36" y="68"/>
                  </a:lnTo>
                  <a:lnTo>
                    <a:pt x="103" y="60"/>
                  </a:lnTo>
                  <a:lnTo>
                    <a:pt x="37" y="73"/>
                  </a:lnTo>
                  <a:lnTo>
                    <a:pt x="66" y="83"/>
                  </a:lnTo>
                  <a:lnTo>
                    <a:pt x="92" y="68"/>
                  </a:lnTo>
                  <a:lnTo>
                    <a:pt x="135" y="66"/>
                  </a:lnTo>
                  <a:lnTo>
                    <a:pt x="89" y="71"/>
                  </a:lnTo>
                  <a:lnTo>
                    <a:pt x="78" y="83"/>
                  </a:lnTo>
                  <a:lnTo>
                    <a:pt x="106" y="85"/>
                  </a:lnTo>
                  <a:lnTo>
                    <a:pt x="135" y="72"/>
                  </a:lnTo>
                  <a:lnTo>
                    <a:pt x="115" y="84"/>
                  </a:lnTo>
                  <a:lnTo>
                    <a:pt x="135" y="84"/>
                  </a:lnTo>
                  <a:lnTo>
                    <a:pt x="166" y="75"/>
                  </a:lnTo>
                  <a:lnTo>
                    <a:pt x="162" y="63"/>
                  </a:lnTo>
                  <a:lnTo>
                    <a:pt x="197" y="54"/>
                  </a:lnTo>
                  <a:lnTo>
                    <a:pt x="172" y="74"/>
                  </a:lnTo>
                  <a:lnTo>
                    <a:pt x="225" y="70"/>
                  </a:lnTo>
                  <a:lnTo>
                    <a:pt x="117" y="90"/>
                  </a:lnTo>
                  <a:lnTo>
                    <a:pt x="142" y="111"/>
                  </a:lnTo>
                  <a:lnTo>
                    <a:pt x="163" y="111"/>
                  </a:lnTo>
                  <a:lnTo>
                    <a:pt x="152" y="115"/>
                  </a:lnTo>
                  <a:lnTo>
                    <a:pt x="111" y="93"/>
                  </a:lnTo>
                  <a:lnTo>
                    <a:pt x="75" y="90"/>
                  </a:lnTo>
                  <a:lnTo>
                    <a:pt x="74" y="99"/>
                  </a:lnTo>
                  <a:lnTo>
                    <a:pt x="90" y="103"/>
                  </a:lnTo>
                  <a:lnTo>
                    <a:pt x="75" y="107"/>
                  </a:lnTo>
                  <a:lnTo>
                    <a:pt x="117" y="130"/>
                  </a:lnTo>
                  <a:lnTo>
                    <a:pt x="100" y="131"/>
                  </a:lnTo>
                  <a:lnTo>
                    <a:pt x="143" y="132"/>
                  </a:lnTo>
                  <a:lnTo>
                    <a:pt x="119" y="138"/>
                  </a:lnTo>
                  <a:lnTo>
                    <a:pt x="132" y="145"/>
                  </a:lnTo>
                  <a:lnTo>
                    <a:pt x="93" y="133"/>
                  </a:lnTo>
                  <a:lnTo>
                    <a:pt x="71" y="138"/>
                  </a:lnTo>
                  <a:lnTo>
                    <a:pt x="62" y="157"/>
                  </a:lnTo>
                  <a:lnTo>
                    <a:pt x="84" y="151"/>
                  </a:lnTo>
                  <a:lnTo>
                    <a:pt x="80" y="158"/>
                  </a:lnTo>
                  <a:lnTo>
                    <a:pt x="88" y="158"/>
                  </a:lnTo>
                  <a:lnTo>
                    <a:pt x="101" y="143"/>
                  </a:lnTo>
                  <a:lnTo>
                    <a:pt x="97" y="155"/>
                  </a:lnTo>
                  <a:lnTo>
                    <a:pt x="109" y="157"/>
                  </a:lnTo>
                  <a:lnTo>
                    <a:pt x="85" y="162"/>
                  </a:lnTo>
                  <a:lnTo>
                    <a:pt x="100" y="163"/>
                  </a:lnTo>
                  <a:lnTo>
                    <a:pt x="88" y="167"/>
                  </a:lnTo>
                  <a:lnTo>
                    <a:pt x="98" y="175"/>
                  </a:lnTo>
                  <a:lnTo>
                    <a:pt x="115" y="175"/>
                  </a:lnTo>
                  <a:lnTo>
                    <a:pt x="132" y="159"/>
                  </a:lnTo>
                  <a:lnTo>
                    <a:pt x="103" y="181"/>
                  </a:lnTo>
                  <a:lnTo>
                    <a:pt x="75" y="165"/>
                  </a:lnTo>
                  <a:lnTo>
                    <a:pt x="51" y="168"/>
                  </a:lnTo>
                  <a:lnTo>
                    <a:pt x="71" y="185"/>
                  </a:lnTo>
                  <a:lnTo>
                    <a:pt x="36" y="194"/>
                  </a:lnTo>
                  <a:lnTo>
                    <a:pt x="39" y="207"/>
                  </a:lnTo>
                  <a:lnTo>
                    <a:pt x="46" y="195"/>
                  </a:lnTo>
                  <a:lnTo>
                    <a:pt x="47" y="207"/>
                  </a:lnTo>
                  <a:lnTo>
                    <a:pt x="72" y="202"/>
                  </a:lnTo>
                  <a:lnTo>
                    <a:pt x="89" y="212"/>
                  </a:lnTo>
                  <a:lnTo>
                    <a:pt x="102" y="211"/>
                  </a:lnTo>
                  <a:lnTo>
                    <a:pt x="93" y="203"/>
                  </a:lnTo>
                  <a:lnTo>
                    <a:pt x="117" y="206"/>
                  </a:lnTo>
                  <a:lnTo>
                    <a:pt x="115" y="198"/>
                  </a:lnTo>
                  <a:lnTo>
                    <a:pt x="126" y="207"/>
                  </a:lnTo>
                  <a:lnTo>
                    <a:pt x="133" y="205"/>
                  </a:lnTo>
                  <a:lnTo>
                    <a:pt x="129" y="199"/>
                  </a:lnTo>
                  <a:lnTo>
                    <a:pt x="149" y="205"/>
                  </a:lnTo>
                  <a:lnTo>
                    <a:pt x="149" y="213"/>
                  </a:lnTo>
                  <a:lnTo>
                    <a:pt x="185" y="205"/>
                  </a:lnTo>
                  <a:lnTo>
                    <a:pt x="191" y="193"/>
                  </a:lnTo>
                  <a:lnTo>
                    <a:pt x="175" y="195"/>
                  </a:lnTo>
                  <a:lnTo>
                    <a:pt x="175" y="184"/>
                  </a:lnTo>
                  <a:lnTo>
                    <a:pt x="135" y="184"/>
                  </a:lnTo>
                  <a:lnTo>
                    <a:pt x="188" y="181"/>
                  </a:lnTo>
                  <a:lnTo>
                    <a:pt x="196" y="172"/>
                  </a:lnTo>
                  <a:lnTo>
                    <a:pt x="188" y="162"/>
                  </a:lnTo>
                  <a:lnTo>
                    <a:pt x="218" y="162"/>
                  </a:lnTo>
                  <a:lnTo>
                    <a:pt x="225" y="158"/>
                  </a:lnTo>
                  <a:lnTo>
                    <a:pt x="204" y="155"/>
                  </a:lnTo>
                  <a:lnTo>
                    <a:pt x="231" y="154"/>
                  </a:lnTo>
                  <a:lnTo>
                    <a:pt x="213" y="147"/>
                  </a:lnTo>
                  <a:lnTo>
                    <a:pt x="235" y="142"/>
                  </a:lnTo>
                  <a:lnTo>
                    <a:pt x="234" y="136"/>
                  </a:lnTo>
                  <a:lnTo>
                    <a:pt x="194" y="133"/>
                  </a:lnTo>
                  <a:lnTo>
                    <a:pt x="217" y="129"/>
                  </a:lnTo>
                  <a:lnTo>
                    <a:pt x="193" y="127"/>
                  </a:lnTo>
                  <a:lnTo>
                    <a:pt x="235" y="131"/>
                  </a:lnTo>
                  <a:lnTo>
                    <a:pt x="237" y="125"/>
                  </a:lnTo>
                  <a:lnTo>
                    <a:pt x="193" y="123"/>
                  </a:lnTo>
                  <a:lnTo>
                    <a:pt x="250" y="115"/>
                  </a:lnTo>
                  <a:lnTo>
                    <a:pt x="235" y="108"/>
                  </a:lnTo>
                  <a:lnTo>
                    <a:pt x="276" y="111"/>
                  </a:lnTo>
                  <a:lnTo>
                    <a:pt x="289" y="99"/>
                  </a:lnTo>
                  <a:lnTo>
                    <a:pt x="268" y="98"/>
                  </a:lnTo>
                  <a:lnTo>
                    <a:pt x="295" y="96"/>
                  </a:lnTo>
                  <a:lnTo>
                    <a:pt x="292" y="88"/>
                  </a:lnTo>
                  <a:lnTo>
                    <a:pt x="305" y="90"/>
                  </a:lnTo>
                  <a:lnTo>
                    <a:pt x="375" y="55"/>
                  </a:lnTo>
                  <a:lnTo>
                    <a:pt x="297" y="67"/>
                  </a:lnTo>
                  <a:lnTo>
                    <a:pt x="341" y="53"/>
                  </a:lnTo>
                  <a:lnTo>
                    <a:pt x="314" y="54"/>
                  </a:lnTo>
                  <a:lnTo>
                    <a:pt x="308" y="47"/>
                  </a:lnTo>
                  <a:lnTo>
                    <a:pt x="357" y="50"/>
                  </a:lnTo>
                  <a:lnTo>
                    <a:pt x="420" y="32"/>
                  </a:lnTo>
                  <a:lnTo>
                    <a:pt x="419" y="23"/>
                  </a:lnTo>
                  <a:lnTo>
                    <a:pt x="393" y="23"/>
                  </a:lnTo>
                  <a:lnTo>
                    <a:pt x="386" y="9"/>
                  </a:lnTo>
                  <a:lnTo>
                    <a:pt x="314" y="16"/>
                  </a:lnTo>
                  <a:lnTo>
                    <a:pt x="345" y="6"/>
                  </a:lnTo>
                  <a:lnTo>
                    <a:pt x="250" y="0"/>
                  </a:lnTo>
                  <a:lnTo>
                    <a:pt x="242" y="7"/>
                  </a:lnTo>
                  <a:lnTo>
                    <a:pt x="249" y="11"/>
                  </a:lnTo>
                  <a:lnTo>
                    <a:pt x="231" y="4"/>
                  </a:lnTo>
                  <a:lnTo>
                    <a:pt x="189" y="4"/>
                  </a:lnTo>
                  <a:lnTo>
                    <a:pt x="219" y="19"/>
                  </a:lnTo>
                  <a:lnTo>
                    <a:pt x="208" y="23"/>
                  </a:lnTo>
                  <a:lnTo>
                    <a:pt x="193" y="8"/>
                  </a:lnTo>
                  <a:lnTo>
                    <a:pt x="154" y="7"/>
                  </a:lnTo>
                  <a:lnTo>
                    <a:pt x="162" y="13"/>
                  </a:lnTo>
                  <a:lnTo>
                    <a:pt x="132" y="11"/>
                  </a:lnTo>
                  <a:lnTo>
                    <a:pt x="147" y="21"/>
                  </a:lnTo>
                  <a:lnTo>
                    <a:pt x="124" y="15"/>
                  </a:lnTo>
                  <a:lnTo>
                    <a:pt x="131" y="21"/>
                  </a:lnTo>
                  <a:lnTo>
                    <a:pt x="117" y="23"/>
                  </a:lnTo>
                  <a:lnTo>
                    <a:pt x="147" y="37"/>
                  </a:lnTo>
                  <a:lnTo>
                    <a:pt x="81" y="22"/>
                  </a:lnTo>
                  <a:lnTo>
                    <a:pt x="65" y="33"/>
                  </a:lnTo>
                  <a:lnTo>
                    <a:pt x="91" y="38"/>
                  </a:lnTo>
                  <a:lnTo>
                    <a:pt x="47" y="34"/>
                  </a:lnTo>
                  <a:lnTo>
                    <a:pt x="0" y="5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" name="Freeform 649">
              <a:extLst>
                <a:ext uri="{FF2B5EF4-FFF2-40B4-BE49-F238E27FC236}">
                  <a16:creationId xmlns:a16="http://schemas.microsoft.com/office/drawing/2014/main" id="{D87B3134-54C2-9FBE-B558-CF1C13359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1" y="2184"/>
              <a:ext cx="392" cy="278"/>
            </a:xfrm>
            <a:custGeom>
              <a:avLst/>
              <a:gdLst>
                <a:gd name="T0" fmla="*/ 0 w 392"/>
                <a:gd name="T1" fmla="*/ 61 h 278"/>
                <a:gd name="T2" fmla="*/ 19 w 392"/>
                <a:gd name="T3" fmla="*/ 10 h 278"/>
                <a:gd name="T4" fmla="*/ 69 w 392"/>
                <a:gd name="T5" fmla="*/ 4 h 278"/>
                <a:gd name="T6" fmla="*/ 51 w 392"/>
                <a:gd name="T7" fmla="*/ 49 h 278"/>
                <a:gd name="T8" fmla="*/ 47 w 392"/>
                <a:gd name="T9" fmla="*/ 72 h 278"/>
                <a:gd name="T10" fmla="*/ 73 w 392"/>
                <a:gd name="T11" fmla="*/ 56 h 278"/>
                <a:gd name="T12" fmla="*/ 70 w 392"/>
                <a:gd name="T13" fmla="*/ 38 h 278"/>
                <a:gd name="T14" fmla="*/ 82 w 392"/>
                <a:gd name="T15" fmla="*/ 28 h 278"/>
                <a:gd name="T16" fmla="*/ 85 w 392"/>
                <a:gd name="T17" fmla="*/ 23 h 278"/>
                <a:gd name="T18" fmla="*/ 88 w 392"/>
                <a:gd name="T19" fmla="*/ 14 h 278"/>
                <a:gd name="T20" fmla="*/ 116 w 392"/>
                <a:gd name="T21" fmla="*/ 3 h 278"/>
                <a:gd name="T22" fmla="*/ 128 w 392"/>
                <a:gd name="T23" fmla="*/ 21 h 278"/>
                <a:gd name="T24" fmla="*/ 139 w 392"/>
                <a:gd name="T25" fmla="*/ 36 h 278"/>
                <a:gd name="T26" fmla="*/ 170 w 392"/>
                <a:gd name="T27" fmla="*/ 28 h 278"/>
                <a:gd name="T28" fmla="*/ 215 w 392"/>
                <a:gd name="T29" fmla="*/ 49 h 278"/>
                <a:gd name="T30" fmla="*/ 225 w 392"/>
                <a:gd name="T31" fmla="*/ 53 h 278"/>
                <a:gd name="T32" fmla="*/ 231 w 392"/>
                <a:gd name="T33" fmla="*/ 65 h 278"/>
                <a:gd name="T34" fmla="*/ 254 w 392"/>
                <a:gd name="T35" fmla="*/ 60 h 278"/>
                <a:gd name="T36" fmla="*/ 246 w 392"/>
                <a:gd name="T37" fmla="*/ 71 h 278"/>
                <a:gd name="T38" fmla="*/ 262 w 392"/>
                <a:gd name="T39" fmla="*/ 82 h 278"/>
                <a:gd name="T40" fmla="*/ 267 w 392"/>
                <a:gd name="T41" fmla="*/ 85 h 278"/>
                <a:gd name="T42" fmla="*/ 279 w 392"/>
                <a:gd name="T43" fmla="*/ 92 h 278"/>
                <a:gd name="T44" fmla="*/ 287 w 392"/>
                <a:gd name="T45" fmla="*/ 98 h 278"/>
                <a:gd name="T46" fmla="*/ 312 w 392"/>
                <a:gd name="T47" fmla="*/ 99 h 278"/>
                <a:gd name="T48" fmla="*/ 322 w 392"/>
                <a:gd name="T49" fmla="*/ 114 h 278"/>
                <a:gd name="T50" fmla="*/ 305 w 392"/>
                <a:gd name="T51" fmla="*/ 120 h 278"/>
                <a:gd name="T52" fmla="*/ 329 w 392"/>
                <a:gd name="T53" fmla="*/ 146 h 278"/>
                <a:gd name="T54" fmla="*/ 353 w 392"/>
                <a:gd name="T55" fmla="*/ 162 h 278"/>
                <a:gd name="T56" fmla="*/ 367 w 392"/>
                <a:gd name="T57" fmla="*/ 169 h 278"/>
                <a:gd name="T58" fmla="*/ 388 w 392"/>
                <a:gd name="T59" fmla="*/ 184 h 278"/>
                <a:gd name="T60" fmla="*/ 381 w 392"/>
                <a:gd name="T61" fmla="*/ 189 h 278"/>
                <a:gd name="T62" fmla="*/ 364 w 392"/>
                <a:gd name="T63" fmla="*/ 195 h 278"/>
                <a:gd name="T64" fmla="*/ 317 w 392"/>
                <a:gd name="T65" fmla="*/ 178 h 278"/>
                <a:gd name="T66" fmla="*/ 312 w 392"/>
                <a:gd name="T67" fmla="*/ 190 h 278"/>
                <a:gd name="T68" fmla="*/ 310 w 392"/>
                <a:gd name="T69" fmla="*/ 198 h 278"/>
                <a:gd name="T70" fmla="*/ 341 w 392"/>
                <a:gd name="T71" fmla="*/ 220 h 278"/>
                <a:gd name="T72" fmla="*/ 351 w 392"/>
                <a:gd name="T73" fmla="*/ 240 h 278"/>
                <a:gd name="T74" fmla="*/ 290 w 392"/>
                <a:gd name="T75" fmla="*/ 239 h 278"/>
                <a:gd name="T76" fmla="*/ 256 w 392"/>
                <a:gd name="T77" fmla="*/ 256 h 278"/>
                <a:gd name="T78" fmla="*/ 256 w 392"/>
                <a:gd name="T79" fmla="*/ 242 h 278"/>
                <a:gd name="T80" fmla="*/ 227 w 392"/>
                <a:gd name="T81" fmla="*/ 219 h 278"/>
                <a:gd name="T82" fmla="*/ 208 w 392"/>
                <a:gd name="T83" fmla="*/ 224 h 278"/>
                <a:gd name="T84" fmla="*/ 182 w 392"/>
                <a:gd name="T85" fmla="*/ 229 h 278"/>
                <a:gd name="T86" fmla="*/ 173 w 392"/>
                <a:gd name="T87" fmla="*/ 202 h 278"/>
                <a:gd name="T88" fmla="*/ 213 w 392"/>
                <a:gd name="T89" fmla="*/ 186 h 278"/>
                <a:gd name="T90" fmla="*/ 221 w 392"/>
                <a:gd name="T91" fmla="*/ 128 h 278"/>
                <a:gd name="T92" fmla="*/ 215 w 392"/>
                <a:gd name="T93" fmla="*/ 120 h 278"/>
                <a:gd name="T94" fmla="*/ 182 w 392"/>
                <a:gd name="T95" fmla="*/ 119 h 278"/>
                <a:gd name="T96" fmla="*/ 170 w 392"/>
                <a:gd name="T97" fmla="*/ 101 h 278"/>
                <a:gd name="T98" fmla="*/ 148 w 392"/>
                <a:gd name="T99" fmla="*/ 86 h 278"/>
                <a:gd name="T100" fmla="*/ 115 w 392"/>
                <a:gd name="T101" fmla="*/ 95 h 278"/>
                <a:gd name="T102" fmla="*/ 26 w 392"/>
                <a:gd name="T103" fmla="*/ 89 h 278"/>
                <a:gd name="T104" fmla="*/ 39 w 392"/>
                <a:gd name="T105" fmla="*/ 72 h 278"/>
                <a:gd name="T106" fmla="*/ 0 w 392"/>
                <a:gd name="T107" fmla="*/ 61 h 2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2"/>
                <a:gd name="T163" fmla="*/ 0 h 278"/>
                <a:gd name="T164" fmla="*/ 392 w 392"/>
                <a:gd name="T165" fmla="*/ 278 h 2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2" h="278">
                  <a:moveTo>
                    <a:pt x="0" y="61"/>
                  </a:moveTo>
                  <a:lnTo>
                    <a:pt x="0" y="61"/>
                  </a:lnTo>
                  <a:lnTo>
                    <a:pt x="3" y="32"/>
                  </a:lnTo>
                  <a:lnTo>
                    <a:pt x="19" y="10"/>
                  </a:lnTo>
                  <a:lnTo>
                    <a:pt x="47" y="0"/>
                  </a:lnTo>
                  <a:lnTo>
                    <a:pt x="69" y="4"/>
                  </a:lnTo>
                  <a:lnTo>
                    <a:pt x="45" y="32"/>
                  </a:lnTo>
                  <a:lnTo>
                    <a:pt x="51" y="49"/>
                  </a:lnTo>
                  <a:lnTo>
                    <a:pt x="69" y="65"/>
                  </a:lnTo>
                  <a:lnTo>
                    <a:pt x="47" y="72"/>
                  </a:lnTo>
                  <a:lnTo>
                    <a:pt x="70" y="71"/>
                  </a:lnTo>
                  <a:lnTo>
                    <a:pt x="73" y="56"/>
                  </a:lnTo>
                  <a:lnTo>
                    <a:pt x="56" y="47"/>
                  </a:lnTo>
                  <a:lnTo>
                    <a:pt x="70" y="38"/>
                  </a:lnTo>
                  <a:lnTo>
                    <a:pt x="59" y="25"/>
                  </a:lnTo>
                  <a:lnTo>
                    <a:pt x="82" y="28"/>
                  </a:lnTo>
                  <a:lnTo>
                    <a:pt x="61" y="21"/>
                  </a:lnTo>
                  <a:lnTo>
                    <a:pt x="85" y="23"/>
                  </a:lnTo>
                  <a:lnTo>
                    <a:pt x="69" y="13"/>
                  </a:lnTo>
                  <a:lnTo>
                    <a:pt x="88" y="14"/>
                  </a:lnTo>
                  <a:lnTo>
                    <a:pt x="100" y="4"/>
                  </a:lnTo>
                  <a:lnTo>
                    <a:pt x="116" y="3"/>
                  </a:lnTo>
                  <a:lnTo>
                    <a:pt x="117" y="16"/>
                  </a:lnTo>
                  <a:lnTo>
                    <a:pt x="128" y="21"/>
                  </a:lnTo>
                  <a:lnTo>
                    <a:pt x="124" y="49"/>
                  </a:lnTo>
                  <a:lnTo>
                    <a:pt x="139" y="36"/>
                  </a:lnTo>
                  <a:lnTo>
                    <a:pt x="148" y="41"/>
                  </a:lnTo>
                  <a:lnTo>
                    <a:pt x="170" y="28"/>
                  </a:lnTo>
                  <a:lnTo>
                    <a:pt x="202" y="36"/>
                  </a:lnTo>
                  <a:lnTo>
                    <a:pt x="215" y="49"/>
                  </a:lnTo>
                  <a:lnTo>
                    <a:pt x="206" y="56"/>
                  </a:lnTo>
                  <a:lnTo>
                    <a:pt x="225" y="53"/>
                  </a:lnTo>
                  <a:lnTo>
                    <a:pt x="219" y="61"/>
                  </a:lnTo>
                  <a:lnTo>
                    <a:pt x="231" y="65"/>
                  </a:lnTo>
                  <a:lnTo>
                    <a:pt x="240" y="55"/>
                  </a:lnTo>
                  <a:lnTo>
                    <a:pt x="254" y="60"/>
                  </a:lnTo>
                  <a:lnTo>
                    <a:pt x="258" y="69"/>
                  </a:lnTo>
                  <a:lnTo>
                    <a:pt x="246" y="71"/>
                  </a:lnTo>
                  <a:lnTo>
                    <a:pt x="265" y="71"/>
                  </a:lnTo>
                  <a:lnTo>
                    <a:pt x="262" y="82"/>
                  </a:lnTo>
                  <a:lnTo>
                    <a:pt x="276" y="76"/>
                  </a:lnTo>
                  <a:lnTo>
                    <a:pt x="267" y="85"/>
                  </a:lnTo>
                  <a:lnTo>
                    <a:pt x="295" y="83"/>
                  </a:lnTo>
                  <a:lnTo>
                    <a:pt x="279" y="92"/>
                  </a:lnTo>
                  <a:lnTo>
                    <a:pt x="292" y="92"/>
                  </a:lnTo>
                  <a:lnTo>
                    <a:pt x="287" y="98"/>
                  </a:lnTo>
                  <a:lnTo>
                    <a:pt x="300" y="89"/>
                  </a:lnTo>
                  <a:lnTo>
                    <a:pt x="312" y="99"/>
                  </a:lnTo>
                  <a:lnTo>
                    <a:pt x="290" y="107"/>
                  </a:lnTo>
                  <a:lnTo>
                    <a:pt x="322" y="114"/>
                  </a:lnTo>
                  <a:lnTo>
                    <a:pt x="294" y="116"/>
                  </a:lnTo>
                  <a:lnTo>
                    <a:pt x="305" y="120"/>
                  </a:lnTo>
                  <a:lnTo>
                    <a:pt x="296" y="129"/>
                  </a:lnTo>
                  <a:lnTo>
                    <a:pt x="329" y="146"/>
                  </a:lnTo>
                  <a:lnTo>
                    <a:pt x="345" y="143"/>
                  </a:lnTo>
                  <a:lnTo>
                    <a:pt x="353" y="162"/>
                  </a:lnTo>
                  <a:lnTo>
                    <a:pt x="369" y="161"/>
                  </a:lnTo>
                  <a:lnTo>
                    <a:pt x="367" y="169"/>
                  </a:lnTo>
                  <a:lnTo>
                    <a:pt x="391" y="174"/>
                  </a:lnTo>
                  <a:lnTo>
                    <a:pt x="388" y="184"/>
                  </a:lnTo>
                  <a:lnTo>
                    <a:pt x="376" y="183"/>
                  </a:lnTo>
                  <a:lnTo>
                    <a:pt x="381" y="189"/>
                  </a:lnTo>
                  <a:lnTo>
                    <a:pt x="375" y="199"/>
                  </a:lnTo>
                  <a:lnTo>
                    <a:pt x="364" y="195"/>
                  </a:lnTo>
                  <a:lnTo>
                    <a:pt x="362" y="214"/>
                  </a:lnTo>
                  <a:lnTo>
                    <a:pt x="317" y="178"/>
                  </a:lnTo>
                  <a:lnTo>
                    <a:pt x="300" y="182"/>
                  </a:lnTo>
                  <a:lnTo>
                    <a:pt x="312" y="190"/>
                  </a:lnTo>
                  <a:lnTo>
                    <a:pt x="303" y="199"/>
                  </a:lnTo>
                  <a:lnTo>
                    <a:pt x="310" y="198"/>
                  </a:lnTo>
                  <a:lnTo>
                    <a:pt x="320" y="216"/>
                  </a:lnTo>
                  <a:lnTo>
                    <a:pt x="341" y="220"/>
                  </a:lnTo>
                  <a:lnTo>
                    <a:pt x="340" y="231"/>
                  </a:lnTo>
                  <a:lnTo>
                    <a:pt x="351" y="240"/>
                  </a:lnTo>
                  <a:lnTo>
                    <a:pt x="345" y="264"/>
                  </a:lnTo>
                  <a:lnTo>
                    <a:pt x="290" y="239"/>
                  </a:lnTo>
                  <a:lnTo>
                    <a:pt x="327" y="277"/>
                  </a:lnTo>
                  <a:lnTo>
                    <a:pt x="256" y="256"/>
                  </a:lnTo>
                  <a:lnTo>
                    <a:pt x="246" y="243"/>
                  </a:lnTo>
                  <a:lnTo>
                    <a:pt x="256" y="242"/>
                  </a:lnTo>
                  <a:lnTo>
                    <a:pt x="233" y="234"/>
                  </a:lnTo>
                  <a:lnTo>
                    <a:pt x="227" y="219"/>
                  </a:lnTo>
                  <a:lnTo>
                    <a:pt x="209" y="214"/>
                  </a:lnTo>
                  <a:lnTo>
                    <a:pt x="208" y="224"/>
                  </a:lnTo>
                  <a:lnTo>
                    <a:pt x="198" y="219"/>
                  </a:lnTo>
                  <a:lnTo>
                    <a:pt x="182" y="229"/>
                  </a:lnTo>
                  <a:lnTo>
                    <a:pt x="163" y="219"/>
                  </a:lnTo>
                  <a:lnTo>
                    <a:pt x="173" y="202"/>
                  </a:lnTo>
                  <a:lnTo>
                    <a:pt x="225" y="202"/>
                  </a:lnTo>
                  <a:lnTo>
                    <a:pt x="213" y="186"/>
                  </a:lnTo>
                  <a:lnTo>
                    <a:pt x="242" y="161"/>
                  </a:lnTo>
                  <a:lnTo>
                    <a:pt x="221" y="128"/>
                  </a:lnTo>
                  <a:lnTo>
                    <a:pt x="207" y="125"/>
                  </a:lnTo>
                  <a:lnTo>
                    <a:pt x="215" y="120"/>
                  </a:lnTo>
                  <a:lnTo>
                    <a:pt x="183" y="129"/>
                  </a:lnTo>
                  <a:lnTo>
                    <a:pt x="182" y="119"/>
                  </a:lnTo>
                  <a:lnTo>
                    <a:pt x="194" y="114"/>
                  </a:lnTo>
                  <a:lnTo>
                    <a:pt x="170" y="101"/>
                  </a:lnTo>
                  <a:lnTo>
                    <a:pt x="170" y="91"/>
                  </a:lnTo>
                  <a:lnTo>
                    <a:pt x="148" y="86"/>
                  </a:lnTo>
                  <a:lnTo>
                    <a:pt x="153" y="100"/>
                  </a:lnTo>
                  <a:lnTo>
                    <a:pt x="115" y="95"/>
                  </a:lnTo>
                  <a:lnTo>
                    <a:pt x="125" y="102"/>
                  </a:lnTo>
                  <a:lnTo>
                    <a:pt x="26" y="89"/>
                  </a:lnTo>
                  <a:lnTo>
                    <a:pt x="8" y="71"/>
                  </a:lnTo>
                  <a:lnTo>
                    <a:pt x="39" y="72"/>
                  </a:lnTo>
                  <a:lnTo>
                    <a:pt x="0" y="61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" name="Freeform 650">
              <a:extLst>
                <a:ext uri="{FF2B5EF4-FFF2-40B4-BE49-F238E27FC236}">
                  <a16:creationId xmlns:a16="http://schemas.microsoft.com/office/drawing/2014/main" id="{6049D67C-EF5D-F2E1-EBA4-D105F6208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0" y="2375"/>
              <a:ext cx="92" cy="62"/>
            </a:xfrm>
            <a:custGeom>
              <a:avLst/>
              <a:gdLst>
                <a:gd name="T0" fmla="*/ 0 w 92"/>
                <a:gd name="T1" fmla="*/ 50 h 62"/>
                <a:gd name="T2" fmla="*/ 0 w 92"/>
                <a:gd name="T3" fmla="*/ 50 h 62"/>
                <a:gd name="T4" fmla="*/ 14 w 92"/>
                <a:gd name="T5" fmla="*/ 38 h 62"/>
                <a:gd name="T6" fmla="*/ 22 w 92"/>
                <a:gd name="T7" fmla="*/ 0 h 62"/>
                <a:gd name="T8" fmla="*/ 30 w 92"/>
                <a:gd name="T9" fmla="*/ 14 h 62"/>
                <a:gd name="T10" fmla="*/ 51 w 92"/>
                <a:gd name="T11" fmla="*/ 17 h 62"/>
                <a:gd name="T12" fmla="*/ 91 w 92"/>
                <a:gd name="T13" fmla="*/ 45 h 62"/>
                <a:gd name="T14" fmla="*/ 86 w 92"/>
                <a:gd name="T15" fmla="*/ 54 h 62"/>
                <a:gd name="T16" fmla="*/ 49 w 92"/>
                <a:gd name="T17" fmla="*/ 41 h 62"/>
                <a:gd name="T18" fmla="*/ 27 w 92"/>
                <a:gd name="T19" fmla="*/ 61 h 62"/>
                <a:gd name="T20" fmla="*/ 21 w 92"/>
                <a:gd name="T21" fmla="*/ 45 h 62"/>
                <a:gd name="T22" fmla="*/ 0 w 92"/>
                <a:gd name="T23" fmla="*/ 50 h 62"/>
                <a:gd name="T24" fmla="*/ 0 w 92"/>
                <a:gd name="T25" fmla="*/ 5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2"/>
                <a:gd name="T40" fmla="*/ 0 h 62"/>
                <a:gd name="T41" fmla="*/ 92 w 92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2" h="62">
                  <a:moveTo>
                    <a:pt x="0" y="50"/>
                  </a:moveTo>
                  <a:lnTo>
                    <a:pt x="0" y="50"/>
                  </a:lnTo>
                  <a:lnTo>
                    <a:pt x="14" y="38"/>
                  </a:lnTo>
                  <a:lnTo>
                    <a:pt x="22" y="0"/>
                  </a:lnTo>
                  <a:lnTo>
                    <a:pt x="30" y="14"/>
                  </a:lnTo>
                  <a:lnTo>
                    <a:pt x="51" y="17"/>
                  </a:lnTo>
                  <a:lnTo>
                    <a:pt x="91" y="45"/>
                  </a:lnTo>
                  <a:lnTo>
                    <a:pt x="86" y="54"/>
                  </a:lnTo>
                  <a:lnTo>
                    <a:pt x="49" y="41"/>
                  </a:lnTo>
                  <a:lnTo>
                    <a:pt x="27" y="61"/>
                  </a:lnTo>
                  <a:lnTo>
                    <a:pt x="21" y="45"/>
                  </a:lnTo>
                  <a:lnTo>
                    <a:pt x="0" y="5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" name="Freeform 651">
              <a:extLst>
                <a:ext uri="{FF2B5EF4-FFF2-40B4-BE49-F238E27FC236}">
                  <a16:creationId xmlns:a16="http://schemas.microsoft.com/office/drawing/2014/main" id="{B5C8B6D0-C645-B8D7-6BC5-6A9E5F4A8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" y="2661"/>
              <a:ext cx="92" cy="89"/>
            </a:xfrm>
            <a:custGeom>
              <a:avLst/>
              <a:gdLst>
                <a:gd name="T0" fmla="*/ 0 w 92"/>
                <a:gd name="T1" fmla="*/ 69 h 89"/>
                <a:gd name="T2" fmla="*/ 0 w 92"/>
                <a:gd name="T3" fmla="*/ 69 h 89"/>
                <a:gd name="T4" fmla="*/ 37 w 92"/>
                <a:gd name="T5" fmla="*/ 4 h 89"/>
                <a:gd name="T6" fmla="*/ 52 w 92"/>
                <a:gd name="T7" fmla="*/ 0 h 89"/>
                <a:gd name="T8" fmla="*/ 34 w 92"/>
                <a:gd name="T9" fmla="*/ 34 h 89"/>
                <a:gd name="T10" fmla="*/ 46 w 92"/>
                <a:gd name="T11" fmla="*/ 26 h 89"/>
                <a:gd name="T12" fmla="*/ 54 w 92"/>
                <a:gd name="T13" fmla="*/ 41 h 89"/>
                <a:gd name="T14" fmla="*/ 78 w 92"/>
                <a:gd name="T15" fmla="*/ 41 h 89"/>
                <a:gd name="T16" fmla="*/ 73 w 92"/>
                <a:gd name="T17" fmla="*/ 54 h 89"/>
                <a:gd name="T18" fmla="*/ 85 w 92"/>
                <a:gd name="T19" fmla="*/ 53 h 89"/>
                <a:gd name="T20" fmla="*/ 77 w 92"/>
                <a:gd name="T21" fmla="*/ 67 h 89"/>
                <a:gd name="T22" fmla="*/ 88 w 92"/>
                <a:gd name="T23" fmla="*/ 60 h 89"/>
                <a:gd name="T24" fmla="*/ 91 w 92"/>
                <a:gd name="T25" fmla="*/ 73 h 89"/>
                <a:gd name="T26" fmla="*/ 79 w 92"/>
                <a:gd name="T27" fmla="*/ 88 h 89"/>
                <a:gd name="T28" fmla="*/ 78 w 92"/>
                <a:gd name="T29" fmla="*/ 77 h 89"/>
                <a:gd name="T30" fmla="*/ 73 w 92"/>
                <a:gd name="T31" fmla="*/ 83 h 89"/>
                <a:gd name="T32" fmla="*/ 73 w 92"/>
                <a:gd name="T33" fmla="*/ 66 h 89"/>
                <a:gd name="T34" fmla="*/ 50 w 92"/>
                <a:gd name="T35" fmla="*/ 83 h 89"/>
                <a:gd name="T36" fmla="*/ 63 w 92"/>
                <a:gd name="T37" fmla="*/ 71 h 89"/>
                <a:gd name="T38" fmla="*/ 45 w 92"/>
                <a:gd name="T39" fmla="*/ 73 h 89"/>
                <a:gd name="T40" fmla="*/ 49 w 92"/>
                <a:gd name="T41" fmla="*/ 66 h 89"/>
                <a:gd name="T42" fmla="*/ 0 w 92"/>
                <a:gd name="T43" fmla="*/ 69 h 89"/>
                <a:gd name="T44" fmla="*/ 0 w 92"/>
                <a:gd name="T45" fmla="*/ 69 h 8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2"/>
                <a:gd name="T70" fmla="*/ 0 h 89"/>
                <a:gd name="T71" fmla="*/ 92 w 92"/>
                <a:gd name="T72" fmla="*/ 89 h 8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2" h="89">
                  <a:moveTo>
                    <a:pt x="0" y="69"/>
                  </a:moveTo>
                  <a:lnTo>
                    <a:pt x="0" y="69"/>
                  </a:lnTo>
                  <a:lnTo>
                    <a:pt x="37" y="4"/>
                  </a:lnTo>
                  <a:lnTo>
                    <a:pt x="52" y="0"/>
                  </a:lnTo>
                  <a:lnTo>
                    <a:pt x="34" y="34"/>
                  </a:lnTo>
                  <a:lnTo>
                    <a:pt x="46" y="26"/>
                  </a:lnTo>
                  <a:lnTo>
                    <a:pt x="54" y="41"/>
                  </a:lnTo>
                  <a:lnTo>
                    <a:pt x="78" y="41"/>
                  </a:lnTo>
                  <a:lnTo>
                    <a:pt x="73" y="54"/>
                  </a:lnTo>
                  <a:lnTo>
                    <a:pt x="85" y="53"/>
                  </a:lnTo>
                  <a:lnTo>
                    <a:pt x="77" y="67"/>
                  </a:lnTo>
                  <a:lnTo>
                    <a:pt x="88" y="60"/>
                  </a:lnTo>
                  <a:lnTo>
                    <a:pt x="91" y="73"/>
                  </a:lnTo>
                  <a:lnTo>
                    <a:pt x="79" y="88"/>
                  </a:lnTo>
                  <a:lnTo>
                    <a:pt x="78" y="77"/>
                  </a:lnTo>
                  <a:lnTo>
                    <a:pt x="73" y="83"/>
                  </a:lnTo>
                  <a:lnTo>
                    <a:pt x="73" y="66"/>
                  </a:lnTo>
                  <a:lnTo>
                    <a:pt x="50" y="83"/>
                  </a:lnTo>
                  <a:lnTo>
                    <a:pt x="63" y="71"/>
                  </a:lnTo>
                  <a:lnTo>
                    <a:pt x="45" y="73"/>
                  </a:lnTo>
                  <a:lnTo>
                    <a:pt x="49" y="66"/>
                  </a:lnTo>
                  <a:lnTo>
                    <a:pt x="0" y="69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55" name="Freeform 652">
            <a:extLst>
              <a:ext uri="{FF2B5EF4-FFF2-40B4-BE49-F238E27FC236}">
                <a16:creationId xmlns:a16="http://schemas.microsoft.com/office/drawing/2014/main" id="{749F7193-E88E-48CA-015A-4D27A9367E17}"/>
              </a:ext>
            </a:extLst>
          </p:cNvPr>
          <p:cNvSpPr>
            <a:spLocks/>
          </p:cNvSpPr>
          <p:nvPr/>
        </p:nvSpPr>
        <p:spPr bwMode="auto">
          <a:xfrm>
            <a:off x="2909494" y="3659924"/>
            <a:ext cx="950468" cy="673324"/>
          </a:xfrm>
          <a:custGeom>
            <a:avLst/>
            <a:gdLst>
              <a:gd name="T0" fmla="*/ 91471449 w 830"/>
              <a:gd name="T1" fmla="*/ 245076928 h 606"/>
              <a:gd name="T2" fmla="*/ 182942897 w 830"/>
              <a:gd name="T3" fmla="*/ 205933045 h 606"/>
              <a:gd name="T4" fmla="*/ 148834854 w 830"/>
              <a:gd name="T5" fmla="*/ 199125753 h 606"/>
              <a:gd name="T6" fmla="*/ 243406691 w 830"/>
              <a:gd name="T7" fmla="*/ 132750054 h 606"/>
              <a:gd name="T8" fmla="*/ 275964501 w 830"/>
              <a:gd name="T9" fmla="*/ 88500049 h 606"/>
              <a:gd name="T10" fmla="*/ 410846402 w 830"/>
              <a:gd name="T11" fmla="*/ 86798879 h 606"/>
              <a:gd name="T12" fmla="*/ 455807010 w 830"/>
              <a:gd name="T13" fmla="*/ 76586617 h 606"/>
              <a:gd name="T14" fmla="*/ 576735842 w 830"/>
              <a:gd name="T15" fmla="*/ 86798879 h 606"/>
              <a:gd name="T16" fmla="*/ 561231411 w 830"/>
              <a:gd name="T17" fmla="*/ 44250025 h 606"/>
              <a:gd name="T18" fmla="*/ 607742213 w 830"/>
              <a:gd name="T19" fmla="*/ 39143894 h 606"/>
              <a:gd name="T20" fmla="*/ 617044622 w 830"/>
              <a:gd name="T21" fmla="*/ 15317063 h 606"/>
              <a:gd name="T22" fmla="*/ 702315412 w 830"/>
              <a:gd name="T23" fmla="*/ 20423184 h 606"/>
              <a:gd name="T24" fmla="*/ 976729641 w 830"/>
              <a:gd name="T25" fmla="*/ 15317063 h 606"/>
              <a:gd name="T26" fmla="*/ 767429787 w 830"/>
              <a:gd name="T27" fmla="*/ 39143894 h 606"/>
              <a:gd name="T28" fmla="*/ 1021690249 w 830"/>
              <a:gd name="T29" fmla="*/ 39143894 h 606"/>
              <a:gd name="T30" fmla="*/ 883708037 w 830"/>
              <a:gd name="T31" fmla="*/ 85096383 h 606"/>
              <a:gd name="T32" fmla="*/ 992232826 w 830"/>
              <a:gd name="T33" fmla="*/ 97009816 h 606"/>
              <a:gd name="T34" fmla="*/ 1017038421 w 830"/>
              <a:gd name="T35" fmla="*/ 171893978 h 606"/>
              <a:gd name="T36" fmla="*/ 1172075258 w 830"/>
              <a:gd name="T37" fmla="*/ 97009816 h 606"/>
              <a:gd name="T38" fmla="*/ 1227888469 w 830"/>
              <a:gd name="T39" fmla="*/ 151472062 h 606"/>
              <a:gd name="T40" fmla="*/ 1114711852 w 830"/>
              <a:gd name="T41" fmla="*/ 209336691 h 606"/>
              <a:gd name="T42" fmla="*/ 1141067641 w 830"/>
              <a:gd name="T43" fmla="*/ 234865991 h 606"/>
              <a:gd name="T44" fmla="*/ 1137967253 w 830"/>
              <a:gd name="T45" fmla="*/ 311452587 h 606"/>
              <a:gd name="T46" fmla="*/ 1158122266 w 830"/>
              <a:gd name="T47" fmla="*/ 354000198 h 606"/>
              <a:gd name="T48" fmla="*/ 1085254430 w 830"/>
              <a:gd name="T49" fmla="*/ 384635619 h 606"/>
              <a:gd name="T50" fmla="*/ 1128664844 w 830"/>
              <a:gd name="T51" fmla="*/ 437395390 h 606"/>
              <a:gd name="T52" fmla="*/ 1105409443 w 830"/>
              <a:gd name="T53" fmla="*/ 442501511 h 606"/>
              <a:gd name="T54" fmla="*/ 1066650856 w 830"/>
              <a:gd name="T55" fmla="*/ 473135628 h 606"/>
              <a:gd name="T56" fmla="*/ 1030992658 w 830"/>
              <a:gd name="T57" fmla="*/ 496962453 h 606"/>
              <a:gd name="T58" fmla="*/ 1018589860 w 830"/>
              <a:gd name="T59" fmla="*/ 546318578 h 606"/>
              <a:gd name="T60" fmla="*/ 1052696620 w 830"/>
              <a:gd name="T61" fmla="*/ 595674703 h 606"/>
              <a:gd name="T62" fmla="*/ 1086804624 w 830"/>
              <a:gd name="T63" fmla="*/ 641625878 h 606"/>
              <a:gd name="T64" fmla="*/ 1021690249 w 830"/>
              <a:gd name="T65" fmla="*/ 604184470 h 606"/>
              <a:gd name="T66" fmla="*/ 930218839 w 830"/>
              <a:gd name="T67" fmla="*/ 641625878 h 606"/>
              <a:gd name="T68" fmla="*/ 1071301438 w 830"/>
              <a:gd name="T69" fmla="*/ 662049057 h 606"/>
              <a:gd name="T70" fmla="*/ 855800809 w 830"/>
              <a:gd name="T71" fmla="*/ 714808992 h 606"/>
              <a:gd name="T72" fmla="*/ 786034606 w 830"/>
              <a:gd name="T73" fmla="*/ 805011475 h 606"/>
              <a:gd name="T74" fmla="*/ 759678817 w 830"/>
              <a:gd name="T75" fmla="*/ 806712646 h 606"/>
              <a:gd name="T76" fmla="*/ 696113390 w 830"/>
              <a:gd name="T77" fmla="*/ 857771246 h 606"/>
              <a:gd name="T78" fmla="*/ 686810981 w 830"/>
              <a:gd name="T79" fmla="*/ 900318776 h 606"/>
              <a:gd name="T80" fmla="*/ 654253171 w 830"/>
              <a:gd name="T81" fmla="*/ 924146905 h 606"/>
              <a:gd name="T82" fmla="*/ 638749829 w 830"/>
              <a:gd name="T83" fmla="*/ 1014348084 h 606"/>
              <a:gd name="T84" fmla="*/ 586037006 w 830"/>
              <a:gd name="T85" fmla="*/ 1002434672 h 606"/>
              <a:gd name="T86" fmla="*/ 524023019 w 830"/>
              <a:gd name="T87" fmla="*/ 982011493 h 606"/>
              <a:gd name="T88" fmla="*/ 455807010 w 830"/>
              <a:gd name="T89" fmla="*/ 905424897 h 606"/>
              <a:gd name="T90" fmla="*/ 443404213 w 830"/>
              <a:gd name="T91" fmla="*/ 885001717 h 606"/>
              <a:gd name="T92" fmla="*/ 406195820 w 830"/>
              <a:gd name="T93" fmla="*/ 769271238 h 606"/>
              <a:gd name="T94" fmla="*/ 462009031 w 830"/>
              <a:gd name="T95" fmla="*/ 723318758 h 606"/>
              <a:gd name="T96" fmla="*/ 479062411 w 830"/>
              <a:gd name="T97" fmla="*/ 658645412 h 606"/>
              <a:gd name="T98" fmla="*/ 458907398 w 830"/>
              <a:gd name="T99" fmla="*/ 636521062 h 606"/>
              <a:gd name="T100" fmla="*/ 434101803 w 830"/>
              <a:gd name="T101" fmla="*/ 610991761 h 606"/>
              <a:gd name="T102" fmla="*/ 410846402 w 830"/>
              <a:gd name="T103" fmla="*/ 575251524 h 606"/>
              <a:gd name="T104" fmla="*/ 386040807 w 830"/>
              <a:gd name="T105" fmla="*/ 575251524 h 606"/>
              <a:gd name="T106" fmla="*/ 378288592 w 830"/>
              <a:gd name="T107" fmla="*/ 513981986 h 606"/>
              <a:gd name="T108" fmla="*/ 306972117 w 830"/>
              <a:gd name="T109" fmla="*/ 410164919 h 606"/>
              <a:gd name="T110" fmla="*/ 128679841 w 830"/>
              <a:gd name="T111" fmla="*/ 384635619 h 606"/>
              <a:gd name="T112" fmla="*/ 103874246 w 830"/>
              <a:gd name="T113" fmla="*/ 364212440 h 606"/>
              <a:gd name="T114" fmla="*/ 155036875 w 830"/>
              <a:gd name="T115" fmla="*/ 335279412 h 606"/>
              <a:gd name="T116" fmla="*/ 0 w 830"/>
              <a:gd name="T117" fmla="*/ 289326933 h 60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830"/>
              <a:gd name="T178" fmla="*/ 0 h 606"/>
              <a:gd name="T179" fmla="*/ 830 w 830"/>
              <a:gd name="T180" fmla="*/ 606 h 60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830" h="606">
                <a:moveTo>
                  <a:pt x="0" y="170"/>
                </a:moveTo>
                <a:lnTo>
                  <a:pt x="0" y="170"/>
                </a:lnTo>
                <a:lnTo>
                  <a:pt x="5" y="161"/>
                </a:lnTo>
                <a:lnTo>
                  <a:pt x="59" y="144"/>
                </a:lnTo>
                <a:lnTo>
                  <a:pt x="93" y="144"/>
                </a:lnTo>
                <a:lnTo>
                  <a:pt x="112" y="130"/>
                </a:lnTo>
                <a:lnTo>
                  <a:pt x="107" y="126"/>
                </a:lnTo>
                <a:lnTo>
                  <a:pt x="118" y="121"/>
                </a:lnTo>
                <a:lnTo>
                  <a:pt x="108" y="118"/>
                </a:lnTo>
                <a:lnTo>
                  <a:pt x="127" y="112"/>
                </a:lnTo>
                <a:lnTo>
                  <a:pt x="120" y="108"/>
                </a:lnTo>
                <a:lnTo>
                  <a:pt x="96" y="117"/>
                </a:lnTo>
                <a:lnTo>
                  <a:pt x="72" y="105"/>
                </a:lnTo>
                <a:lnTo>
                  <a:pt x="103" y="98"/>
                </a:lnTo>
                <a:lnTo>
                  <a:pt x="120" y="79"/>
                </a:lnTo>
                <a:lnTo>
                  <a:pt x="157" y="78"/>
                </a:lnTo>
                <a:lnTo>
                  <a:pt x="155" y="57"/>
                </a:lnTo>
                <a:lnTo>
                  <a:pt x="183" y="57"/>
                </a:lnTo>
                <a:lnTo>
                  <a:pt x="211" y="72"/>
                </a:lnTo>
                <a:lnTo>
                  <a:pt x="178" y="52"/>
                </a:lnTo>
                <a:lnTo>
                  <a:pt x="240" y="40"/>
                </a:lnTo>
                <a:lnTo>
                  <a:pt x="255" y="49"/>
                </a:lnTo>
                <a:lnTo>
                  <a:pt x="257" y="67"/>
                </a:lnTo>
                <a:lnTo>
                  <a:pt x="265" y="51"/>
                </a:lnTo>
                <a:lnTo>
                  <a:pt x="305" y="63"/>
                </a:lnTo>
                <a:lnTo>
                  <a:pt x="291" y="54"/>
                </a:lnTo>
                <a:lnTo>
                  <a:pt x="311" y="55"/>
                </a:lnTo>
                <a:lnTo>
                  <a:pt x="294" y="45"/>
                </a:lnTo>
                <a:lnTo>
                  <a:pt x="289" y="36"/>
                </a:lnTo>
                <a:lnTo>
                  <a:pt x="298" y="35"/>
                </a:lnTo>
                <a:lnTo>
                  <a:pt x="378" y="60"/>
                </a:lnTo>
                <a:lnTo>
                  <a:pt x="372" y="51"/>
                </a:lnTo>
                <a:lnTo>
                  <a:pt x="389" y="50"/>
                </a:lnTo>
                <a:lnTo>
                  <a:pt x="378" y="43"/>
                </a:lnTo>
                <a:lnTo>
                  <a:pt x="405" y="45"/>
                </a:lnTo>
                <a:lnTo>
                  <a:pt x="362" y="26"/>
                </a:lnTo>
                <a:lnTo>
                  <a:pt x="440" y="36"/>
                </a:lnTo>
                <a:lnTo>
                  <a:pt x="422" y="26"/>
                </a:lnTo>
                <a:lnTo>
                  <a:pt x="377" y="24"/>
                </a:lnTo>
                <a:lnTo>
                  <a:pt x="392" y="23"/>
                </a:lnTo>
                <a:lnTo>
                  <a:pt x="364" y="14"/>
                </a:lnTo>
                <a:lnTo>
                  <a:pt x="397" y="16"/>
                </a:lnTo>
                <a:lnTo>
                  <a:pt x="383" y="12"/>
                </a:lnTo>
                <a:lnTo>
                  <a:pt x="398" y="9"/>
                </a:lnTo>
                <a:lnTo>
                  <a:pt x="455" y="26"/>
                </a:lnTo>
                <a:lnTo>
                  <a:pt x="449" y="20"/>
                </a:lnTo>
                <a:lnTo>
                  <a:pt x="474" y="14"/>
                </a:lnTo>
                <a:lnTo>
                  <a:pt x="453" y="12"/>
                </a:lnTo>
                <a:lnTo>
                  <a:pt x="452" y="4"/>
                </a:lnTo>
                <a:lnTo>
                  <a:pt x="466" y="0"/>
                </a:lnTo>
                <a:lnTo>
                  <a:pt x="619" y="4"/>
                </a:lnTo>
                <a:lnTo>
                  <a:pt x="630" y="9"/>
                </a:lnTo>
                <a:lnTo>
                  <a:pt x="626" y="12"/>
                </a:lnTo>
                <a:lnTo>
                  <a:pt x="523" y="13"/>
                </a:lnTo>
                <a:lnTo>
                  <a:pt x="535" y="18"/>
                </a:lnTo>
                <a:lnTo>
                  <a:pt x="495" y="23"/>
                </a:lnTo>
                <a:lnTo>
                  <a:pt x="640" y="14"/>
                </a:lnTo>
                <a:lnTo>
                  <a:pt x="645" y="22"/>
                </a:lnTo>
                <a:lnTo>
                  <a:pt x="626" y="27"/>
                </a:lnTo>
                <a:lnTo>
                  <a:pt x="659" y="23"/>
                </a:lnTo>
                <a:lnTo>
                  <a:pt x="697" y="33"/>
                </a:lnTo>
                <a:lnTo>
                  <a:pt x="640" y="49"/>
                </a:lnTo>
                <a:lnTo>
                  <a:pt x="548" y="47"/>
                </a:lnTo>
                <a:lnTo>
                  <a:pt x="570" y="50"/>
                </a:lnTo>
                <a:lnTo>
                  <a:pt x="531" y="57"/>
                </a:lnTo>
                <a:lnTo>
                  <a:pt x="531" y="65"/>
                </a:lnTo>
                <a:lnTo>
                  <a:pt x="632" y="52"/>
                </a:lnTo>
                <a:lnTo>
                  <a:pt x="640" y="57"/>
                </a:lnTo>
                <a:lnTo>
                  <a:pt x="619" y="70"/>
                </a:lnTo>
                <a:lnTo>
                  <a:pt x="684" y="50"/>
                </a:lnTo>
                <a:lnTo>
                  <a:pt x="688" y="69"/>
                </a:lnTo>
                <a:lnTo>
                  <a:pt x="656" y="101"/>
                </a:lnTo>
                <a:lnTo>
                  <a:pt x="718" y="64"/>
                </a:lnTo>
                <a:lnTo>
                  <a:pt x="718" y="70"/>
                </a:lnTo>
                <a:lnTo>
                  <a:pt x="747" y="69"/>
                </a:lnTo>
                <a:lnTo>
                  <a:pt x="756" y="57"/>
                </a:lnTo>
                <a:lnTo>
                  <a:pt x="789" y="55"/>
                </a:lnTo>
                <a:lnTo>
                  <a:pt x="829" y="66"/>
                </a:lnTo>
                <a:lnTo>
                  <a:pt x="790" y="82"/>
                </a:lnTo>
                <a:lnTo>
                  <a:pt x="792" y="89"/>
                </a:lnTo>
                <a:lnTo>
                  <a:pt x="702" y="98"/>
                </a:lnTo>
                <a:lnTo>
                  <a:pt x="774" y="99"/>
                </a:lnTo>
                <a:lnTo>
                  <a:pt x="715" y="113"/>
                </a:lnTo>
                <a:lnTo>
                  <a:pt x="719" y="123"/>
                </a:lnTo>
                <a:lnTo>
                  <a:pt x="759" y="113"/>
                </a:lnTo>
                <a:lnTo>
                  <a:pt x="730" y="126"/>
                </a:lnTo>
                <a:lnTo>
                  <a:pt x="726" y="142"/>
                </a:lnTo>
                <a:lnTo>
                  <a:pt x="736" y="138"/>
                </a:lnTo>
                <a:lnTo>
                  <a:pt x="708" y="153"/>
                </a:lnTo>
                <a:lnTo>
                  <a:pt x="698" y="183"/>
                </a:lnTo>
                <a:lnTo>
                  <a:pt x="713" y="177"/>
                </a:lnTo>
                <a:lnTo>
                  <a:pt x="734" y="183"/>
                </a:lnTo>
                <a:lnTo>
                  <a:pt x="715" y="183"/>
                </a:lnTo>
                <a:lnTo>
                  <a:pt x="715" y="192"/>
                </a:lnTo>
                <a:lnTo>
                  <a:pt x="746" y="196"/>
                </a:lnTo>
                <a:lnTo>
                  <a:pt x="747" y="208"/>
                </a:lnTo>
                <a:lnTo>
                  <a:pt x="700" y="205"/>
                </a:lnTo>
                <a:lnTo>
                  <a:pt x="713" y="210"/>
                </a:lnTo>
                <a:lnTo>
                  <a:pt x="687" y="214"/>
                </a:lnTo>
                <a:lnTo>
                  <a:pt x="700" y="226"/>
                </a:lnTo>
                <a:lnTo>
                  <a:pt x="724" y="227"/>
                </a:lnTo>
                <a:lnTo>
                  <a:pt x="710" y="234"/>
                </a:lnTo>
                <a:lnTo>
                  <a:pt x="729" y="241"/>
                </a:lnTo>
                <a:lnTo>
                  <a:pt x="728" y="257"/>
                </a:lnTo>
                <a:lnTo>
                  <a:pt x="693" y="247"/>
                </a:lnTo>
                <a:lnTo>
                  <a:pt x="714" y="255"/>
                </a:lnTo>
                <a:lnTo>
                  <a:pt x="701" y="261"/>
                </a:lnTo>
                <a:lnTo>
                  <a:pt x="713" y="260"/>
                </a:lnTo>
                <a:lnTo>
                  <a:pt x="710" y="270"/>
                </a:lnTo>
                <a:lnTo>
                  <a:pt x="735" y="275"/>
                </a:lnTo>
                <a:lnTo>
                  <a:pt x="695" y="272"/>
                </a:lnTo>
                <a:lnTo>
                  <a:pt x="688" y="278"/>
                </a:lnTo>
                <a:lnTo>
                  <a:pt x="718" y="290"/>
                </a:lnTo>
                <a:lnTo>
                  <a:pt x="714" y="301"/>
                </a:lnTo>
                <a:lnTo>
                  <a:pt x="689" y="307"/>
                </a:lnTo>
                <a:lnTo>
                  <a:pt x="665" y="292"/>
                </a:lnTo>
                <a:lnTo>
                  <a:pt x="629" y="305"/>
                </a:lnTo>
                <a:lnTo>
                  <a:pt x="655" y="313"/>
                </a:lnTo>
                <a:lnTo>
                  <a:pt x="630" y="320"/>
                </a:lnTo>
                <a:lnTo>
                  <a:pt x="657" y="321"/>
                </a:lnTo>
                <a:lnTo>
                  <a:pt x="648" y="336"/>
                </a:lnTo>
                <a:lnTo>
                  <a:pt x="659" y="327"/>
                </a:lnTo>
                <a:lnTo>
                  <a:pt x="688" y="340"/>
                </a:lnTo>
                <a:lnTo>
                  <a:pt x="679" y="350"/>
                </a:lnTo>
                <a:lnTo>
                  <a:pt x="695" y="346"/>
                </a:lnTo>
                <a:lnTo>
                  <a:pt x="688" y="356"/>
                </a:lnTo>
                <a:lnTo>
                  <a:pt x="699" y="351"/>
                </a:lnTo>
                <a:lnTo>
                  <a:pt x="701" y="377"/>
                </a:lnTo>
                <a:lnTo>
                  <a:pt x="688" y="368"/>
                </a:lnTo>
                <a:lnTo>
                  <a:pt x="688" y="377"/>
                </a:lnTo>
                <a:lnTo>
                  <a:pt x="675" y="377"/>
                </a:lnTo>
                <a:lnTo>
                  <a:pt x="659" y="355"/>
                </a:lnTo>
                <a:lnTo>
                  <a:pt x="619" y="344"/>
                </a:lnTo>
                <a:lnTo>
                  <a:pt x="647" y="358"/>
                </a:lnTo>
                <a:lnTo>
                  <a:pt x="611" y="365"/>
                </a:lnTo>
                <a:lnTo>
                  <a:pt x="600" y="377"/>
                </a:lnTo>
                <a:lnTo>
                  <a:pt x="634" y="380"/>
                </a:lnTo>
                <a:lnTo>
                  <a:pt x="605" y="387"/>
                </a:lnTo>
                <a:lnTo>
                  <a:pt x="649" y="378"/>
                </a:lnTo>
                <a:lnTo>
                  <a:pt x="691" y="389"/>
                </a:lnTo>
                <a:lnTo>
                  <a:pt x="636" y="419"/>
                </a:lnTo>
                <a:lnTo>
                  <a:pt x="584" y="432"/>
                </a:lnTo>
                <a:lnTo>
                  <a:pt x="565" y="433"/>
                </a:lnTo>
                <a:lnTo>
                  <a:pt x="552" y="420"/>
                </a:lnTo>
                <a:lnTo>
                  <a:pt x="558" y="433"/>
                </a:lnTo>
                <a:lnTo>
                  <a:pt x="543" y="441"/>
                </a:lnTo>
                <a:lnTo>
                  <a:pt x="523" y="473"/>
                </a:lnTo>
                <a:lnTo>
                  <a:pt x="507" y="473"/>
                </a:lnTo>
                <a:lnTo>
                  <a:pt x="503" y="482"/>
                </a:lnTo>
                <a:lnTo>
                  <a:pt x="487" y="484"/>
                </a:lnTo>
                <a:lnTo>
                  <a:pt x="480" y="480"/>
                </a:lnTo>
                <a:lnTo>
                  <a:pt x="490" y="474"/>
                </a:lnTo>
                <a:lnTo>
                  <a:pt x="479" y="473"/>
                </a:lnTo>
                <a:lnTo>
                  <a:pt x="473" y="489"/>
                </a:lnTo>
                <a:lnTo>
                  <a:pt x="448" y="491"/>
                </a:lnTo>
                <a:lnTo>
                  <a:pt x="449" y="504"/>
                </a:lnTo>
                <a:lnTo>
                  <a:pt x="433" y="505"/>
                </a:lnTo>
                <a:lnTo>
                  <a:pt x="447" y="515"/>
                </a:lnTo>
                <a:lnTo>
                  <a:pt x="429" y="518"/>
                </a:lnTo>
                <a:lnTo>
                  <a:pt x="443" y="529"/>
                </a:lnTo>
                <a:lnTo>
                  <a:pt x="431" y="529"/>
                </a:lnTo>
                <a:lnTo>
                  <a:pt x="440" y="532"/>
                </a:lnTo>
                <a:lnTo>
                  <a:pt x="431" y="545"/>
                </a:lnTo>
                <a:lnTo>
                  <a:pt x="422" y="543"/>
                </a:lnTo>
                <a:lnTo>
                  <a:pt x="429" y="549"/>
                </a:lnTo>
                <a:lnTo>
                  <a:pt x="412" y="554"/>
                </a:lnTo>
                <a:lnTo>
                  <a:pt x="422" y="572"/>
                </a:lnTo>
                <a:lnTo>
                  <a:pt x="412" y="596"/>
                </a:lnTo>
                <a:lnTo>
                  <a:pt x="400" y="597"/>
                </a:lnTo>
                <a:lnTo>
                  <a:pt x="409" y="605"/>
                </a:lnTo>
                <a:lnTo>
                  <a:pt x="381" y="605"/>
                </a:lnTo>
                <a:lnTo>
                  <a:pt x="378" y="589"/>
                </a:lnTo>
                <a:lnTo>
                  <a:pt x="339" y="591"/>
                </a:lnTo>
                <a:lnTo>
                  <a:pt x="348" y="587"/>
                </a:lnTo>
                <a:lnTo>
                  <a:pt x="328" y="580"/>
                </a:lnTo>
                <a:lnTo>
                  <a:pt x="338" y="577"/>
                </a:lnTo>
                <a:lnTo>
                  <a:pt x="323" y="577"/>
                </a:lnTo>
                <a:lnTo>
                  <a:pt x="328" y="564"/>
                </a:lnTo>
                <a:lnTo>
                  <a:pt x="320" y="567"/>
                </a:lnTo>
                <a:lnTo>
                  <a:pt x="294" y="532"/>
                </a:lnTo>
                <a:lnTo>
                  <a:pt x="294" y="522"/>
                </a:lnTo>
                <a:lnTo>
                  <a:pt x="313" y="510"/>
                </a:lnTo>
                <a:lnTo>
                  <a:pt x="305" y="507"/>
                </a:lnTo>
                <a:lnTo>
                  <a:pt x="286" y="520"/>
                </a:lnTo>
                <a:lnTo>
                  <a:pt x="286" y="494"/>
                </a:lnTo>
                <a:lnTo>
                  <a:pt x="268" y="480"/>
                </a:lnTo>
                <a:lnTo>
                  <a:pt x="273" y="460"/>
                </a:lnTo>
                <a:lnTo>
                  <a:pt x="262" y="452"/>
                </a:lnTo>
                <a:lnTo>
                  <a:pt x="277" y="434"/>
                </a:lnTo>
                <a:lnTo>
                  <a:pt x="268" y="432"/>
                </a:lnTo>
                <a:lnTo>
                  <a:pt x="301" y="432"/>
                </a:lnTo>
                <a:lnTo>
                  <a:pt x="298" y="425"/>
                </a:lnTo>
                <a:lnTo>
                  <a:pt x="275" y="426"/>
                </a:lnTo>
                <a:lnTo>
                  <a:pt x="309" y="410"/>
                </a:lnTo>
                <a:lnTo>
                  <a:pt x="301" y="405"/>
                </a:lnTo>
                <a:lnTo>
                  <a:pt x="309" y="387"/>
                </a:lnTo>
                <a:lnTo>
                  <a:pt x="281" y="387"/>
                </a:lnTo>
                <a:lnTo>
                  <a:pt x="251" y="372"/>
                </a:lnTo>
                <a:lnTo>
                  <a:pt x="305" y="380"/>
                </a:lnTo>
                <a:lnTo>
                  <a:pt x="296" y="374"/>
                </a:lnTo>
                <a:lnTo>
                  <a:pt x="305" y="371"/>
                </a:lnTo>
                <a:lnTo>
                  <a:pt x="284" y="360"/>
                </a:lnTo>
                <a:lnTo>
                  <a:pt x="291" y="355"/>
                </a:lnTo>
                <a:lnTo>
                  <a:pt x="280" y="359"/>
                </a:lnTo>
                <a:lnTo>
                  <a:pt x="288" y="352"/>
                </a:lnTo>
                <a:lnTo>
                  <a:pt x="274" y="352"/>
                </a:lnTo>
                <a:lnTo>
                  <a:pt x="289" y="347"/>
                </a:lnTo>
                <a:lnTo>
                  <a:pt x="265" y="338"/>
                </a:lnTo>
                <a:lnTo>
                  <a:pt x="260" y="352"/>
                </a:lnTo>
                <a:lnTo>
                  <a:pt x="240" y="352"/>
                </a:lnTo>
                <a:lnTo>
                  <a:pt x="236" y="347"/>
                </a:lnTo>
                <a:lnTo>
                  <a:pt x="249" y="338"/>
                </a:lnTo>
                <a:lnTo>
                  <a:pt x="239" y="338"/>
                </a:lnTo>
                <a:lnTo>
                  <a:pt x="251" y="316"/>
                </a:lnTo>
                <a:lnTo>
                  <a:pt x="237" y="312"/>
                </a:lnTo>
                <a:lnTo>
                  <a:pt x="244" y="302"/>
                </a:lnTo>
                <a:lnTo>
                  <a:pt x="221" y="275"/>
                </a:lnTo>
                <a:lnTo>
                  <a:pt x="229" y="274"/>
                </a:lnTo>
                <a:lnTo>
                  <a:pt x="198" y="250"/>
                </a:lnTo>
                <a:lnTo>
                  <a:pt x="198" y="241"/>
                </a:lnTo>
                <a:lnTo>
                  <a:pt x="165" y="229"/>
                </a:lnTo>
                <a:lnTo>
                  <a:pt x="134" y="222"/>
                </a:lnTo>
                <a:lnTo>
                  <a:pt x="106" y="234"/>
                </a:lnTo>
                <a:lnTo>
                  <a:pt x="83" y="226"/>
                </a:lnTo>
                <a:lnTo>
                  <a:pt x="91" y="235"/>
                </a:lnTo>
                <a:lnTo>
                  <a:pt x="67" y="231"/>
                </a:lnTo>
                <a:lnTo>
                  <a:pt x="46" y="222"/>
                </a:lnTo>
                <a:lnTo>
                  <a:pt x="67" y="214"/>
                </a:lnTo>
                <a:lnTo>
                  <a:pt x="21" y="205"/>
                </a:lnTo>
                <a:lnTo>
                  <a:pt x="38" y="198"/>
                </a:lnTo>
                <a:lnTo>
                  <a:pt x="93" y="200"/>
                </a:lnTo>
                <a:lnTo>
                  <a:pt x="100" y="197"/>
                </a:lnTo>
                <a:lnTo>
                  <a:pt x="90" y="192"/>
                </a:lnTo>
                <a:lnTo>
                  <a:pt x="99" y="187"/>
                </a:lnTo>
                <a:lnTo>
                  <a:pt x="50" y="191"/>
                </a:lnTo>
                <a:lnTo>
                  <a:pt x="0" y="17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56" name="Freeform 653">
            <a:extLst>
              <a:ext uri="{FF2B5EF4-FFF2-40B4-BE49-F238E27FC236}">
                <a16:creationId xmlns:a16="http://schemas.microsoft.com/office/drawing/2014/main" id="{9106CE49-5810-E4AF-67F9-E830E2528AA7}"/>
              </a:ext>
            </a:extLst>
          </p:cNvPr>
          <p:cNvSpPr>
            <a:spLocks/>
          </p:cNvSpPr>
          <p:nvPr/>
        </p:nvSpPr>
        <p:spPr bwMode="auto">
          <a:xfrm>
            <a:off x="3668701" y="4181819"/>
            <a:ext cx="173742" cy="77068"/>
          </a:xfrm>
          <a:custGeom>
            <a:avLst/>
            <a:gdLst>
              <a:gd name="T0" fmla="*/ 0 w 151"/>
              <a:gd name="T1" fmla="*/ 40104274 h 70"/>
              <a:gd name="T2" fmla="*/ 0 w 151"/>
              <a:gd name="T3" fmla="*/ 40104274 h 70"/>
              <a:gd name="T4" fmla="*/ 15652254 w 151"/>
              <a:gd name="T5" fmla="*/ 35091241 h 70"/>
              <a:gd name="T6" fmla="*/ 6260402 w 151"/>
              <a:gd name="T7" fmla="*/ 25065175 h 70"/>
              <a:gd name="T8" fmla="*/ 26607957 w 151"/>
              <a:gd name="T9" fmla="*/ 31749650 h 70"/>
              <a:gd name="T10" fmla="*/ 17217354 w 151"/>
              <a:gd name="T11" fmla="*/ 13367662 h 70"/>
              <a:gd name="T12" fmla="*/ 40695106 w 151"/>
              <a:gd name="T13" fmla="*/ 23395026 h 70"/>
              <a:gd name="T14" fmla="*/ 29739408 w 151"/>
              <a:gd name="T15" fmla="*/ 1671443 h 70"/>
              <a:gd name="T16" fmla="*/ 65737964 w 151"/>
              <a:gd name="T17" fmla="*/ 18381988 h 70"/>
              <a:gd name="T18" fmla="*/ 68868163 w 151"/>
              <a:gd name="T19" fmla="*/ 48460201 h 70"/>
              <a:gd name="T20" fmla="*/ 87650631 w 151"/>
              <a:gd name="T21" fmla="*/ 15039104 h 70"/>
              <a:gd name="T22" fmla="*/ 106433080 w 151"/>
              <a:gd name="T23" fmla="*/ 28408059 h 70"/>
              <a:gd name="T24" fmla="*/ 122085329 w 151"/>
              <a:gd name="T25" fmla="*/ 11697513 h 70"/>
              <a:gd name="T26" fmla="*/ 134607378 w 151"/>
              <a:gd name="T27" fmla="*/ 31749650 h 70"/>
              <a:gd name="T28" fmla="*/ 131477179 w 151"/>
              <a:gd name="T29" fmla="*/ 13367662 h 70"/>
              <a:gd name="T30" fmla="*/ 170607214 w 151"/>
              <a:gd name="T31" fmla="*/ 13367662 h 70"/>
              <a:gd name="T32" fmla="*/ 175302514 w 151"/>
              <a:gd name="T33" fmla="*/ 0 h 70"/>
              <a:gd name="T34" fmla="*/ 192519862 w 151"/>
              <a:gd name="T35" fmla="*/ 11697513 h 70"/>
              <a:gd name="T36" fmla="*/ 214432511 w 151"/>
              <a:gd name="T37" fmla="*/ 6684477 h 70"/>
              <a:gd name="T38" fmla="*/ 198780262 w 151"/>
              <a:gd name="T39" fmla="*/ 15039104 h 70"/>
              <a:gd name="T40" fmla="*/ 234780059 w 151"/>
              <a:gd name="T41" fmla="*/ 51801792 h 70"/>
              <a:gd name="T42" fmla="*/ 203475561 w 151"/>
              <a:gd name="T43" fmla="*/ 83551432 h 70"/>
              <a:gd name="T44" fmla="*/ 117390029 w 151"/>
              <a:gd name="T45" fmla="*/ 115301092 h 70"/>
              <a:gd name="T46" fmla="*/ 39130007 w 151"/>
              <a:gd name="T47" fmla="*/ 100261993 h 70"/>
              <a:gd name="T48" fmla="*/ 57912465 w 151"/>
              <a:gd name="T49" fmla="*/ 70183775 h 70"/>
              <a:gd name="T50" fmla="*/ 12522054 w 151"/>
              <a:gd name="T51" fmla="*/ 60157709 h 70"/>
              <a:gd name="T52" fmla="*/ 56347365 w 151"/>
              <a:gd name="T53" fmla="*/ 58486267 h 70"/>
              <a:gd name="T54" fmla="*/ 40695106 w 151"/>
              <a:gd name="T55" fmla="*/ 48460201 h 70"/>
              <a:gd name="T56" fmla="*/ 56347365 w 151"/>
              <a:gd name="T57" fmla="*/ 40104274 h 70"/>
              <a:gd name="T58" fmla="*/ 0 w 151"/>
              <a:gd name="T59" fmla="*/ 40104274 h 70"/>
              <a:gd name="T60" fmla="*/ 0 w 151"/>
              <a:gd name="T61" fmla="*/ 40104274 h 7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51"/>
              <a:gd name="T94" fmla="*/ 0 h 70"/>
              <a:gd name="T95" fmla="*/ 151 w 151"/>
              <a:gd name="T96" fmla="*/ 70 h 7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51" h="70">
                <a:moveTo>
                  <a:pt x="0" y="24"/>
                </a:moveTo>
                <a:lnTo>
                  <a:pt x="0" y="24"/>
                </a:lnTo>
                <a:lnTo>
                  <a:pt x="10" y="21"/>
                </a:lnTo>
                <a:lnTo>
                  <a:pt x="4" y="15"/>
                </a:lnTo>
                <a:lnTo>
                  <a:pt x="17" y="19"/>
                </a:lnTo>
                <a:lnTo>
                  <a:pt x="11" y="8"/>
                </a:lnTo>
                <a:lnTo>
                  <a:pt x="26" y="14"/>
                </a:lnTo>
                <a:lnTo>
                  <a:pt x="19" y="1"/>
                </a:lnTo>
                <a:lnTo>
                  <a:pt x="42" y="11"/>
                </a:lnTo>
                <a:lnTo>
                  <a:pt x="44" y="29"/>
                </a:lnTo>
                <a:lnTo>
                  <a:pt x="56" y="9"/>
                </a:lnTo>
                <a:lnTo>
                  <a:pt x="68" y="17"/>
                </a:lnTo>
                <a:lnTo>
                  <a:pt x="78" y="7"/>
                </a:lnTo>
                <a:lnTo>
                  <a:pt x="86" y="19"/>
                </a:lnTo>
                <a:lnTo>
                  <a:pt x="84" y="8"/>
                </a:lnTo>
                <a:lnTo>
                  <a:pt x="109" y="8"/>
                </a:lnTo>
                <a:lnTo>
                  <a:pt x="112" y="0"/>
                </a:lnTo>
                <a:lnTo>
                  <a:pt x="123" y="7"/>
                </a:lnTo>
                <a:lnTo>
                  <a:pt x="137" y="4"/>
                </a:lnTo>
                <a:lnTo>
                  <a:pt x="127" y="9"/>
                </a:lnTo>
                <a:lnTo>
                  <a:pt x="150" y="31"/>
                </a:lnTo>
                <a:lnTo>
                  <a:pt x="130" y="50"/>
                </a:lnTo>
                <a:lnTo>
                  <a:pt x="75" y="69"/>
                </a:lnTo>
                <a:lnTo>
                  <a:pt x="25" y="60"/>
                </a:lnTo>
                <a:lnTo>
                  <a:pt x="37" y="42"/>
                </a:lnTo>
                <a:lnTo>
                  <a:pt x="8" y="36"/>
                </a:lnTo>
                <a:lnTo>
                  <a:pt x="36" y="35"/>
                </a:lnTo>
                <a:lnTo>
                  <a:pt x="26" y="29"/>
                </a:lnTo>
                <a:lnTo>
                  <a:pt x="36" y="24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57" name="Freeform 654">
            <a:extLst>
              <a:ext uri="{FF2B5EF4-FFF2-40B4-BE49-F238E27FC236}">
                <a16:creationId xmlns:a16="http://schemas.microsoft.com/office/drawing/2014/main" id="{51F03474-3B98-CC21-BBF7-4B6A7092F78C}"/>
              </a:ext>
            </a:extLst>
          </p:cNvPr>
          <p:cNvSpPr>
            <a:spLocks/>
          </p:cNvSpPr>
          <p:nvPr/>
        </p:nvSpPr>
        <p:spPr bwMode="auto">
          <a:xfrm>
            <a:off x="2218909" y="4859199"/>
            <a:ext cx="474503" cy="289340"/>
          </a:xfrm>
          <a:custGeom>
            <a:avLst/>
            <a:gdLst>
              <a:gd name="T0" fmla="*/ 0 w 412"/>
              <a:gd name="T1" fmla="*/ 5082858 h 261"/>
              <a:gd name="T2" fmla="*/ 0 w 412"/>
              <a:gd name="T3" fmla="*/ 5082858 h 261"/>
              <a:gd name="T4" fmla="*/ 29795363 w 412"/>
              <a:gd name="T5" fmla="*/ 72852125 h 261"/>
              <a:gd name="T6" fmla="*/ 65864618 w 412"/>
              <a:gd name="T7" fmla="*/ 105042701 h 261"/>
              <a:gd name="T8" fmla="*/ 64295518 w 412"/>
              <a:gd name="T9" fmla="*/ 123679407 h 261"/>
              <a:gd name="T10" fmla="*/ 45477599 w 412"/>
              <a:gd name="T11" fmla="*/ 127067544 h 261"/>
              <a:gd name="T12" fmla="*/ 86250404 w 412"/>
              <a:gd name="T13" fmla="*/ 142316113 h 261"/>
              <a:gd name="T14" fmla="*/ 108205270 w 412"/>
              <a:gd name="T15" fmla="*/ 174506710 h 261"/>
              <a:gd name="T16" fmla="*/ 106637423 w 412"/>
              <a:gd name="T17" fmla="*/ 199919690 h 261"/>
              <a:gd name="T18" fmla="*/ 152115002 w 412"/>
              <a:gd name="T19" fmla="*/ 242275958 h 261"/>
              <a:gd name="T20" fmla="*/ 163092435 w 412"/>
              <a:gd name="T21" fmla="*/ 228722108 h 261"/>
              <a:gd name="T22" fmla="*/ 53318085 w 412"/>
              <a:gd name="T23" fmla="*/ 62686412 h 261"/>
              <a:gd name="T24" fmla="*/ 47045445 w 412"/>
              <a:gd name="T25" fmla="*/ 18636711 h 261"/>
              <a:gd name="T26" fmla="*/ 70568158 w 412"/>
              <a:gd name="T27" fmla="*/ 28802429 h 261"/>
              <a:gd name="T28" fmla="*/ 111340964 w 412"/>
              <a:gd name="T29" fmla="*/ 101654564 h 261"/>
              <a:gd name="T30" fmla="*/ 169365114 w 412"/>
              <a:gd name="T31" fmla="*/ 155869963 h 261"/>
              <a:gd name="T32" fmla="*/ 166228168 w 412"/>
              <a:gd name="T33" fmla="*/ 176200127 h 261"/>
              <a:gd name="T34" fmla="*/ 246205893 w 412"/>
              <a:gd name="T35" fmla="*/ 250746952 h 261"/>
              <a:gd name="T36" fmla="*/ 255615479 w 412"/>
              <a:gd name="T37" fmla="*/ 282937507 h 261"/>
              <a:gd name="T38" fmla="*/ 246205893 w 412"/>
              <a:gd name="T39" fmla="*/ 303267631 h 261"/>
              <a:gd name="T40" fmla="*/ 265023813 w 412"/>
              <a:gd name="T41" fmla="*/ 332070050 h 261"/>
              <a:gd name="T42" fmla="*/ 417138854 w 412"/>
              <a:gd name="T43" fmla="*/ 410005092 h 261"/>
              <a:gd name="T44" fmla="*/ 484571299 w 412"/>
              <a:gd name="T45" fmla="*/ 403227517 h 261"/>
              <a:gd name="T46" fmla="*/ 528479779 w 412"/>
              <a:gd name="T47" fmla="*/ 440500929 h 261"/>
              <a:gd name="T48" fmla="*/ 545729852 w 412"/>
              <a:gd name="T49" fmla="*/ 404922236 h 261"/>
              <a:gd name="T50" fmla="*/ 567684718 w 412"/>
              <a:gd name="T51" fmla="*/ 403227517 h 261"/>
              <a:gd name="T52" fmla="*/ 545729852 w 412"/>
              <a:gd name="T53" fmla="*/ 372731680 h 261"/>
              <a:gd name="T54" fmla="*/ 594344377 w 412"/>
              <a:gd name="T55" fmla="*/ 360872550 h 261"/>
              <a:gd name="T56" fmla="*/ 613162297 w 412"/>
              <a:gd name="T57" fmla="*/ 347318700 h 261"/>
              <a:gd name="T58" fmla="*/ 617867090 w 412"/>
              <a:gd name="T59" fmla="*/ 340541043 h 261"/>
              <a:gd name="T60" fmla="*/ 624139730 w 412"/>
              <a:gd name="T61" fmla="*/ 357484413 h 261"/>
              <a:gd name="T62" fmla="*/ 644526749 w 412"/>
              <a:gd name="T63" fmla="*/ 282937507 h 261"/>
              <a:gd name="T64" fmla="*/ 617867090 w 412"/>
              <a:gd name="T65" fmla="*/ 272771795 h 261"/>
              <a:gd name="T66" fmla="*/ 569253817 w 412"/>
              <a:gd name="T67" fmla="*/ 282937507 h 261"/>
              <a:gd name="T68" fmla="*/ 544162005 w 412"/>
              <a:gd name="T69" fmla="*/ 347318700 h 261"/>
              <a:gd name="T70" fmla="*/ 481434353 w 412"/>
              <a:gd name="T71" fmla="*/ 354094974 h 261"/>
              <a:gd name="T72" fmla="*/ 454775946 w 412"/>
              <a:gd name="T73" fmla="*/ 338847625 h 261"/>
              <a:gd name="T74" fmla="*/ 414001908 w 412"/>
              <a:gd name="T75" fmla="*/ 259217945 h 261"/>
              <a:gd name="T76" fmla="*/ 412434061 w 412"/>
              <a:gd name="T77" fmla="*/ 199919690 h 261"/>
              <a:gd name="T78" fmla="*/ 426548440 w 412"/>
              <a:gd name="T79" fmla="*/ 171117271 h 261"/>
              <a:gd name="T80" fmla="*/ 384206555 w 412"/>
              <a:gd name="T81" fmla="*/ 155869963 h 261"/>
              <a:gd name="T82" fmla="*/ 330888489 w 412"/>
              <a:gd name="T83" fmla="*/ 72852125 h 261"/>
              <a:gd name="T84" fmla="*/ 285410832 w 412"/>
              <a:gd name="T85" fmla="*/ 89794132 h 261"/>
              <a:gd name="T86" fmla="*/ 227387973 w 412"/>
              <a:gd name="T87" fmla="*/ 22024853 h 261"/>
              <a:gd name="T88" fmla="*/ 130160136 w 412"/>
              <a:gd name="T89" fmla="*/ 35578703 h 261"/>
              <a:gd name="T90" fmla="*/ 48614545 w 412"/>
              <a:gd name="T91" fmla="*/ 0 h 261"/>
              <a:gd name="T92" fmla="*/ 0 w 412"/>
              <a:gd name="T93" fmla="*/ 5082858 h 261"/>
              <a:gd name="T94" fmla="*/ 0 w 412"/>
              <a:gd name="T95" fmla="*/ 5082858 h 261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412"/>
              <a:gd name="T145" fmla="*/ 0 h 261"/>
              <a:gd name="T146" fmla="*/ 412 w 412"/>
              <a:gd name="T147" fmla="*/ 261 h 261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412" h="261">
                <a:moveTo>
                  <a:pt x="0" y="3"/>
                </a:moveTo>
                <a:lnTo>
                  <a:pt x="0" y="3"/>
                </a:lnTo>
                <a:lnTo>
                  <a:pt x="19" y="43"/>
                </a:lnTo>
                <a:lnTo>
                  <a:pt x="42" y="62"/>
                </a:lnTo>
                <a:lnTo>
                  <a:pt x="41" y="73"/>
                </a:lnTo>
                <a:lnTo>
                  <a:pt x="29" y="75"/>
                </a:lnTo>
                <a:lnTo>
                  <a:pt x="55" y="84"/>
                </a:lnTo>
                <a:lnTo>
                  <a:pt x="69" y="103"/>
                </a:lnTo>
                <a:lnTo>
                  <a:pt x="68" y="118"/>
                </a:lnTo>
                <a:lnTo>
                  <a:pt x="97" y="143"/>
                </a:lnTo>
                <a:lnTo>
                  <a:pt x="104" y="135"/>
                </a:lnTo>
                <a:lnTo>
                  <a:pt x="34" y="37"/>
                </a:lnTo>
                <a:lnTo>
                  <a:pt x="30" y="11"/>
                </a:lnTo>
                <a:lnTo>
                  <a:pt x="45" y="17"/>
                </a:lnTo>
                <a:lnTo>
                  <a:pt x="71" y="60"/>
                </a:lnTo>
                <a:lnTo>
                  <a:pt x="108" y="92"/>
                </a:lnTo>
                <a:lnTo>
                  <a:pt x="106" y="104"/>
                </a:lnTo>
                <a:lnTo>
                  <a:pt x="157" y="148"/>
                </a:lnTo>
                <a:lnTo>
                  <a:pt x="163" y="167"/>
                </a:lnTo>
                <a:lnTo>
                  <a:pt x="157" y="179"/>
                </a:lnTo>
                <a:lnTo>
                  <a:pt x="169" y="196"/>
                </a:lnTo>
                <a:lnTo>
                  <a:pt x="266" y="242"/>
                </a:lnTo>
                <a:lnTo>
                  <a:pt x="309" y="238"/>
                </a:lnTo>
                <a:lnTo>
                  <a:pt x="337" y="260"/>
                </a:lnTo>
                <a:lnTo>
                  <a:pt x="348" y="239"/>
                </a:lnTo>
                <a:lnTo>
                  <a:pt x="362" y="238"/>
                </a:lnTo>
                <a:lnTo>
                  <a:pt x="348" y="220"/>
                </a:lnTo>
                <a:lnTo>
                  <a:pt x="379" y="213"/>
                </a:lnTo>
                <a:lnTo>
                  <a:pt x="391" y="205"/>
                </a:lnTo>
                <a:lnTo>
                  <a:pt x="394" y="201"/>
                </a:lnTo>
                <a:lnTo>
                  <a:pt x="398" y="211"/>
                </a:lnTo>
                <a:lnTo>
                  <a:pt x="411" y="167"/>
                </a:lnTo>
                <a:lnTo>
                  <a:pt x="394" y="161"/>
                </a:lnTo>
                <a:lnTo>
                  <a:pt x="363" y="167"/>
                </a:lnTo>
                <a:lnTo>
                  <a:pt x="347" y="205"/>
                </a:lnTo>
                <a:lnTo>
                  <a:pt x="307" y="209"/>
                </a:lnTo>
                <a:lnTo>
                  <a:pt x="290" y="200"/>
                </a:lnTo>
                <a:lnTo>
                  <a:pt x="264" y="153"/>
                </a:lnTo>
                <a:lnTo>
                  <a:pt x="263" y="118"/>
                </a:lnTo>
                <a:lnTo>
                  <a:pt x="272" y="101"/>
                </a:lnTo>
                <a:lnTo>
                  <a:pt x="245" y="92"/>
                </a:lnTo>
                <a:lnTo>
                  <a:pt x="211" y="43"/>
                </a:lnTo>
                <a:lnTo>
                  <a:pt x="182" y="53"/>
                </a:lnTo>
                <a:lnTo>
                  <a:pt x="145" y="13"/>
                </a:lnTo>
                <a:lnTo>
                  <a:pt x="83" y="21"/>
                </a:lnTo>
                <a:lnTo>
                  <a:pt x="31" y="0"/>
                </a:lnTo>
                <a:lnTo>
                  <a:pt x="0" y="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58" name="Freeform 655">
            <a:extLst>
              <a:ext uri="{FF2B5EF4-FFF2-40B4-BE49-F238E27FC236}">
                <a16:creationId xmlns:a16="http://schemas.microsoft.com/office/drawing/2014/main" id="{5E0B3D84-322E-851F-8949-0F7097461CF4}"/>
              </a:ext>
            </a:extLst>
          </p:cNvPr>
          <p:cNvSpPr>
            <a:spLocks/>
          </p:cNvSpPr>
          <p:nvPr/>
        </p:nvSpPr>
        <p:spPr bwMode="auto">
          <a:xfrm>
            <a:off x="5425096" y="4464485"/>
            <a:ext cx="497864" cy="276999"/>
          </a:xfrm>
          <a:custGeom>
            <a:avLst/>
            <a:gdLst>
              <a:gd name="T0" fmla="*/ 0 w 434"/>
              <a:gd name="T1" fmla="*/ 97804222 h 183"/>
              <a:gd name="T2" fmla="*/ 0 w 434"/>
              <a:gd name="T3" fmla="*/ 97804222 h 183"/>
              <a:gd name="T4" fmla="*/ 21780710 w 434"/>
              <a:gd name="T5" fmla="*/ 130405179 h 183"/>
              <a:gd name="T6" fmla="*/ 51342202 w 434"/>
              <a:gd name="T7" fmla="*/ 140699736 h 183"/>
              <a:gd name="T8" fmla="*/ 63787960 w 434"/>
              <a:gd name="T9" fmla="*/ 207618979 h 183"/>
              <a:gd name="T10" fmla="*/ 157136156 w 434"/>
              <a:gd name="T11" fmla="*/ 233356025 h 183"/>
              <a:gd name="T12" fmla="*/ 197588027 w 434"/>
              <a:gd name="T13" fmla="*/ 279684804 h 183"/>
              <a:gd name="T14" fmla="*/ 273821727 w 434"/>
              <a:gd name="T15" fmla="*/ 276252848 h 183"/>
              <a:gd name="T16" fmla="*/ 360947101 w 434"/>
              <a:gd name="T17" fmla="*/ 312285761 h 183"/>
              <a:gd name="T18" fmla="*/ 477632633 w 434"/>
              <a:gd name="T19" fmla="*/ 279684804 h 183"/>
              <a:gd name="T20" fmla="*/ 513416994 w 434"/>
              <a:gd name="T21" fmla="*/ 253946448 h 183"/>
              <a:gd name="T22" fmla="*/ 513416994 w 434"/>
              <a:gd name="T23" fmla="*/ 217913535 h 183"/>
              <a:gd name="T24" fmla="*/ 546088045 w 434"/>
              <a:gd name="T25" fmla="*/ 221345491 h 183"/>
              <a:gd name="T26" fmla="*/ 616100113 w 434"/>
              <a:gd name="T27" fmla="*/ 169870047 h 183"/>
              <a:gd name="T28" fmla="*/ 673665330 w 434"/>
              <a:gd name="T29" fmla="*/ 166438092 h 183"/>
              <a:gd name="T30" fmla="*/ 645660348 w 434"/>
              <a:gd name="T31" fmla="*/ 126973224 h 183"/>
              <a:gd name="T32" fmla="*/ 591207349 w 434"/>
              <a:gd name="T33" fmla="*/ 137269090 h 183"/>
              <a:gd name="T34" fmla="*/ 591207349 w 434"/>
              <a:gd name="T35" fmla="*/ 92656289 h 183"/>
              <a:gd name="T36" fmla="*/ 605209762 w 434"/>
              <a:gd name="T37" fmla="*/ 68633890 h 183"/>
              <a:gd name="T38" fmla="*/ 566314585 w 434"/>
              <a:gd name="T39" fmla="*/ 61771289 h 183"/>
              <a:gd name="T40" fmla="*/ 465186875 w 434"/>
              <a:gd name="T41" fmla="*/ 89224334 h 183"/>
              <a:gd name="T42" fmla="*/ 378061578 w 434"/>
              <a:gd name="T43" fmla="*/ 49759445 h 183"/>
              <a:gd name="T44" fmla="*/ 320496438 w 434"/>
              <a:gd name="T45" fmla="*/ 54907378 h 183"/>
              <a:gd name="T46" fmla="*/ 300271146 w 434"/>
              <a:gd name="T47" fmla="*/ 22306411 h 183"/>
              <a:gd name="T48" fmla="*/ 244261492 w 434"/>
              <a:gd name="T49" fmla="*/ 0 h 183"/>
              <a:gd name="T50" fmla="*/ 214701257 w 434"/>
              <a:gd name="T51" fmla="*/ 24022389 h 183"/>
              <a:gd name="T52" fmla="*/ 213145849 w 434"/>
              <a:gd name="T53" fmla="*/ 68633890 h 183"/>
              <a:gd name="T54" fmla="*/ 85569928 w 434"/>
              <a:gd name="T55" fmla="*/ 48043467 h 183"/>
              <a:gd name="T56" fmla="*/ 0 w 434"/>
              <a:gd name="T57" fmla="*/ 97804222 h 183"/>
              <a:gd name="T58" fmla="*/ 0 w 434"/>
              <a:gd name="T59" fmla="*/ 97804222 h 18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434"/>
              <a:gd name="T91" fmla="*/ 0 h 183"/>
              <a:gd name="T92" fmla="*/ 434 w 434"/>
              <a:gd name="T93" fmla="*/ 183 h 18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434" h="183">
                <a:moveTo>
                  <a:pt x="0" y="57"/>
                </a:moveTo>
                <a:lnTo>
                  <a:pt x="0" y="57"/>
                </a:lnTo>
                <a:lnTo>
                  <a:pt x="14" y="76"/>
                </a:lnTo>
                <a:lnTo>
                  <a:pt x="33" y="82"/>
                </a:lnTo>
                <a:lnTo>
                  <a:pt x="41" y="121"/>
                </a:lnTo>
                <a:lnTo>
                  <a:pt x="101" y="136"/>
                </a:lnTo>
                <a:lnTo>
                  <a:pt x="127" y="163"/>
                </a:lnTo>
                <a:lnTo>
                  <a:pt x="176" y="161"/>
                </a:lnTo>
                <a:lnTo>
                  <a:pt x="232" y="182"/>
                </a:lnTo>
                <a:lnTo>
                  <a:pt x="307" y="163"/>
                </a:lnTo>
                <a:lnTo>
                  <a:pt x="330" y="148"/>
                </a:lnTo>
                <a:lnTo>
                  <a:pt x="330" y="127"/>
                </a:lnTo>
                <a:lnTo>
                  <a:pt x="351" y="129"/>
                </a:lnTo>
                <a:lnTo>
                  <a:pt x="396" y="99"/>
                </a:lnTo>
                <a:lnTo>
                  <a:pt x="433" y="97"/>
                </a:lnTo>
                <a:lnTo>
                  <a:pt x="415" y="74"/>
                </a:lnTo>
                <a:lnTo>
                  <a:pt x="380" y="80"/>
                </a:lnTo>
                <a:lnTo>
                  <a:pt x="380" y="54"/>
                </a:lnTo>
                <a:lnTo>
                  <a:pt x="389" y="40"/>
                </a:lnTo>
                <a:lnTo>
                  <a:pt x="364" y="36"/>
                </a:lnTo>
                <a:lnTo>
                  <a:pt x="299" y="52"/>
                </a:lnTo>
                <a:lnTo>
                  <a:pt x="243" y="29"/>
                </a:lnTo>
                <a:lnTo>
                  <a:pt x="206" y="32"/>
                </a:lnTo>
                <a:lnTo>
                  <a:pt x="193" y="13"/>
                </a:lnTo>
                <a:lnTo>
                  <a:pt x="157" y="0"/>
                </a:lnTo>
                <a:lnTo>
                  <a:pt x="138" y="14"/>
                </a:lnTo>
                <a:lnTo>
                  <a:pt x="137" y="40"/>
                </a:lnTo>
                <a:lnTo>
                  <a:pt x="55" y="28"/>
                </a:lnTo>
                <a:lnTo>
                  <a:pt x="0" y="5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59" name="Freeform 656">
            <a:extLst>
              <a:ext uri="{FF2B5EF4-FFF2-40B4-BE49-F238E27FC236}">
                <a16:creationId xmlns:a16="http://schemas.microsoft.com/office/drawing/2014/main" id="{84B0808E-1EAA-7546-6786-E4597B89A775}"/>
              </a:ext>
            </a:extLst>
          </p:cNvPr>
          <p:cNvSpPr>
            <a:spLocks/>
          </p:cNvSpPr>
          <p:nvPr/>
        </p:nvSpPr>
        <p:spPr bwMode="auto">
          <a:xfrm>
            <a:off x="4865911" y="4986293"/>
            <a:ext cx="116801" cy="132501"/>
          </a:xfrm>
          <a:custGeom>
            <a:avLst/>
            <a:gdLst>
              <a:gd name="T0" fmla="*/ 0 w 105"/>
              <a:gd name="T1" fmla="*/ 143570889 h 119"/>
              <a:gd name="T2" fmla="*/ 0 w 105"/>
              <a:gd name="T3" fmla="*/ 143570889 h 119"/>
              <a:gd name="T4" fmla="*/ 20480870 w 105"/>
              <a:gd name="T5" fmla="*/ 201682754 h 119"/>
              <a:gd name="T6" fmla="*/ 57054450 w 105"/>
              <a:gd name="T7" fmla="*/ 193136590 h 119"/>
              <a:gd name="T8" fmla="*/ 114110109 w 105"/>
              <a:gd name="T9" fmla="*/ 141860872 h 119"/>
              <a:gd name="T10" fmla="*/ 112646586 w 105"/>
              <a:gd name="T11" fmla="*/ 117932397 h 119"/>
              <a:gd name="T12" fmla="*/ 150683680 w 105"/>
              <a:gd name="T13" fmla="*/ 73494155 h 119"/>
              <a:gd name="T14" fmla="*/ 152145994 w 105"/>
              <a:gd name="T15" fmla="*/ 59820554 h 119"/>
              <a:gd name="T16" fmla="*/ 131665133 w 105"/>
              <a:gd name="T17" fmla="*/ 34183359 h 119"/>
              <a:gd name="T18" fmla="*/ 84850527 w 105"/>
              <a:gd name="T19" fmla="*/ 0 h 119"/>
              <a:gd name="T20" fmla="*/ 73147160 w 105"/>
              <a:gd name="T21" fmla="*/ 1708710 h 119"/>
              <a:gd name="T22" fmla="*/ 78998834 w 105"/>
              <a:gd name="T23" fmla="*/ 18801043 h 119"/>
              <a:gd name="T24" fmla="*/ 62907334 w 105"/>
              <a:gd name="T25" fmla="*/ 54693117 h 119"/>
              <a:gd name="T26" fmla="*/ 73147160 w 105"/>
              <a:gd name="T27" fmla="*/ 71785445 h 119"/>
              <a:gd name="T28" fmla="*/ 58517973 w 105"/>
              <a:gd name="T29" fmla="*/ 119642415 h 119"/>
              <a:gd name="T30" fmla="*/ 0 w 105"/>
              <a:gd name="T31" fmla="*/ 143570889 h 119"/>
              <a:gd name="T32" fmla="*/ 0 w 105"/>
              <a:gd name="T33" fmla="*/ 143570889 h 1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5"/>
              <a:gd name="T52" fmla="*/ 0 h 119"/>
              <a:gd name="T53" fmla="*/ 105 w 105"/>
              <a:gd name="T54" fmla="*/ 119 h 1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5" h="119">
                <a:moveTo>
                  <a:pt x="0" y="84"/>
                </a:moveTo>
                <a:lnTo>
                  <a:pt x="0" y="84"/>
                </a:lnTo>
                <a:lnTo>
                  <a:pt x="14" y="118"/>
                </a:lnTo>
                <a:lnTo>
                  <a:pt x="39" y="113"/>
                </a:lnTo>
                <a:lnTo>
                  <a:pt x="78" y="83"/>
                </a:lnTo>
                <a:lnTo>
                  <a:pt x="77" y="69"/>
                </a:lnTo>
                <a:lnTo>
                  <a:pt x="103" y="43"/>
                </a:lnTo>
                <a:lnTo>
                  <a:pt x="104" y="35"/>
                </a:lnTo>
                <a:lnTo>
                  <a:pt x="90" y="20"/>
                </a:lnTo>
                <a:lnTo>
                  <a:pt x="58" y="0"/>
                </a:lnTo>
                <a:lnTo>
                  <a:pt x="50" y="1"/>
                </a:lnTo>
                <a:lnTo>
                  <a:pt x="54" y="11"/>
                </a:lnTo>
                <a:lnTo>
                  <a:pt x="43" y="32"/>
                </a:lnTo>
                <a:lnTo>
                  <a:pt x="50" y="42"/>
                </a:lnTo>
                <a:lnTo>
                  <a:pt x="40" y="70"/>
                </a:lnTo>
                <a:lnTo>
                  <a:pt x="0" y="8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60" name="Freeform 657">
            <a:extLst>
              <a:ext uri="{FF2B5EF4-FFF2-40B4-BE49-F238E27FC236}">
                <a16:creationId xmlns:a16="http://schemas.microsoft.com/office/drawing/2014/main" id="{6AAA1E86-4A61-D45F-BF6C-405BF17B0C50}"/>
              </a:ext>
            </a:extLst>
          </p:cNvPr>
          <p:cNvSpPr>
            <a:spLocks/>
          </p:cNvSpPr>
          <p:nvPr/>
        </p:nvSpPr>
        <p:spPr bwMode="auto">
          <a:xfrm>
            <a:off x="5303914" y="4898408"/>
            <a:ext cx="127022" cy="64899"/>
          </a:xfrm>
          <a:custGeom>
            <a:avLst/>
            <a:gdLst>
              <a:gd name="T0" fmla="*/ 0 w 111"/>
              <a:gd name="T1" fmla="*/ 39317863 h 57"/>
              <a:gd name="T2" fmla="*/ 0 w 111"/>
              <a:gd name="T3" fmla="*/ 39317863 h 57"/>
              <a:gd name="T4" fmla="*/ 21675035 w 111"/>
              <a:gd name="T5" fmla="*/ 0 h 57"/>
              <a:gd name="T6" fmla="*/ 88246756 w 111"/>
              <a:gd name="T7" fmla="*/ 25020341 h 57"/>
              <a:gd name="T8" fmla="*/ 123855015 w 111"/>
              <a:gd name="T9" fmla="*/ 62549509 h 57"/>
              <a:gd name="T10" fmla="*/ 170300826 w 111"/>
              <a:gd name="T11" fmla="*/ 62549509 h 57"/>
              <a:gd name="T12" fmla="*/ 167203860 w 111"/>
              <a:gd name="T13" fmla="*/ 100080026 h 57"/>
              <a:gd name="T14" fmla="*/ 57283304 w 111"/>
              <a:gd name="T15" fmla="*/ 76847032 h 57"/>
              <a:gd name="T16" fmla="*/ 0 w 111"/>
              <a:gd name="T17" fmla="*/ 39317863 h 57"/>
              <a:gd name="T18" fmla="*/ 0 w 111"/>
              <a:gd name="T19" fmla="*/ 39317863 h 5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11"/>
              <a:gd name="T31" fmla="*/ 0 h 57"/>
              <a:gd name="T32" fmla="*/ 111 w 111"/>
              <a:gd name="T33" fmla="*/ 57 h 5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11" h="57">
                <a:moveTo>
                  <a:pt x="0" y="22"/>
                </a:moveTo>
                <a:lnTo>
                  <a:pt x="0" y="22"/>
                </a:lnTo>
                <a:lnTo>
                  <a:pt x="14" y="0"/>
                </a:lnTo>
                <a:lnTo>
                  <a:pt x="57" y="14"/>
                </a:lnTo>
                <a:lnTo>
                  <a:pt x="80" y="35"/>
                </a:lnTo>
                <a:lnTo>
                  <a:pt x="110" y="35"/>
                </a:lnTo>
                <a:lnTo>
                  <a:pt x="108" y="56"/>
                </a:lnTo>
                <a:lnTo>
                  <a:pt x="37" y="43"/>
                </a:lnTo>
                <a:lnTo>
                  <a:pt x="0" y="2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361" name="Group 69">
            <a:extLst>
              <a:ext uri="{FF2B5EF4-FFF2-40B4-BE49-F238E27FC236}">
                <a16:creationId xmlns:a16="http://schemas.microsoft.com/office/drawing/2014/main" id="{D7DDE97D-3C71-7366-905B-BFA4526C5EBA}"/>
              </a:ext>
            </a:extLst>
          </p:cNvPr>
          <p:cNvGrpSpPr>
            <a:grpSpLocks/>
          </p:cNvGrpSpPr>
          <p:nvPr/>
        </p:nvGrpSpPr>
        <p:grpSpPr bwMode="auto">
          <a:xfrm>
            <a:off x="6655824" y="5909763"/>
            <a:ext cx="186879" cy="219035"/>
            <a:chOff x="5352" y="3915"/>
            <a:chExt cx="163" cy="197"/>
          </a:xfrm>
          <a:solidFill>
            <a:schemeClr val="accent2"/>
          </a:solidFill>
        </p:grpSpPr>
        <p:sp>
          <p:nvSpPr>
            <p:cNvPr id="362" name="Freeform 659">
              <a:extLst>
                <a:ext uri="{FF2B5EF4-FFF2-40B4-BE49-F238E27FC236}">
                  <a16:creationId xmlns:a16="http://schemas.microsoft.com/office/drawing/2014/main" id="{34B0A0EC-05BC-E2B4-CD8C-7C99DFD90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2" y="4012"/>
              <a:ext cx="106" cy="100"/>
            </a:xfrm>
            <a:custGeom>
              <a:avLst/>
              <a:gdLst>
                <a:gd name="T0" fmla="*/ 0 w 106"/>
                <a:gd name="T1" fmla="*/ 87 h 100"/>
                <a:gd name="T2" fmla="*/ 0 w 106"/>
                <a:gd name="T3" fmla="*/ 87 h 100"/>
                <a:gd name="T4" fmla="*/ 22 w 106"/>
                <a:gd name="T5" fmla="*/ 56 h 100"/>
                <a:gd name="T6" fmla="*/ 60 w 106"/>
                <a:gd name="T7" fmla="*/ 34 h 100"/>
                <a:gd name="T8" fmla="*/ 79 w 106"/>
                <a:gd name="T9" fmla="*/ 0 h 100"/>
                <a:gd name="T10" fmla="*/ 91 w 106"/>
                <a:gd name="T11" fmla="*/ 10 h 100"/>
                <a:gd name="T12" fmla="*/ 104 w 106"/>
                <a:gd name="T13" fmla="*/ 6 h 100"/>
                <a:gd name="T14" fmla="*/ 105 w 106"/>
                <a:gd name="T15" fmla="*/ 18 h 100"/>
                <a:gd name="T16" fmla="*/ 85 w 106"/>
                <a:gd name="T17" fmla="*/ 41 h 100"/>
                <a:gd name="T18" fmla="*/ 90 w 106"/>
                <a:gd name="T19" fmla="*/ 52 h 100"/>
                <a:gd name="T20" fmla="*/ 67 w 106"/>
                <a:gd name="T21" fmla="*/ 56 h 100"/>
                <a:gd name="T22" fmla="*/ 57 w 106"/>
                <a:gd name="T23" fmla="*/ 89 h 100"/>
                <a:gd name="T24" fmla="*/ 34 w 106"/>
                <a:gd name="T25" fmla="*/ 99 h 100"/>
                <a:gd name="T26" fmla="*/ 0 w 106"/>
                <a:gd name="T27" fmla="*/ 87 h 100"/>
                <a:gd name="T28" fmla="*/ 0 w 106"/>
                <a:gd name="T29" fmla="*/ 87 h 1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6"/>
                <a:gd name="T46" fmla="*/ 0 h 100"/>
                <a:gd name="T47" fmla="*/ 106 w 106"/>
                <a:gd name="T48" fmla="*/ 100 h 10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6" h="100">
                  <a:moveTo>
                    <a:pt x="0" y="87"/>
                  </a:moveTo>
                  <a:lnTo>
                    <a:pt x="0" y="87"/>
                  </a:lnTo>
                  <a:lnTo>
                    <a:pt x="22" y="56"/>
                  </a:lnTo>
                  <a:lnTo>
                    <a:pt x="60" y="34"/>
                  </a:lnTo>
                  <a:lnTo>
                    <a:pt x="79" y="0"/>
                  </a:lnTo>
                  <a:lnTo>
                    <a:pt x="91" y="10"/>
                  </a:lnTo>
                  <a:lnTo>
                    <a:pt x="104" y="6"/>
                  </a:lnTo>
                  <a:lnTo>
                    <a:pt x="105" y="18"/>
                  </a:lnTo>
                  <a:lnTo>
                    <a:pt x="85" y="41"/>
                  </a:lnTo>
                  <a:lnTo>
                    <a:pt x="90" y="52"/>
                  </a:lnTo>
                  <a:lnTo>
                    <a:pt x="67" y="56"/>
                  </a:lnTo>
                  <a:lnTo>
                    <a:pt x="57" y="89"/>
                  </a:lnTo>
                  <a:lnTo>
                    <a:pt x="34" y="99"/>
                  </a:lnTo>
                  <a:lnTo>
                    <a:pt x="0" y="87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" name="Freeform 660">
              <a:extLst>
                <a:ext uri="{FF2B5EF4-FFF2-40B4-BE49-F238E27FC236}">
                  <a16:creationId xmlns:a16="http://schemas.microsoft.com/office/drawing/2014/main" id="{98608D9F-23D2-10EE-EE23-0125C905A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5" y="3915"/>
              <a:ext cx="80" cy="110"/>
            </a:xfrm>
            <a:custGeom>
              <a:avLst/>
              <a:gdLst>
                <a:gd name="T0" fmla="*/ 0 w 80"/>
                <a:gd name="T1" fmla="*/ 0 h 110"/>
                <a:gd name="T2" fmla="*/ 0 w 80"/>
                <a:gd name="T3" fmla="*/ 0 h 110"/>
                <a:gd name="T4" fmla="*/ 22 w 80"/>
                <a:gd name="T5" fmla="*/ 13 h 110"/>
                <a:gd name="T6" fmla="*/ 28 w 80"/>
                <a:gd name="T7" fmla="*/ 37 h 110"/>
                <a:gd name="T8" fmla="*/ 37 w 80"/>
                <a:gd name="T9" fmla="*/ 43 h 110"/>
                <a:gd name="T10" fmla="*/ 43 w 80"/>
                <a:gd name="T11" fmla="*/ 33 h 110"/>
                <a:gd name="T12" fmla="*/ 47 w 80"/>
                <a:gd name="T13" fmla="*/ 50 h 110"/>
                <a:gd name="T14" fmla="*/ 79 w 80"/>
                <a:gd name="T15" fmla="*/ 50 h 110"/>
                <a:gd name="T16" fmla="*/ 73 w 80"/>
                <a:gd name="T17" fmla="*/ 74 h 110"/>
                <a:gd name="T18" fmla="*/ 57 w 80"/>
                <a:gd name="T19" fmla="*/ 77 h 110"/>
                <a:gd name="T20" fmla="*/ 43 w 80"/>
                <a:gd name="T21" fmla="*/ 108 h 110"/>
                <a:gd name="T22" fmla="*/ 28 w 80"/>
                <a:gd name="T23" fmla="*/ 109 h 110"/>
                <a:gd name="T24" fmla="*/ 35 w 80"/>
                <a:gd name="T25" fmla="*/ 98 h 110"/>
                <a:gd name="T26" fmla="*/ 15 w 80"/>
                <a:gd name="T27" fmla="*/ 75 h 110"/>
                <a:gd name="T28" fmla="*/ 31 w 80"/>
                <a:gd name="T29" fmla="*/ 56 h 110"/>
                <a:gd name="T30" fmla="*/ 28 w 80"/>
                <a:gd name="T31" fmla="*/ 40 h 110"/>
                <a:gd name="T32" fmla="*/ 0 w 80"/>
                <a:gd name="T33" fmla="*/ 0 h 110"/>
                <a:gd name="T34" fmla="*/ 0 w 80"/>
                <a:gd name="T35" fmla="*/ 0 h 11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0"/>
                <a:gd name="T55" fmla="*/ 0 h 110"/>
                <a:gd name="T56" fmla="*/ 80 w 80"/>
                <a:gd name="T57" fmla="*/ 110 h 11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0" h="110">
                  <a:moveTo>
                    <a:pt x="0" y="0"/>
                  </a:moveTo>
                  <a:lnTo>
                    <a:pt x="0" y="0"/>
                  </a:lnTo>
                  <a:lnTo>
                    <a:pt x="22" y="13"/>
                  </a:lnTo>
                  <a:lnTo>
                    <a:pt x="28" y="37"/>
                  </a:lnTo>
                  <a:lnTo>
                    <a:pt x="37" y="43"/>
                  </a:lnTo>
                  <a:lnTo>
                    <a:pt x="43" y="33"/>
                  </a:lnTo>
                  <a:lnTo>
                    <a:pt x="47" y="50"/>
                  </a:lnTo>
                  <a:lnTo>
                    <a:pt x="79" y="50"/>
                  </a:lnTo>
                  <a:lnTo>
                    <a:pt x="73" y="74"/>
                  </a:lnTo>
                  <a:lnTo>
                    <a:pt x="57" y="77"/>
                  </a:lnTo>
                  <a:lnTo>
                    <a:pt x="43" y="108"/>
                  </a:lnTo>
                  <a:lnTo>
                    <a:pt x="28" y="109"/>
                  </a:lnTo>
                  <a:lnTo>
                    <a:pt x="35" y="98"/>
                  </a:lnTo>
                  <a:lnTo>
                    <a:pt x="15" y="75"/>
                  </a:lnTo>
                  <a:lnTo>
                    <a:pt x="31" y="56"/>
                  </a:lnTo>
                  <a:lnTo>
                    <a:pt x="28" y="40"/>
                  </a:lnTo>
                  <a:lnTo>
                    <a:pt x="0" y="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4" name="Freeform 661">
            <a:extLst>
              <a:ext uri="{FF2B5EF4-FFF2-40B4-BE49-F238E27FC236}">
                <a16:creationId xmlns:a16="http://schemas.microsoft.com/office/drawing/2014/main" id="{B9ABFF19-3188-685C-5F7B-F0C742EE4517}"/>
              </a:ext>
            </a:extLst>
          </p:cNvPr>
          <p:cNvSpPr>
            <a:spLocks/>
          </p:cNvSpPr>
          <p:nvPr/>
        </p:nvSpPr>
        <p:spPr bwMode="auto">
          <a:xfrm>
            <a:off x="5003151" y="4783484"/>
            <a:ext cx="264263" cy="221737"/>
          </a:xfrm>
          <a:custGeom>
            <a:avLst/>
            <a:gdLst>
              <a:gd name="T0" fmla="*/ 0 w 230"/>
              <a:gd name="T1" fmla="*/ 184855067 h 199"/>
              <a:gd name="T2" fmla="*/ 0 w 230"/>
              <a:gd name="T3" fmla="*/ 184855067 h 199"/>
              <a:gd name="T4" fmla="*/ 34336892 w 230"/>
              <a:gd name="T5" fmla="*/ 196837704 h 199"/>
              <a:gd name="T6" fmla="*/ 112372904 w 230"/>
              <a:gd name="T7" fmla="*/ 184855067 h 199"/>
              <a:gd name="T8" fmla="*/ 126419980 w 230"/>
              <a:gd name="T9" fmla="*/ 150623590 h 199"/>
              <a:gd name="T10" fmla="*/ 179485088 w 230"/>
              <a:gd name="T11" fmla="*/ 131794665 h 199"/>
              <a:gd name="T12" fmla="*/ 184167446 w 230"/>
              <a:gd name="T13" fmla="*/ 102696964 h 199"/>
              <a:gd name="T14" fmla="*/ 202895633 w 230"/>
              <a:gd name="T15" fmla="*/ 95850677 h 199"/>
              <a:gd name="T16" fmla="*/ 195092534 w 230"/>
              <a:gd name="T17" fmla="*/ 80446837 h 199"/>
              <a:gd name="T18" fmla="*/ 213821969 w 230"/>
              <a:gd name="T19" fmla="*/ 78734284 h 199"/>
              <a:gd name="T20" fmla="*/ 227867797 w 230"/>
              <a:gd name="T21" fmla="*/ 49636583 h 199"/>
              <a:gd name="T22" fmla="*/ 221625068 w 230"/>
              <a:gd name="T23" fmla="*/ 20538866 h 199"/>
              <a:gd name="T24" fmla="*/ 293419571 w 230"/>
              <a:gd name="T25" fmla="*/ 0 h 199"/>
              <a:gd name="T26" fmla="*/ 357409805 w 230"/>
              <a:gd name="T27" fmla="*/ 42790286 h 199"/>
              <a:gd name="T28" fmla="*/ 340240740 w 230"/>
              <a:gd name="T29" fmla="*/ 61617913 h 199"/>
              <a:gd name="T30" fmla="*/ 279372495 w 230"/>
              <a:gd name="T31" fmla="*/ 61617913 h 199"/>
              <a:gd name="T32" fmla="*/ 279372495 w 230"/>
              <a:gd name="T33" fmla="*/ 99274475 h 199"/>
              <a:gd name="T34" fmla="*/ 307465399 w 230"/>
              <a:gd name="T35" fmla="*/ 123237133 h 199"/>
              <a:gd name="T36" fmla="*/ 290297582 w 230"/>
              <a:gd name="T37" fmla="*/ 135218463 h 199"/>
              <a:gd name="T38" fmla="*/ 294979941 w 230"/>
              <a:gd name="T39" fmla="*/ 157469877 h 199"/>
              <a:gd name="T40" fmla="*/ 232550156 w 230"/>
              <a:gd name="T41" fmla="*/ 234492937 h 199"/>
              <a:gd name="T42" fmla="*/ 204457252 w 230"/>
              <a:gd name="T43" fmla="*/ 232781693 h 199"/>
              <a:gd name="T44" fmla="*/ 184167446 w 230"/>
              <a:gd name="T45" fmla="*/ 251609309 h 199"/>
              <a:gd name="T46" fmla="*/ 218503079 w 230"/>
              <a:gd name="T47" fmla="*/ 323497286 h 199"/>
              <a:gd name="T48" fmla="*/ 170120370 w 230"/>
              <a:gd name="T49" fmla="*/ 323497286 h 199"/>
              <a:gd name="T50" fmla="*/ 152952514 w 230"/>
              <a:gd name="T51" fmla="*/ 338902414 h 199"/>
              <a:gd name="T52" fmla="*/ 117055263 w 230"/>
              <a:gd name="T53" fmla="*/ 296110830 h 199"/>
              <a:gd name="T54" fmla="*/ 17167821 w 230"/>
              <a:gd name="T55" fmla="*/ 304669670 h 199"/>
              <a:gd name="T56" fmla="*/ 49943099 w 230"/>
              <a:gd name="T57" fmla="*/ 255031799 h 199"/>
              <a:gd name="T58" fmla="*/ 0 w 230"/>
              <a:gd name="T59" fmla="*/ 184855067 h 199"/>
              <a:gd name="T60" fmla="*/ 0 w 230"/>
              <a:gd name="T61" fmla="*/ 184855067 h 19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230"/>
              <a:gd name="T94" fmla="*/ 0 h 199"/>
              <a:gd name="T95" fmla="*/ 230 w 230"/>
              <a:gd name="T96" fmla="*/ 199 h 199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230" h="199">
                <a:moveTo>
                  <a:pt x="0" y="108"/>
                </a:moveTo>
                <a:lnTo>
                  <a:pt x="0" y="108"/>
                </a:lnTo>
                <a:lnTo>
                  <a:pt x="22" y="115"/>
                </a:lnTo>
                <a:lnTo>
                  <a:pt x="72" y="108"/>
                </a:lnTo>
                <a:lnTo>
                  <a:pt x="81" y="88"/>
                </a:lnTo>
                <a:lnTo>
                  <a:pt x="115" y="77"/>
                </a:lnTo>
                <a:lnTo>
                  <a:pt x="118" y="60"/>
                </a:lnTo>
                <a:lnTo>
                  <a:pt x="130" y="56"/>
                </a:lnTo>
                <a:lnTo>
                  <a:pt x="125" y="47"/>
                </a:lnTo>
                <a:lnTo>
                  <a:pt x="137" y="46"/>
                </a:lnTo>
                <a:lnTo>
                  <a:pt x="146" y="29"/>
                </a:lnTo>
                <a:lnTo>
                  <a:pt x="142" y="12"/>
                </a:lnTo>
                <a:lnTo>
                  <a:pt x="188" y="0"/>
                </a:lnTo>
                <a:lnTo>
                  <a:pt x="229" y="25"/>
                </a:lnTo>
                <a:lnTo>
                  <a:pt x="218" y="36"/>
                </a:lnTo>
                <a:lnTo>
                  <a:pt x="179" y="36"/>
                </a:lnTo>
                <a:lnTo>
                  <a:pt x="179" y="58"/>
                </a:lnTo>
                <a:lnTo>
                  <a:pt x="197" y="72"/>
                </a:lnTo>
                <a:lnTo>
                  <a:pt x="186" y="79"/>
                </a:lnTo>
                <a:lnTo>
                  <a:pt x="189" y="92"/>
                </a:lnTo>
                <a:lnTo>
                  <a:pt x="149" y="137"/>
                </a:lnTo>
                <a:lnTo>
                  <a:pt x="131" y="136"/>
                </a:lnTo>
                <a:lnTo>
                  <a:pt x="118" y="147"/>
                </a:lnTo>
                <a:lnTo>
                  <a:pt x="140" y="189"/>
                </a:lnTo>
                <a:lnTo>
                  <a:pt x="109" y="189"/>
                </a:lnTo>
                <a:lnTo>
                  <a:pt x="98" y="198"/>
                </a:lnTo>
                <a:lnTo>
                  <a:pt x="75" y="173"/>
                </a:lnTo>
                <a:lnTo>
                  <a:pt x="11" y="178"/>
                </a:lnTo>
                <a:lnTo>
                  <a:pt x="32" y="149"/>
                </a:lnTo>
                <a:lnTo>
                  <a:pt x="0" y="10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365" name="Group 364">
            <a:extLst>
              <a:ext uri="{FF2B5EF4-FFF2-40B4-BE49-F238E27FC236}">
                <a16:creationId xmlns:a16="http://schemas.microsoft.com/office/drawing/2014/main" id="{505DAE09-D070-FFAC-FB5C-9008E5600B5C}"/>
              </a:ext>
            </a:extLst>
          </p:cNvPr>
          <p:cNvGrpSpPr>
            <a:grpSpLocks/>
          </p:cNvGrpSpPr>
          <p:nvPr/>
        </p:nvGrpSpPr>
        <p:grpSpPr bwMode="auto">
          <a:xfrm>
            <a:off x="6260165" y="5408135"/>
            <a:ext cx="186880" cy="116277"/>
            <a:chOff x="5006" y="3464"/>
            <a:chExt cx="164" cy="107"/>
          </a:xfrm>
          <a:solidFill>
            <a:schemeClr val="accent2"/>
          </a:solidFill>
        </p:grpSpPr>
        <p:sp>
          <p:nvSpPr>
            <p:cNvPr id="366" name="Freeform 663">
              <a:extLst>
                <a:ext uri="{FF2B5EF4-FFF2-40B4-BE49-F238E27FC236}">
                  <a16:creationId xmlns:a16="http://schemas.microsoft.com/office/drawing/2014/main" id="{D63965DF-C31B-B97A-1911-4E5615AEC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6" y="3464"/>
              <a:ext cx="136" cy="107"/>
            </a:xfrm>
            <a:custGeom>
              <a:avLst/>
              <a:gdLst>
                <a:gd name="T0" fmla="*/ 0 w 136"/>
                <a:gd name="T1" fmla="*/ 0 h 107"/>
                <a:gd name="T2" fmla="*/ 0 w 136"/>
                <a:gd name="T3" fmla="*/ 0 h 107"/>
                <a:gd name="T4" fmla="*/ 2 w 136"/>
                <a:gd name="T5" fmla="*/ 88 h 107"/>
                <a:gd name="T6" fmla="*/ 24 w 136"/>
                <a:gd name="T7" fmla="*/ 91 h 107"/>
                <a:gd name="T8" fmla="*/ 46 w 136"/>
                <a:gd name="T9" fmla="*/ 67 h 107"/>
                <a:gd name="T10" fmla="*/ 70 w 136"/>
                <a:gd name="T11" fmla="*/ 78 h 107"/>
                <a:gd name="T12" fmla="*/ 93 w 136"/>
                <a:gd name="T13" fmla="*/ 101 h 107"/>
                <a:gd name="T14" fmla="*/ 135 w 136"/>
                <a:gd name="T15" fmla="*/ 106 h 107"/>
                <a:gd name="T16" fmla="*/ 87 w 136"/>
                <a:gd name="T17" fmla="*/ 67 h 107"/>
                <a:gd name="T18" fmla="*/ 90 w 136"/>
                <a:gd name="T19" fmla="*/ 47 h 107"/>
                <a:gd name="T20" fmla="*/ 67 w 136"/>
                <a:gd name="T21" fmla="*/ 41 h 107"/>
                <a:gd name="T22" fmla="*/ 46 w 136"/>
                <a:gd name="T23" fmla="*/ 16 h 107"/>
                <a:gd name="T24" fmla="*/ 0 w 136"/>
                <a:gd name="T25" fmla="*/ 0 h 107"/>
                <a:gd name="T26" fmla="*/ 0 w 136"/>
                <a:gd name="T27" fmla="*/ 0 h 10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6"/>
                <a:gd name="T43" fmla="*/ 0 h 107"/>
                <a:gd name="T44" fmla="*/ 136 w 136"/>
                <a:gd name="T45" fmla="*/ 107 h 10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6" h="107">
                  <a:moveTo>
                    <a:pt x="0" y="0"/>
                  </a:moveTo>
                  <a:lnTo>
                    <a:pt x="0" y="0"/>
                  </a:lnTo>
                  <a:lnTo>
                    <a:pt x="2" y="88"/>
                  </a:lnTo>
                  <a:lnTo>
                    <a:pt x="24" y="91"/>
                  </a:lnTo>
                  <a:lnTo>
                    <a:pt x="46" y="67"/>
                  </a:lnTo>
                  <a:lnTo>
                    <a:pt x="70" y="78"/>
                  </a:lnTo>
                  <a:lnTo>
                    <a:pt x="93" y="101"/>
                  </a:lnTo>
                  <a:lnTo>
                    <a:pt x="135" y="106"/>
                  </a:lnTo>
                  <a:lnTo>
                    <a:pt x="87" y="67"/>
                  </a:lnTo>
                  <a:lnTo>
                    <a:pt x="90" y="47"/>
                  </a:lnTo>
                  <a:lnTo>
                    <a:pt x="67" y="41"/>
                  </a:lnTo>
                  <a:lnTo>
                    <a:pt x="46" y="16"/>
                  </a:lnTo>
                  <a:lnTo>
                    <a:pt x="0" y="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" name="Freeform 75">
              <a:extLst>
                <a:ext uri="{FF2B5EF4-FFF2-40B4-BE49-F238E27FC236}">
                  <a16:creationId xmlns:a16="http://schemas.microsoft.com/office/drawing/2014/main" id="{B3CF7CF2-278F-B6F7-05BB-EEE5C906F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5" y="3487"/>
              <a:ext cx="57" cy="28"/>
            </a:xfrm>
            <a:custGeom>
              <a:avLst/>
              <a:gdLst>
                <a:gd name="T0" fmla="*/ 0 w 57"/>
                <a:gd name="T1" fmla="*/ 18 h 28"/>
                <a:gd name="T2" fmla="*/ 0 w 57"/>
                <a:gd name="T3" fmla="*/ 18 h 28"/>
                <a:gd name="T4" fmla="*/ 33 w 57"/>
                <a:gd name="T5" fmla="*/ 27 h 28"/>
                <a:gd name="T6" fmla="*/ 56 w 57"/>
                <a:gd name="T7" fmla="*/ 8 h 28"/>
                <a:gd name="T8" fmla="*/ 47 w 57"/>
                <a:gd name="T9" fmla="*/ 0 h 28"/>
                <a:gd name="T10" fmla="*/ 40 w 57"/>
                <a:gd name="T11" fmla="*/ 10 h 28"/>
                <a:gd name="T12" fmla="*/ 0 w 57"/>
                <a:gd name="T13" fmla="*/ 18 h 28"/>
                <a:gd name="T14" fmla="*/ 0 w 57"/>
                <a:gd name="T15" fmla="*/ 18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7"/>
                <a:gd name="T25" fmla="*/ 0 h 28"/>
                <a:gd name="T26" fmla="*/ 57 w 57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7" h="28">
                  <a:moveTo>
                    <a:pt x="0" y="18"/>
                  </a:moveTo>
                  <a:lnTo>
                    <a:pt x="0" y="18"/>
                  </a:lnTo>
                  <a:lnTo>
                    <a:pt x="33" y="27"/>
                  </a:lnTo>
                  <a:lnTo>
                    <a:pt x="56" y="8"/>
                  </a:lnTo>
                  <a:lnTo>
                    <a:pt x="47" y="0"/>
                  </a:lnTo>
                  <a:lnTo>
                    <a:pt x="40" y="10"/>
                  </a:lnTo>
                  <a:lnTo>
                    <a:pt x="0" y="18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" name="Freeform 665">
              <a:extLst>
                <a:ext uri="{FF2B5EF4-FFF2-40B4-BE49-F238E27FC236}">
                  <a16:creationId xmlns:a16="http://schemas.microsoft.com/office/drawing/2014/main" id="{1DE425B8-7352-07B5-9AF9-615B39A0E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" y="3466"/>
              <a:ext cx="31" cy="28"/>
            </a:xfrm>
            <a:custGeom>
              <a:avLst/>
              <a:gdLst>
                <a:gd name="T0" fmla="*/ 0 w 31"/>
                <a:gd name="T1" fmla="*/ 0 h 28"/>
                <a:gd name="T2" fmla="*/ 0 w 31"/>
                <a:gd name="T3" fmla="*/ 0 h 28"/>
                <a:gd name="T4" fmla="*/ 23 w 31"/>
                <a:gd name="T5" fmla="*/ 12 h 28"/>
                <a:gd name="T6" fmla="*/ 30 w 31"/>
                <a:gd name="T7" fmla="*/ 27 h 28"/>
                <a:gd name="T8" fmla="*/ 29 w 31"/>
                <a:gd name="T9" fmla="*/ 16 h 28"/>
                <a:gd name="T10" fmla="*/ 0 w 31"/>
                <a:gd name="T11" fmla="*/ 0 h 28"/>
                <a:gd name="T12" fmla="*/ 0 w 31"/>
                <a:gd name="T13" fmla="*/ 0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1"/>
                <a:gd name="T22" fmla="*/ 0 h 28"/>
                <a:gd name="T23" fmla="*/ 31 w 31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1" h="28">
                  <a:moveTo>
                    <a:pt x="0" y="0"/>
                  </a:moveTo>
                  <a:lnTo>
                    <a:pt x="0" y="0"/>
                  </a:lnTo>
                  <a:lnTo>
                    <a:pt x="23" y="12"/>
                  </a:lnTo>
                  <a:lnTo>
                    <a:pt x="30" y="27"/>
                  </a:lnTo>
                  <a:lnTo>
                    <a:pt x="29" y="16"/>
                  </a:lnTo>
                  <a:lnTo>
                    <a:pt x="0" y="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69" name="Group 77">
            <a:extLst>
              <a:ext uri="{FF2B5EF4-FFF2-40B4-BE49-F238E27FC236}">
                <a16:creationId xmlns:a16="http://schemas.microsoft.com/office/drawing/2014/main" id="{568F9563-647E-E0F3-CDD2-F06BD9CF5BBB}"/>
              </a:ext>
            </a:extLst>
          </p:cNvPr>
          <p:cNvGrpSpPr>
            <a:grpSpLocks/>
          </p:cNvGrpSpPr>
          <p:nvPr/>
        </p:nvGrpSpPr>
        <p:grpSpPr bwMode="auto">
          <a:xfrm>
            <a:off x="5886531" y="5086345"/>
            <a:ext cx="141623" cy="200104"/>
            <a:chOff x="4680" y="3175"/>
            <a:chExt cx="125" cy="179"/>
          </a:xfrm>
          <a:solidFill>
            <a:schemeClr val="accent2"/>
          </a:solidFill>
        </p:grpSpPr>
        <p:sp>
          <p:nvSpPr>
            <p:cNvPr id="370" name="Freeform 667">
              <a:extLst>
                <a:ext uri="{FF2B5EF4-FFF2-40B4-BE49-F238E27FC236}">
                  <a16:creationId xmlns:a16="http://schemas.microsoft.com/office/drawing/2014/main" id="{29DA953F-4543-BFD0-19FF-3046513B4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0" y="3275"/>
              <a:ext cx="32" cy="40"/>
            </a:xfrm>
            <a:custGeom>
              <a:avLst/>
              <a:gdLst>
                <a:gd name="T0" fmla="*/ 0 w 32"/>
                <a:gd name="T1" fmla="*/ 39 h 40"/>
                <a:gd name="T2" fmla="*/ 0 w 32"/>
                <a:gd name="T3" fmla="*/ 39 h 40"/>
                <a:gd name="T4" fmla="*/ 22 w 32"/>
                <a:gd name="T5" fmla="*/ 21 h 40"/>
                <a:gd name="T6" fmla="*/ 31 w 32"/>
                <a:gd name="T7" fmla="*/ 0 h 40"/>
                <a:gd name="T8" fmla="*/ 0 w 32"/>
                <a:gd name="T9" fmla="*/ 39 h 40"/>
                <a:gd name="T10" fmla="*/ 0 w 32"/>
                <a:gd name="T11" fmla="*/ 39 h 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2"/>
                <a:gd name="T19" fmla="*/ 0 h 40"/>
                <a:gd name="T20" fmla="*/ 32 w 32"/>
                <a:gd name="T21" fmla="*/ 40 h 4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2" h="40">
                  <a:moveTo>
                    <a:pt x="0" y="39"/>
                  </a:moveTo>
                  <a:lnTo>
                    <a:pt x="0" y="39"/>
                  </a:lnTo>
                  <a:lnTo>
                    <a:pt x="22" y="21"/>
                  </a:lnTo>
                  <a:lnTo>
                    <a:pt x="31" y="0"/>
                  </a:lnTo>
                  <a:lnTo>
                    <a:pt x="0" y="39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" name="Freeform 79">
              <a:extLst>
                <a:ext uri="{FF2B5EF4-FFF2-40B4-BE49-F238E27FC236}">
                  <a16:creationId xmlns:a16="http://schemas.microsoft.com/office/drawing/2014/main" id="{5705D01C-E5C8-EF11-86F5-82519EF0C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7" y="3175"/>
              <a:ext cx="57" cy="84"/>
            </a:xfrm>
            <a:custGeom>
              <a:avLst/>
              <a:gdLst>
                <a:gd name="T0" fmla="*/ 0 w 57"/>
                <a:gd name="T1" fmla="*/ 33 h 84"/>
                <a:gd name="T2" fmla="*/ 0 w 57"/>
                <a:gd name="T3" fmla="*/ 33 h 84"/>
                <a:gd name="T4" fmla="*/ 11 w 57"/>
                <a:gd name="T5" fmla="*/ 0 h 84"/>
                <a:gd name="T6" fmla="*/ 30 w 57"/>
                <a:gd name="T7" fmla="*/ 1 h 84"/>
                <a:gd name="T8" fmla="*/ 35 w 57"/>
                <a:gd name="T9" fmla="*/ 23 h 84"/>
                <a:gd name="T10" fmla="*/ 20 w 57"/>
                <a:gd name="T11" fmla="*/ 45 h 84"/>
                <a:gd name="T12" fmla="*/ 23 w 57"/>
                <a:gd name="T13" fmla="*/ 58 h 84"/>
                <a:gd name="T14" fmla="*/ 53 w 57"/>
                <a:gd name="T15" fmla="*/ 66 h 84"/>
                <a:gd name="T16" fmla="*/ 56 w 57"/>
                <a:gd name="T17" fmla="*/ 83 h 84"/>
                <a:gd name="T18" fmla="*/ 38 w 57"/>
                <a:gd name="T19" fmla="*/ 66 h 84"/>
                <a:gd name="T20" fmla="*/ 38 w 57"/>
                <a:gd name="T21" fmla="*/ 74 h 84"/>
                <a:gd name="T22" fmla="*/ 11 w 57"/>
                <a:gd name="T23" fmla="*/ 66 h 84"/>
                <a:gd name="T24" fmla="*/ 0 w 57"/>
                <a:gd name="T25" fmla="*/ 33 h 84"/>
                <a:gd name="T26" fmla="*/ 0 w 57"/>
                <a:gd name="T27" fmla="*/ 33 h 8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7"/>
                <a:gd name="T43" fmla="*/ 0 h 84"/>
                <a:gd name="T44" fmla="*/ 57 w 57"/>
                <a:gd name="T45" fmla="*/ 84 h 8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7" h="84">
                  <a:moveTo>
                    <a:pt x="0" y="33"/>
                  </a:moveTo>
                  <a:lnTo>
                    <a:pt x="0" y="33"/>
                  </a:lnTo>
                  <a:lnTo>
                    <a:pt x="11" y="0"/>
                  </a:lnTo>
                  <a:lnTo>
                    <a:pt x="30" y="1"/>
                  </a:lnTo>
                  <a:lnTo>
                    <a:pt x="35" y="23"/>
                  </a:lnTo>
                  <a:lnTo>
                    <a:pt x="20" y="45"/>
                  </a:lnTo>
                  <a:lnTo>
                    <a:pt x="23" y="58"/>
                  </a:lnTo>
                  <a:lnTo>
                    <a:pt x="53" y="66"/>
                  </a:lnTo>
                  <a:lnTo>
                    <a:pt x="56" y="83"/>
                  </a:lnTo>
                  <a:lnTo>
                    <a:pt x="38" y="66"/>
                  </a:lnTo>
                  <a:lnTo>
                    <a:pt x="38" y="74"/>
                  </a:lnTo>
                  <a:lnTo>
                    <a:pt x="11" y="66"/>
                  </a:lnTo>
                  <a:lnTo>
                    <a:pt x="0" y="33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" name="Freeform 669">
              <a:extLst>
                <a:ext uri="{FF2B5EF4-FFF2-40B4-BE49-F238E27FC236}">
                  <a16:creationId xmlns:a16="http://schemas.microsoft.com/office/drawing/2014/main" id="{824C98A8-1A09-EF8F-DC1B-26C703F5F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2" y="3246"/>
              <a:ext cx="17" cy="18"/>
            </a:xfrm>
            <a:custGeom>
              <a:avLst/>
              <a:gdLst>
                <a:gd name="T0" fmla="*/ 0 w 17"/>
                <a:gd name="T1" fmla="*/ 0 h 18"/>
                <a:gd name="T2" fmla="*/ 0 w 17"/>
                <a:gd name="T3" fmla="*/ 0 h 18"/>
                <a:gd name="T4" fmla="*/ 8 w 17"/>
                <a:gd name="T5" fmla="*/ 0 h 18"/>
                <a:gd name="T6" fmla="*/ 16 w 17"/>
                <a:gd name="T7" fmla="*/ 3 h 18"/>
                <a:gd name="T8" fmla="*/ 12 w 17"/>
                <a:gd name="T9" fmla="*/ 17 h 18"/>
                <a:gd name="T10" fmla="*/ 0 w 17"/>
                <a:gd name="T11" fmla="*/ 0 h 18"/>
                <a:gd name="T12" fmla="*/ 0 w 17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18"/>
                <a:gd name="T23" fmla="*/ 17 w 17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18">
                  <a:moveTo>
                    <a:pt x="0" y="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3"/>
                  </a:lnTo>
                  <a:lnTo>
                    <a:pt x="12" y="17"/>
                  </a:lnTo>
                  <a:lnTo>
                    <a:pt x="0" y="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" name="Freeform 81">
              <a:extLst>
                <a:ext uri="{FF2B5EF4-FFF2-40B4-BE49-F238E27FC236}">
                  <a16:creationId xmlns:a16="http://schemas.microsoft.com/office/drawing/2014/main" id="{46853E58-38AB-1ADD-9138-B9D50D0F8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4" y="3267"/>
              <a:ext cx="15" cy="22"/>
            </a:xfrm>
            <a:custGeom>
              <a:avLst/>
              <a:gdLst>
                <a:gd name="T0" fmla="*/ 0 w 15"/>
                <a:gd name="T1" fmla="*/ 0 h 22"/>
                <a:gd name="T2" fmla="*/ 0 w 15"/>
                <a:gd name="T3" fmla="*/ 0 h 22"/>
                <a:gd name="T4" fmla="*/ 1 w 15"/>
                <a:gd name="T5" fmla="*/ 21 h 22"/>
                <a:gd name="T6" fmla="*/ 14 w 15"/>
                <a:gd name="T7" fmla="*/ 12 h 22"/>
                <a:gd name="T8" fmla="*/ 0 w 15"/>
                <a:gd name="T9" fmla="*/ 0 h 22"/>
                <a:gd name="T10" fmla="*/ 0 w 15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2"/>
                <a:gd name="T20" fmla="*/ 15 w 15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2">
                  <a:moveTo>
                    <a:pt x="0" y="0"/>
                  </a:moveTo>
                  <a:lnTo>
                    <a:pt x="0" y="0"/>
                  </a:lnTo>
                  <a:lnTo>
                    <a:pt x="1" y="21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" name="Freeform 671">
              <a:extLst>
                <a:ext uri="{FF2B5EF4-FFF2-40B4-BE49-F238E27FC236}">
                  <a16:creationId xmlns:a16="http://schemas.microsoft.com/office/drawing/2014/main" id="{4D145DED-F40E-B26B-3526-CA8B46B56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" y="3297"/>
              <a:ext cx="60" cy="57"/>
            </a:xfrm>
            <a:custGeom>
              <a:avLst/>
              <a:gdLst>
                <a:gd name="T0" fmla="*/ 0 w 60"/>
                <a:gd name="T1" fmla="*/ 38 h 57"/>
                <a:gd name="T2" fmla="*/ 0 w 60"/>
                <a:gd name="T3" fmla="*/ 38 h 57"/>
                <a:gd name="T4" fmla="*/ 13 w 60"/>
                <a:gd name="T5" fmla="*/ 18 h 57"/>
                <a:gd name="T6" fmla="*/ 28 w 60"/>
                <a:gd name="T7" fmla="*/ 22 h 57"/>
                <a:gd name="T8" fmla="*/ 49 w 60"/>
                <a:gd name="T9" fmla="*/ 0 h 57"/>
                <a:gd name="T10" fmla="*/ 59 w 60"/>
                <a:gd name="T11" fmla="*/ 13 h 57"/>
                <a:gd name="T12" fmla="*/ 58 w 60"/>
                <a:gd name="T13" fmla="*/ 46 h 57"/>
                <a:gd name="T14" fmla="*/ 53 w 60"/>
                <a:gd name="T15" fmla="*/ 32 h 57"/>
                <a:gd name="T16" fmla="*/ 47 w 60"/>
                <a:gd name="T17" fmla="*/ 56 h 57"/>
                <a:gd name="T18" fmla="*/ 32 w 60"/>
                <a:gd name="T19" fmla="*/ 50 h 57"/>
                <a:gd name="T20" fmla="*/ 23 w 60"/>
                <a:gd name="T21" fmla="*/ 25 h 57"/>
                <a:gd name="T22" fmla="*/ 0 w 60"/>
                <a:gd name="T23" fmla="*/ 38 h 57"/>
                <a:gd name="T24" fmla="*/ 0 w 60"/>
                <a:gd name="T25" fmla="*/ 38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0"/>
                <a:gd name="T40" fmla="*/ 0 h 57"/>
                <a:gd name="T41" fmla="*/ 60 w 60"/>
                <a:gd name="T42" fmla="*/ 57 h 5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0" h="57">
                  <a:moveTo>
                    <a:pt x="0" y="38"/>
                  </a:moveTo>
                  <a:lnTo>
                    <a:pt x="0" y="38"/>
                  </a:lnTo>
                  <a:lnTo>
                    <a:pt x="13" y="18"/>
                  </a:lnTo>
                  <a:lnTo>
                    <a:pt x="28" y="22"/>
                  </a:lnTo>
                  <a:lnTo>
                    <a:pt x="49" y="0"/>
                  </a:lnTo>
                  <a:lnTo>
                    <a:pt x="59" y="13"/>
                  </a:lnTo>
                  <a:lnTo>
                    <a:pt x="58" y="46"/>
                  </a:lnTo>
                  <a:lnTo>
                    <a:pt x="53" y="32"/>
                  </a:lnTo>
                  <a:lnTo>
                    <a:pt x="47" y="56"/>
                  </a:lnTo>
                  <a:lnTo>
                    <a:pt x="32" y="50"/>
                  </a:lnTo>
                  <a:lnTo>
                    <a:pt x="23" y="25"/>
                  </a:lnTo>
                  <a:lnTo>
                    <a:pt x="0" y="38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" name="Freeform 672">
              <a:extLst>
                <a:ext uri="{FF2B5EF4-FFF2-40B4-BE49-F238E27FC236}">
                  <a16:creationId xmlns:a16="http://schemas.microsoft.com/office/drawing/2014/main" id="{A42B3C86-8054-CB00-69E8-20468D52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2" y="3283"/>
              <a:ext cx="14" cy="24"/>
            </a:xfrm>
            <a:custGeom>
              <a:avLst/>
              <a:gdLst>
                <a:gd name="T0" fmla="*/ 0 w 14"/>
                <a:gd name="T1" fmla="*/ 14 h 24"/>
                <a:gd name="T2" fmla="*/ 0 w 14"/>
                <a:gd name="T3" fmla="*/ 14 h 24"/>
                <a:gd name="T4" fmla="*/ 3 w 14"/>
                <a:gd name="T5" fmla="*/ 10 h 24"/>
                <a:gd name="T6" fmla="*/ 13 w 14"/>
                <a:gd name="T7" fmla="*/ 0 h 24"/>
                <a:gd name="T8" fmla="*/ 9 w 14"/>
                <a:gd name="T9" fmla="*/ 23 h 24"/>
                <a:gd name="T10" fmla="*/ 0 w 14"/>
                <a:gd name="T11" fmla="*/ 14 h 24"/>
                <a:gd name="T12" fmla="*/ 0 w 14"/>
                <a:gd name="T13" fmla="*/ 1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4"/>
                <a:gd name="T23" fmla="*/ 14 w 1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4">
                  <a:moveTo>
                    <a:pt x="0" y="14"/>
                  </a:moveTo>
                  <a:lnTo>
                    <a:pt x="0" y="14"/>
                  </a:lnTo>
                  <a:lnTo>
                    <a:pt x="3" y="10"/>
                  </a:lnTo>
                  <a:lnTo>
                    <a:pt x="13" y="0"/>
                  </a:lnTo>
                  <a:lnTo>
                    <a:pt x="9" y="23"/>
                  </a:lnTo>
                  <a:lnTo>
                    <a:pt x="0" y="14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76" name="Freeform 673">
            <a:extLst>
              <a:ext uri="{FF2B5EF4-FFF2-40B4-BE49-F238E27FC236}">
                <a16:creationId xmlns:a16="http://schemas.microsoft.com/office/drawing/2014/main" id="{1568C558-D446-1671-8751-17418BD6CBD1}"/>
              </a:ext>
            </a:extLst>
          </p:cNvPr>
          <p:cNvSpPr>
            <a:spLocks/>
          </p:cNvSpPr>
          <p:nvPr/>
        </p:nvSpPr>
        <p:spPr bwMode="auto">
          <a:xfrm>
            <a:off x="4470248" y="3865437"/>
            <a:ext cx="2559400" cy="831516"/>
          </a:xfrm>
          <a:custGeom>
            <a:avLst/>
            <a:gdLst>
              <a:gd name="T0" fmla="*/ 37309631 w 2232"/>
              <a:gd name="T1" fmla="*/ 710412683 h 748"/>
              <a:gd name="T2" fmla="*/ 66845385 w 2232"/>
              <a:gd name="T3" fmla="*/ 442943307 h 748"/>
              <a:gd name="T4" fmla="*/ 129026444 w 2232"/>
              <a:gd name="T5" fmla="*/ 374798509 h 748"/>
              <a:gd name="T6" fmla="*/ 167890879 w 2232"/>
              <a:gd name="T7" fmla="*/ 560493703 h 748"/>
              <a:gd name="T8" fmla="*/ 300026834 w 2232"/>
              <a:gd name="T9" fmla="*/ 560493703 h 748"/>
              <a:gd name="T10" fmla="*/ 421280687 w 2232"/>
              <a:gd name="T11" fmla="*/ 431017413 h 748"/>
              <a:gd name="T12" fmla="*/ 592281039 w 2232"/>
              <a:gd name="T13" fmla="*/ 420796150 h 748"/>
              <a:gd name="T14" fmla="*/ 879870995 w 2232"/>
              <a:gd name="T15" fmla="*/ 419092823 h 748"/>
              <a:gd name="T16" fmla="*/ 881425770 w 2232"/>
              <a:gd name="T17" fmla="*/ 270877252 h 748"/>
              <a:gd name="T18" fmla="*/ 990243836 w 2232"/>
              <a:gd name="T19" fmla="*/ 408870255 h 748"/>
              <a:gd name="T20" fmla="*/ 1008898646 w 2232"/>
              <a:gd name="T21" fmla="*/ 398648993 h 748"/>
              <a:gd name="T22" fmla="*/ 1089734496 w 2232"/>
              <a:gd name="T23" fmla="*/ 417389497 h 748"/>
              <a:gd name="T24" fmla="*/ 1035326087 w 2232"/>
              <a:gd name="T25" fmla="*/ 238507527 h 748"/>
              <a:gd name="T26" fmla="*/ 1094397576 w 2232"/>
              <a:gd name="T27" fmla="*/ 247026768 h 748"/>
              <a:gd name="T28" fmla="*/ 1139479826 w 2232"/>
              <a:gd name="T29" fmla="*/ 195917844 h 748"/>
              <a:gd name="T30" fmla="*/ 1400642498 w 2232"/>
              <a:gd name="T31" fmla="*/ 78367386 h 748"/>
              <a:gd name="T32" fmla="*/ 1576305929 w 2232"/>
              <a:gd name="T33" fmla="*/ 56220229 h 748"/>
              <a:gd name="T34" fmla="*/ 1786169430 w 2232"/>
              <a:gd name="T35" fmla="*/ 47700987 h 748"/>
              <a:gd name="T36" fmla="*/ 1699115726 w 2232"/>
              <a:gd name="T37" fmla="*/ 223174980 h 748"/>
              <a:gd name="T38" fmla="*/ 1835914761 w 2232"/>
              <a:gd name="T39" fmla="*/ 209545759 h 748"/>
              <a:gd name="T40" fmla="*/ 2044223487 w 2232"/>
              <a:gd name="T41" fmla="*/ 218065001 h 748"/>
              <a:gd name="T42" fmla="*/ 2147483647 w 2232"/>
              <a:gd name="T43" fmla="*/ 284506472 h 748"/>
              <a:gd name="T44" fmla="*/ 2147483647 w 2232"/>
              <a:gd name="T45" fmla="*/ 267469294 h 748"/>
              <a:gd name="T46" fmla="*/ 2147483647 w 2232"/>
              <a:gd name="T47" fmla="*/ 371390551 h 748"/>
              <a:gd name="T48" fmla="*/ 2147483647 w 2232"/>
              <a:gd name="T49" fmla="*/ 361169288 h 748"/>
              <a:gd name="T50" fmla="*/ 2147483647 w 2232"/>
              <a:gd name="T51" fmla="*/ 459979180 h 748"/>
              <a:gd name="T52" fmla="*/ 2147483647 w 2232"/>
              <a:gd name="T53" fmla="*/ 562197029 h 748"/>
              <a:gd name="T54" fmla="*/ 2147483647 w 2232"/>
              <a:gd name="T55" fmla="*/ 492348905 h 748"/>
              <a:gd name="T56" fmla="*/ 2147483647 w 2232"/>
              <a:gd name="T57" fmla="*/ 613305954 h 748"/>
              <a:gd name="T58" fmla="*/ 2147483647 w 2232"/>
              <a:gd name="T59" fmla="*/ 725746535 h 748"/>
              <a:gd name="T60" fmla="*/ 2147483647 w 2232"/>
              <a:gd name="T61" fmla="*/ 850110236 h 748"/>
              <a:gd name="T62" fmla="*/ 2147483647 w 2232"/>
              <a:gd name="T63" fmla="*/ 982994484 h 748"/>
              <a:gd name="T64" fmla="*/ 2147483647 w 2232"/>
              <a:gd name="T65" fmla="*/ 689970157 h 748"/>
              <a:gd name="T66" fmla="*/ 2147483647 w 2232"/>
              <a:gd name="T67" fmla="*/ 662711553 h 748"/>
              <a:gd name="T68" fmla="*/ 2147483647 w 2232"/>
              <a:gd name="T69" fmla="*/ 747893692 h 748"/>
              <a:gd name="T70" fmla="*/ 2147483647 w 2232"/>
              <a:gd name="T71" fmla="*/ 919959665 h 748"/>
              <a:gd name="T72" fmla="*/ 2147483647 w 2232"/>
              <a:gd name="T73" fmla="*/ 974475243 h 748"/>
              <a:gd name="T74" fmla="*/ 2147483647 w 2232"/>
              <a:gd name="T75" fmla="*/ 1257278307 h 748"/>
              <a:gd name="T76" fmla="*/ 2135941517 w 2232"/>
              <a:gd name="T77" fmla="*/ 1051139282 h 748"/>
              <a:gd name="T78" fmla="*/ 1898097047 w 2232"/>
              <a:gd name="T79" fmla="*/ 1042621346 h 748"/>
              <a:gd name="T80" fmla="*/ 1507907035 w 2232"/>
              <a:gd name="T81" fmla="*/ 998327031 h 748"/>
              <a:gd name="T82" fmla="*/ 1147252456 w 2232"/>
              <a:gd name="T83" fmla="*/ 1042621346 h 748"/>
              <a:gd name="T84" fmla="*/ 1016671276 w 2232"/>
              <a:gd name="T85" fmla="*/ 1001733684 h 748"/>
              <a:gd name="T86" fmla="*/ 778825559 w 2232"/>
              <a:gd name="T87" fmla="*/ 877368677 h 748"/>
              <a:gd name="T88" fmla="*/ 620262008 w 2232"/>
              <a:gd name="T89" fmla="*/ 916553013 h 748"/>
              <a:gd name="T90" fmla="*/ 645134673 w 2232"/>
              <a:gd name="T91" fmla="*/ 1001733684 h 748"/>
              <a:gd name="T92" fmla="*/ 553416642 w 2232"/>
              <a:gd name="T93" fmla="*/ 993215747 h 748"/>
              <a:gd name="T94" fmla="*/ 415062832 w 2232"/>
              <a:gd name="T95" fmla="*/ 1013659578 h 748"/>
              <a:gd name="T96" fmla="*/ 401072348 w 2232"/>
              <a:gd name="T97" fmla="*/ 1097136923 h 748"/>
              <a:gd name="T98" fmla="*/ 452372453 w 2232"/>
              <a:gd name="T99" fmla="*/ 1161875068 h 748"/>
              <a:gd name="T100" fmla="*/ 411953282 w 2232"/>
              <a:gd name="T101" fmla="*/ 1253870349 h 748"/>
              <a:gd name="T102" fmla="*/ 290699429 w 2232"/>
              <a:gd name="T103" fmla="*/ 1206169383 h 748"/>
              <a:gd name="T104" fmla="*/ 272044619 w 2232"/>
              <a:gd name="T105" fmla="*/ 1092025639 h 748"/>
              <a:gd name="T106" fmla="*/ 138353849 w 2232"/>
              <a:gd name="T107" fmla="*/ 1000030358 h 748"/>
              <a:gd name="T108" fmla="*/ 93272845 w 2232"/>
              <a:gd name="T109" fmla="*/ 954032717 h 748"/>
              <a:gd name="T110" fmla="*/ 6217857 w 2232"/>
              <a:gd name="T111" fmla="*/ 880776635 h 74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232"/>
              <a:gd name="T169" fmla="*/ 0 h 748"/>
              <a:gd name="T170" fmla="*/ 2232 w 2232"/>
              <a:gd name="T171" fmla="*/ 748 h 74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232" h="748">
                <a:moveTo>
                  <a:pt x="8" y="492"/>
                </a:moveTo>
                <a:lnTo>
                  <a:pt x="13" y="474"/>
                </a:lnTo>
                <a:lnTo>
                  <a:pt x="22" y="458"/>
                </a:lnTo>
                <a:lnTo>
                  <a:pt x="15" y="439"/>
                </a:lnTo>
                <a:lnTo>
                  <a:pt x="15" y="428"/>
                </a:lnTo>
                <a:lnTo>
                  <a:pt x="46" y="423"/>
                </a:lnTo>
                <a:lnTo>
                  <a:pt x="24" y="417"/>
                </a:lnTo>
                <a:lnTo>
                  <a:pt x="25" y="409"/>
                </a:lnTo>
                <a:lnTo>
                  <a:pt x="11" y="411"/>
                </a:lnTo>
                <a:lnTo>
                  <a:pt x="63" y="367"/>
                </a:lnTo>
                <a:lnTo>
                  <a:pt x="40" y="321"/>
                </a:lnTo>
                <a:lnTo>
                  <a:pt x="46" y="299"/>
                </a:lnTo>
                <a:lnTo>
                  <a:pt x="32" y="274"/>
                </a:lnTo>
                <a:lnTo>
                  <a:pt x="43" y="260"/>
                </a:lnTo>
                <a:lnTo>
                  <a:pt x="24" y="241"/>
                </a:lnTo>
                <a:lnTo>
                  <a:pt x="29" y="225"/>
                </a:lnTo>
                <a:lnTo>
                  <a:pt x="55" y="207"/>
                </a:lnTo>
                <a:lnTo>
                  <a:pt x="69" y="205"/>
                </a:lnTo>
                <a:lnTo>
                  <a:pt x="86" y="209"/>
                </a:lnTo>
                <a:lnTo>
                  <a:pt x="71" y="213"/>
                </a:lnTo>
                <a:lnTo>
                  <a:pt x="83" y="220"/>
                </a:lnTo>
                <a:lnTo>
                  <a:pt x="123" y="222"/>
                </a:lnTo>
                <a:lnTo>
                  <a:pt x="195" y="259"/>
                </a:lnTo>
                <a:lnTo>
                  <a:pt x="196" y="277"/>
                </a:lnTo>
                <a:lnTo>
                  <a:pt x="166" y="294"/>
                </a:lnTo>
                <a:lnTo>
                  <a:pt x="69" y="271"/>
                </a:lnTo>
                <a:lnTo>
                  <a:pt x="109" y="298"/>
                </a:lnTo>
                <a:lnTo>
                  <a:pt x="108" y="329"/>
                </a:lnTo>
                <a:lnTo>
                  <a:pt x="146" y="344"/>
                </a:lnTo>
                <a:lnTo>
                  <a:pt x="157" y="342"/>
                </a:lnTo>
                <a:lnTo>
                  <a:pt x="151" y="329"/>
                </a:lnTo>
                <a:lnTo>
                  <a:pt x="133" y="324"/>
                </a:lnTo>
                <a:lnTo>
                  <a:pt x="138" y="313"/>
                </a:lnTo>
                <a:lnTo>
                  <a:pt x="155" y="325"/>
                </a:lnTo>
                <a:lnTo>
                  <a:pt x="193" y="329"/>
                </a:lnTo>
                <a:lnTo>
                  <a:pt x="177" y="304"/>
                </a:lnTo>
                <a:lnTo>
                  <a:pt x="212" y="284"/>
                </a:lnTo>
                <a:lnTo>
                  <a:pt x="237" y="298"/>
                </a:lnTo>
                <a:lnTo>
                  <a:pt x="236" y="243"/>
                </a:lnTo>
                <a:lnTo>
                  <a:pt x="226" y="234"/>
                </a:lnTo>
                <a:lnTo>
                  <a:pt x="268" y="247"/>
                </a:lnTo>
                <a:lnTo>
                  <a:pt x="271" y="253"/>
                </a:lnTo>
                <a:lnTo>
                  <a:pt x="248" y="263"/>
                </a:lnTo>
                <a:lnTo>
                  <a:pt x="271" y="281"/>
                </a:lnTo>
                <a:lnTo>
                  <a:pt x="290" y="260"/>
                </a:lnTo>
                <a:lnTo>
                  <a:pt x="368" y="227"/>
                </a:lnTo>
                <a:lnTo>
                  <a:pt x="380" y="226"/>
                </a:lnTo>
                <a:lnTo>
                  <a:pt x="368" y="231"/>
                </a:lnTo>
                <a:lnTo>
                  <a:pt x="381" y="247"/>
                </a:lnTo>
                <a:lnTo>
                  <a:pt x="438" y="226"/>
                </a:lnTo>
                <a:lnTo>
                  <a:pt x="451" y="241"/>
                </a:lnTo>
                <a:lnTo>
                  <a:pt x="464" y="230"/>
                </a:lnTo>
                <a:lnTo>
                  <a:pt x="457" y="212"/>
                </a:lnTo>
                <a:lnTo>
                  <a:pt x="465" y="206"/>
                </a:lnTo>
                <a:lnTo>
                  <a:pt x="509" y="215"/>
                </a:lnTo>
                <a:lnTo>
                  <a:pt x="566" y="246"/>
                </a:lnTo>
                <a:lnTo>
                  <a:pt x="577" y="231"/>
                </a:lnTo>
                <a:lnTo>
                  <a:pt x="565" y="215"/>
                </a:lnTo>
                <a:lnTo>
                  <a:pt x="547" y="211"/>
                </a:lnTo>
                <a:lnTo>
                  <a:pt x="554" y="186"/>
                </a:lnTo>
                <a:lnTo>
                  <a:pt x="542" y="183"/>
                </a:lnTo>
                <a:lnTo>
                  <a:pt x="546" y="171"/>
                </a:lnTo>
                <a:lnTo>
                  <a:pt x="567" y="159"/>
                </a:lnTo>
                <a:lnTo>
                  <a:pt x="581" y="129"/>
                </a:lnTo>
                <a:lnTo>
                  <a:pt x="610" y="130"/>
                </a:lnTo>
                <a:lnTo>
                  <a:pt x="625" y="134"/>
                </a:lnTo>
                <a:lnTo>
                  <a:pt x="614" y="166"/>
                </a:lnTo>
                <a:lnTo>
                  <a:pt x="626" y="181"/>
                </a:lnTo>
                <a:lnTo>
                  <a:pt x="622" y="225"/>
                </a:lnTo>
                <a:lnTo>
                  <a:pt x="637" y="240"/>
                </a:lnTo>
                <a:lnTo>
                  <a:pt x="631" y="256"/>
                </a:lnTo>
                <a:lnTo>
                  <a:pt x="609" y="268"/>
                </a:lnTo>
                <a:lnTo>
                  <a:pt x="616" y="274"/>
                </a:lnTo>
                <a:lnTo>
                  <a:pt x="586" y="280"/>
                </a:lnTo>
                <a:lnTo>
                  <a:pt x="618" y="291"/>
                </a:lnTo>
                <a:lnTo>
                  <a:pt x="653" y="256"/>
                </a:lnTo>
                <a:lnTo>
                  <a:pt x="649" y="234"/>
                </a:lnTo>
                <a:lnTo>
                  <a:pt x="661" y="231"/>
                </a:lnTo>
                <a:lnTo>
                  <a:pt x="680" y="227"/>
                </a:lnTo>
                <a:lnTo>
                  <a:pt x="689" y="239"/>
                </a:lnTo>
                <a:lnTo>
                  <a:pt x="688" y="256"/>
                </a:lnTo>
                <a:lnTo>
                  <a:pt x="711" y="261"/>
                </a:lnTo>
                <a:lnTo>
                  <a:pt x="693" y="255"/>
                </a:lnTo>
                <a:lnTo>
                  <a:pt x="701" y="245"/>
                </a:lnTo>
                <a:lnTo>
                  <a:pt x="694" y="231"/>
                </a:lnTo>
                <a:lnTo>
                  <a:pt x="641" y="221"/>
                </a:lnTo>
                <a:lnTo>
                  <a:pt x="649" y="187"/>
                </a:lnTo>
                <a:lnTo>
                  <a:pt x="631" y="166"/>
                </a:lnTo>
                <a:lnTo>
                  <a:pt x="657" y="146"/>
                </a:lnTo>
                <a:lnTo>
                  <a:pt x="654" y="132"/>
                </a:lnTo>
                <a:lnTo>
                  <a:pt x="666" y="140"/>
                </a:lnTo>
                <a:lnTo>
                  <a:pt x="660" y="167"/>
                </a:lnTo>
                <a:lnTo>
                  <a:pt x="668" y="171"/>
                </a:lnTo>
                <a:lnTo>
                  <a:pt x="704" y="180"/>
                </a:lnTo>
                <a:lnTo>
                  <a:pt x="672" y="157"/>
                </a:lnTo>
                <a:lnTo>
                  <a:pt x="696" y="158"/>
                </a:lnTo>
                <a:lnTo>
                  <a:pt x="691" y="149"/>
                </a:lnTo>
                <a:lnTo>
                  <a:pt x="704" y="145"/>
                </a:lnTo>
                <a:lnTo>
                  <a:pt x="770" y="162"/>
                </a:lnTo>
                <a:lnTo>
                  <a:pt x="757" y="174"/>
                </a:lnTo>
                <a:lnTo>
                  <a:pt x="756" y="192"/>
                </a:lnTo>
                <a:lnTo>
                  <a:pt x="769" y="202"/>
                </a:lnTo>
                <a:lnTo>
                  <a:pt x="776" y="162"/>
                </a:lnTo>
                <a:lnTo>
                  <a:pt x="740" y="142"/>
                </a:lnTo>
                <a:lnTo>
                  <a:pt x="733" y="115"/>
                </a:lnTo>
                <a:lnTo>
                  <a:pt x="816" y="105"/>
                </a:lnTo>
                <a:lnTo>
                  <a:pt x="806" y="79"/>
                </a:lnTo>
                <a:lnTo>
                  <a:pt x="816" y="85"/>
                </a:lnTo>
                <a:lnTo>
                  <a:pt x="830" y="75"/>
                </a:lnTo>
                <a:lnTo>
                  <a:pt x="820" y="72"/>
                </a:lnTo>
                <a:lnTo>
                  <a:pt x="908" y="51"/>
                </a:lnTo>
                <a:lnTo>
                  <a:pt x="901" y="46"/>
                </a:lnTo>
                <a:lnTo>
                  <a:pt x="941" y="43"/>
                </a:lnTo>
                <a:lnTo>
                  <a:pt x="941" y="50"/>
                </a:lnTo>
                <a:lnTo>
                  <a:pt x="951" y="50"/>
                </a:lnTo>
                <a:lnTo>
                  <a:pt x="980" y="41"/>
                </a:lnTo>
                <a:lnTo>
                  <a:pt x="994" y="46"/>
                </a:lnTo>
                <a:lnTo>
                  <a:pt x="981" y="35"/>
                </a:lnTo>
                <a:lnTo>
                  <a:pt x="1014" y="33"/>
                </a:lnTo>
                <a:lnTo>
                  <a:pt x="1015" y="19"/>
                </a:lnTo>
                <a:lnTo>
                  <a:pt x="1054" y="0"/>
                </a:lnTo>
                <a:lnTo>
                  <a:pt x="1081" y="11"/>
                </a:lnTo>
                <a:lnTo>
                  <a:pt x="1058" y="21"/>
                </a:lnTo>
                <a:lnTo>
                  <a:pt x="1098" y="20"/>
                </a:lnTo>
                <a:lnTo>
                  <a:pt x="1082" y="35"/>
                </a:lnTo>
                <a:lnTo>
                  <a:pt x="1149" y="28"/>
                </a:lnTo>
                <a:lnTo>
                  <a:pt x="1186" y="50"/>
                </a:lnTo>
                <a:lnTo>
                  <a:pt x="1181" y="59"/>
                </a:lnTo>
                <a:lnTo>
                  <a:pt x="1168" y="54"/>
                </a:lnTo>
                <a:lnTo>
                  <a:pt x="1185" y="61"/>
                </a:lnTo>
                <a:lnTo>
                  <a:pt x="1177" y="74"/>
                </a:lnTo>
                <a:lnTo>
                  <a:pt x="1054" y="139"/>
                </a:lnTo>
                <a:lnTo>
                  <a:pt x="1093" y="131"/>
                </a:lnTo>
                <a:lnTo>
                  <a:pt x="1085" y="123"/>
                </a:lnTo>
                <a:lnTo>
                  <a:pt x="1147" y="110"/>
                </a:lnTo>
                <a:lnTo>
                  <a:pt x="1130" y="113"/>
                </a:lnTo>
                <a:lnTo>
                  <a:pt x="1134" y="101"/>
                </a:lnTo>
                <a:lnTo>
                  <a:pt x="1168" y="110"/>
                </a:lnTo>
                <a:lnTo>
                  <a:pt x="1174" y="101"/>
                </a:lnTo>
                <a:lnTo>
                  <a:pt x="1181" y="123"/>
                </a:lnTo>
                <a:lnTo>
                  <a:pt x="1198" y="124"/>
                </a:lnTo>
                <a:lnTo>
                  <a:pt x="1183" y="115"/>
                </a:lnTo>
                <a:lnTo>
                  <a:pt x="1215" y="110"/>
                </a:lnTo>
                <a:lnTo>
                  <a:pt x="1255" y="115"/>
                </a:lnTo>
                <a:lnTo>
                  <a:pt x="1251" y="123"/>
                </a:lnTo>
                <a:lnTo>
                  <a:pt x="1285" y="129"/>
                </a:lnTo>
                <a:lnTo>
                  <a:pt x="1315" y="128"/>
                </a:lnTo>
                <a:lnTo>
                  <a:pt x="1316" y="108"/>
                </a:lnTo>
                <a:lnTo>
                  <a:pt x="1325" y="105"/>
                </a:lnTo>
                <a:lnTo>
                  <a:pt x="1401" y="128"/>
                </a:lnTo>
                <a:lnTo>
                  <a:pt x="1390" y="162"/>
                </a:lnTo>
                <a:lnTo>
                  <a:pt x="1426" y="186"/>
                </a:lnTo>
                <a:lnTo>
                  <a:pt x="1445" y="153"/>
                </a:lnTo>
                <a:lnTo>
                  <a:pt x="1458" y="167"/>
                </a:lnTo>
                <a:lnTo>
                  <a:pt x="1483" y="162"/>
                </a:lnTo>
                <a:lnTo>
                  <a:pt x="1517" y="174"/>
                </a:lnTo>
                <a:lnTo>
                  <a:pt x="1544" y="167"/>
                </a:lnTo>
                <a:lnTo>
                  <a:pt x="1541" y="153"/>
                </a:lnTo>
                <a:lnTo>
                  <a:pt x="1560" y="132"/>
                </a:lnTo>
                <a:lnTo>
                  <a:pt x="1674" y="147"/>
                </a:lnTo>
                <a:lnTo>
                  <a:pt x="1681" y="157"/>
                </a:lnTo>
                <a:lnTo>
                  <a:pt x="1667" y="162"/>
                </a:lnTo>
                <a:lnTo>
                  <a:pt x="1703" y="167"/>
                </a:lnTo>
                <a:lnTo>
                  <a:pt x="1717" y="183"/>
                </a:lnTo>
                <a:lnTo>
                  <a:pt x="1802" y="180"/>
                </a:lnTo>
                <a:lnTo>
                  <a:pt x="1818" y="192"/>
                </a:lnTo>
                <a:lnTo>
                  <a:pt x="1812" y="207"/>
                </a:lnTo>
                <a:lnTo>
                  <a:pt x="1837" y="218"/>
                </a:lnTo>
                <a:lnTo>
                  <a:pt x="1850" y="209"/>
                </a:lnTo>
                <a:lnTo>
                  <a:pt x="1910" y="216"/>
                </a:lnTo>
                <a:lnTo>
                  <a:pt x="1923" y="207"/>
                </a:lnTo>
                <a:lnTo>
                  <a:pt x="1930" y="221"/>
                </a:lnTo>
                <a:lnTo>
                  <a:pt x="1955" y="232"/>
                </a:lnTo>
                <a:lnTo>
                  <a:pt x="1967" y="224"/>
                </a:lnTo>
                <a:lnTo>
                  <a:pt x="1955" y="212"/>
                </a:lnTo>
                <a:lnTo>
                  <a:pt x="1962" y="202"/>
                </a:lnTo>
                <a:lnTo>
                  <a:pt x="2068" y="217"/>
                </a:lnTo>
                <a:lnTo>
                  <a:pt x="2138" y="257"/>
                </a:lnTo>
                <a:lnTo>
                  <a:pt x="2153" y="257"/>
                </a:lnTo>
                <a:lnTo>
                  <a:pt x="2171" y="289"/>
                </a:lnTo>
                <a:lnTo>
                  <a:pt x="2164" y="271"/>
                </a:lnTo>
                <a:lnTo>
                  <a:pt x="2175" y="270"/>
                </a:lnTo>
                <a:lnTo>
                  <a:pt x="2182" y="276"/>
                </a:lnTo>
                <a:lnTo>
                  <a:pt x="2202" y="274"/>
                </a:lnTo>
                <a:lnTo>
                  <a:pt x="2231" y="293"/>
                </a:lnTo>
                <a:lnTo>
                  <a:pt x="2190" y="313"/>
                </a:lnTo>
                <a:lnTo>
                  <a:pt x="2198" y="319"/>
                </a:lnTo>
                <a:lnTo>
                  <a:pt x="2184" y="322"/>
                </a:lnTo>
                <a:lnTo>
                  <a:pt x="2196" y="330"/>
                </a:lnTo>
                <a:lnTo>
                  <a:pt x="2171" y="330"/>
                </a:lnTo>
                <a:lnTo>
                  <a:pt x="2163" y="319"/>
                </a:lnTo>
                <a:lnTo>
                  <a:pt x="2153" y="323"/>
                </a:lnTo>
                <a:lnTo>
                  <a:pt x="2138" y="304"/>
                </a:lnTo>
                <a:lnTo>
                  <a:pt x="2110" y="305"/>
                </a:lnTo>
                <a:lnTo>
                  <a:pt x="2103" y="294"/>
                </a:lnTo>
                <a:lnTo>
                  <a:pt x="2110" y="289"/>
                </a:lnTo>
                <a:lnTo>
                  <a:pt x="2099" y="289"/>
                </a:lnTo>
                <a:lnTo>
                  <a:pt x="2090" y="293"/>
                </a:lnTo>
                <a:lnTo>
                  <a:pt x="2100" y="306"/>
                </a:lnTo>
                <a:lnTo>
                  <a:pt x="2094" y="313"/>
                </a:lnTo>
                <a:lnTo>
                  <a:pt x="2071" y="326"/>
                </a:lnTo>
                <a:lnTo>
                  <a:pt x="2055" y="324"/>
                </a:lnTo>
                <a:lnTo>
                  <a:pt x="2081" y="360"/>
                </a:lnTo>
                <a:lnTo>
                  <a:pt x="2077" y="374"/>
                </a:lnTo>
                <a:lnTo>
                  <a:pt x="2050" y="364"/>
                </a:lnTo>
                <a:lnTo>
                  <a:pt x="2051" y="370"/>
                </a:lnTo>
                <a:lnTo>
                  <a:pt x="2002" y="388"/>
                </a:lnTo>
                <a:lnTo>
                  <a:pt x="1958" y="425"/>
                </a:lnTo>
                <a:lnTo>
                  <a:pt x="1928" y="411"/>
                </a:lnTo>
                <a:lnTo>
                  <a:pt x="1900" y="426"/>
                </a:lnTo>
                <a:lnTo>
                  <a:pt x="1900" y="412"/>
                </a:lnTo>
                <a:lnTo>
                  <a:pt x="1885" y="427"/>
                </a:lnTo>
                <a:lnTo>
                  <a:pt x="1865" y="425"/>
                </a:lnTo>
                <a:lnTo>
                  <a:pt x="1845" y="461"/>
                </a:lnTo>
                <a:lnTo>
                  <a:pt x="1861" y="469"/>
                </a:lnTo>
                <a:lnTo>
                  <a:pt x="1854" y="480"/>
                </a:lnTo>
                <a:lnTo>
                  <a:pt x="1862" y="499"/>
                </a:lnTo>
                <a:lnTo>
                  <a:pt x="1848" y="496"/>
                </a:lnTo>
                <a:lnTo>
                  <a:pt x="1840" y="512"/>
                </a:lnTo>
                <a:lnTo>
                  <a:pt x="1845" y="526"/>
                </a:lnTo>
                <a:lnTo>
                  <a:pt x="1815" y="539"/>
                </a:lnTo>
                <a:lnTo>
                  <a:pt x="1818" y="555"/>
                </a:lnTo>
                <a:lnTo>
                  <a:pt x="1798" y="559"/>
                </a:lnTo>
                <a:lnTo>
                  <a:pt x="1792" y="577"/>
                </a:lnTo>
                <a:lnTo>
                  <a:pt x="1774" y="596"/>
                </a:lnTo>
                <a:lnTo>
                  <a:pt x="1759" y="526"/>
                </a:lnTo>
                <a:lnTo>
                  <a:pt x="1761" y="489"/>
                </a:lnTo>
                <a:lnTo>
                  <a:pt x="1774" y="466"/>
                </a:lnTo>
                <a:lnTo>
                  <a:pt x="1795" y="462"/>
                </a:lnTo>
                <a:lnTo>
                  <a:pt x="1843" y="415"/>
                </a:lnTo>
                <a:lnTo>
                  <a:pt x="1867" y="405"/>
                </a:lnTo>
                <a:lnTo>
                  <a:pt x="1874" y="378"/>
                </a:lnTo>
                <a:lnTo>
                  <a:pt x="1885" y="370"/>
                </a:lnTo>
                <a:lnTo>
                  <a:pt x="1866" y="370"/>
                </a:lnTo>
                <a:lnTo>
                  <a:pt x="1860" y="392"/>
                </a:lnTo>
                <a:lnTo>
                  <a:pt x="1819" y="411"/>
                </a:lnTo>
                <a:lnTo>
                  <a:pt x="1823" y="383"/>
                </a:lnTo>
                <a:lnTo>
                  <a:pt x="1779" y="389"/>
                </a:lnTo>
                <a:lnTo>
                  <a:pt x="1738" y="426"/>
                </a:lnTo>
                <a:lnTo>
                  <a:pt x="1746" y="441"/>
                </a:lnTo>
                <a:lnTo>
                  <a:pt x="1702" y="446"/>
                </a:lnTo>
                <a:lnTo>
                  <a:pt x="1696" y="442"/>
                </a:lnTo>
                <a:lnTo>
                  <a:pt x="1711" y="439"/>
                </a:lnTo>
                <a:lnTo>
                  <a:pt x="1674" y="430"/>
                </a:lnTo>
                <a:lnTo>
                  <a:pt x="1664" y="439"/>
                </a:lnTo>
                <a:lnTo>
                  <a:pt x="1580" y="440"/>
                </a:lnTo>
                <a:lnTo>
                  <a:pt x="1480" y="525"/>
                </a:lnTo>
                <a:lnTo>
                  <a:pt x="1500" y="529"/>
                </a:lnTo>
                <a:lnTo>
                  <a:pt x="1500" y="544"/>
                </a:lnTo>
                <a:lnTo>
                  <a:pt x="1512" y="534"/>
                </a:lnTo>
                <a:lnTo>
                  <a:pt x="1509" y="547"/>
                </a:lnTo>
                <a:lnTo>
                  <a:pt x="1524" y="540"/>
                </a:lnTo>
                <a:lnTo>
                  <a:pt x="1522" y="548"/>
                </a:lnTo>
                <a:lnTo>
                  <a:pt x="1527" y="534"/>
                </a:lnTo>
                <a:lnTo>
                  <a:pt x="1541" y="535"/>
                </a:lnTo>
                <a:lnTo>
                  <a:pt x="1563" y="553"/>
                </a:lnTo>
                <a:lnTo>
                  <a:pt x="1544" y="554"/>
                </a:lnTo>
                <a:lnTo>
                  <a:pt x="1561" y="560"/>
                </a:lnTo>
                <a:lnTo>
                  <a:pt x="1564" y="572"/>
                </a:lnTo>
                <a:lnTo>
                  <a:pt x="1551" y="599"/>
                </a:lnTo>
                <a:lnTo>
                  <a:pt x="1548" y="640"/>
                </a:lnTo>
                <a:lnTo>
                  <a:pt x="1478" y="725"/>
                </a:lnTo>
                <a:lnTo>
                  <a:pt x="1453" y="736"/>
                </a:lnTo>
                <a:lnTo>
                  <a:pt x="1434" y="725"/>
                </a:lnTo>
                <a:lnTo>
                  <a:pt x="1417" y="741"/>
                </a:lnTo>
                <a:lnTo>
                  <a:pt x="1416" y="738"/>
                </a:lnTo>
                <a:lnTo>
                  <a:pt x="1425" y="725"/>
                </a:lnTo>
                <a:lnTo>
                  <a:pt x="1421" y="703"/>
                </a:lnTo>
                <a:lnTo>
                  <a:pt x="1451" y="695"/>
                </a:lnTo>
                <a:lnTo>
                  <a:pt x="1474" y="638"/>
                </a:lnTo>
                <a:lnTo>
                  <a:pt x="1423" y="652"/>
                </a:lnTo>
                <a:lnTo>
                  <a:pt x="1416" y="630"/>
                </a:lnTo>
                <a:lnTo>
                  <a:pt x="1374" y="617"/>
                </a:lnTo>
                <a:lnTo>
                  <a:pt x="1349" y="559"/>
                </a:lnTo>
                <a:lnTo>
                  <a:pt x="1321" y="548"/>
                </a:lnTo>
                <a:lnTo>
                  <a:pt x="1272" y="564"/>
                </a:lnTo>
                <a:lnTo>
                  <a:pt x="1282" y="576"/>
                </a:lnTo>
                <a:lnTo>
                  <a:pt x="1261" y="611"/>
                </a:lnTo>
                <a:lnTo>
                  <a:pt x="1242" y="620"/>
                </a:lnTo>
                <a:lnTo>
                  <a:pt x="1221" y="612"/>
                </a:lnTo>
                <a:lnTo>
                  <a:pt x="1196" y="608"/>
                </a:lnTo>
                <a:lnTo>
                  <a:pt x="1131" y="624"/>
                </a:lnTo>
                <a:lnTo>
                  <a:pt x="1075" y="601"/>
                </a:lnTo>
                <a:lnTo>
                  <a:pt x="1038" y="604"/>
                </a:lnTo>
                <a:lnTo>
                  <a:pt x="1025" y="585"/>
                </a:lnTo>
                <a:lnTo>
                  <a:pt x="989" y="572"/>
                </a:lnTo>
                <a:lnTo>
                  <a:pt x="970" y="586"/>
                </a:lnTo>
                <a:lnTo>
                  <a:pt x="969" y="612"/>
                </a:lnTo>
                <a:lnTo>
                  <a:pt x="887" y="600"/>
                </a:lnTo>
                <a:lnTo>
                  <a:pt x="843" y="624"/>
                </a:lnTo>
                <a:lnTo>
                  <a:pt x="820" y="634"/>
                </a:lnTo>
                <a:lnTo>
                  <a:pt x="791" y="615"/>
                </a:lnTo>
                <a:lnTo>
                  <a:pt x="772" y="625"/>
                </a:lnTo>
                <a:lnTo>
                  <a:pt x="738" y="612"/>
                </a:lnTo>
                <a:lnTo>
                  <a:pt x="725" y="611"/>
                </a:lnTo>
                <a:lnTo>
                  <a:pt x="715" y="591"/>
                </a:lnTo>
                <a:lnTo>
                  <a:pt x="696" y="591"/>
                </a:lnTo>
                <a:lnTo>
                  <a:pt x="688" y="594"/>
                </a:lnTo>
                <a:lnTo>
                  <a:pt x="674" y="579"/>
                </a:lnTo>
                <a:lnTo>
                  <a:pt x="664" y="583"/>
                </a:lnTo>
                <a:lnTo>
                  <a:pt x="654" y="588"/>
                </a:lnTo>
                <a:lnTo>
                  <a:pt x="616" y="556"/>
                </a:lnTo>
                <a:lnTo>
                  <a:pt x="605" y="553"/>
                </a:lnTo>
                <a:lnTo>
                  <a:pt x="579" y="529"/>
                </a:lnTo>
                <a:lnTo>
                  <a:pt x="555" y="544"/>
                </a:lnTo>
                <a:lnTo>
                  <a:pt x="550" y="534"/>
                </a:lnTo>
                <a:lnTo>
                  <a:pt x="514" y="532"/>
                </a:lnTo>
                <a:lnTo>
                  <a:pt x="501" y="515"/>
                </a:lnTo>
                <a:lnTo>
                  <a:pt x="482" y="516"/>
                </a:lnTo>
                <a:lnTo>
                  <a:pt x="475" y="524"/>
                </a:lnTo>
                <a:lnTo>
                  <a:pt x="451" y="528"/>
                </a:lnTo>
                <a:lnTo>
                  <a:pt x="444" y="524"/>
                </a:lnTo>
                <a:lnTo>
                  <a:pt x="435" y="537"/>
                </a:lnTo>
                <a:lnTo>
                  <a:pt x="428" y="534"/>
                </a:lnTo>
                <a:lnTo>
                  <a:pt x="399" y="538"/>
                </a:lnTo>
                <a:lnTo>
                  <a:pt x="389" y="534"/>
                </a:lnTo>
                <a:lnTo>
                  <a:pt x="386" y="538"/>
                </a:lnTo>
                <a:lnTo>
                  <a:pt x="401" y="553"/>
                </a:lnTo>
                <a:lnTo>
                  <a:pt x="391" y="562"/>
                </a:lnTo>
                <a:lnTo>
                  <a:pt x="392" y="575"/>
                </a:lnTo>
                <a:lnTo>
                  <a:pt x="408" y="576"/>
                </a:lnTo>
                <a:lnTo>
                  <a:pt x="415" y="588"/>
                </a:lnTo>
                <a:lnTo>
                  <a:pt x="411" y="597"/>
                </a:lnTo>
                <a:lnTo>
                  <a:pt x="399" y="591"/>
                </a:lnTo>
                <a:lnTo>
                  <a:pt x="389" y="596"/>
                </a:lnTo>
                <a:lnTo>
                  <a:pt x="380" y="591"/>
                </a:lnTo>
                <a:lnTo>
                  <a:pt x="376" y="583"/>
                </a:lnTo>
                <a:lnTo>
                  <a:pt x="365" y="588"/>
                </a:lnTo>
                <a:lnTo>
                  <a:pt x="356" y="583"/>
                </a:lnTo>
                <a:lnTo>
                  <a:pt x="347" y="591"/>
                </a:lnTo>
                <a:lnTo>
                  <a:pt x="335" y="592"/>
                </a:lnTo>
                <a:lnTo>
                  <a:pt x="327" y="583"/>
                </a:lnTo>
                <a:lnTo>
                  <a:pt x="283" y="580"/>
                </a:lnTo>
                <a:lnTo>
                  <a:pt x="278" y="585"/>
                </a:lnTo>
                <a:lnTo>
                  <a:pt x="274" y="585"/>
                </a:lnTo>
                <a:lnTo>
                  <a:pt x="267" y="595"/>
                </a:lnTo>
                <a:lnTo>
                  <a:pt x="268" y="605"/>
                </a:lnTo>
                <a:lnTo>
                  <a:pt x="263" y="605"/>
                </a:lnTo>
                <a:lnTo>
                  <a:pt x="259" y="597"/>
                </a:lnTo>
                <a:lnTo>
                  <a:pt x="253" y="598"/>
                </a:lnTo>
                <a:lnTo>
                  <a:pt x="251" y="627"/>
                </a:lnTo>
                <a:lnTo>
                  <a:pt x="258" y="636"/>
                </a:lnTo>
                <a:lnTo>
                  <a:pt x="258" y="644"/>
                </a:lnTo>
                <a:lnTo>
                  <a:pt x="265" y="643"/>
                </a:lnTo>
                <a:lnTo>
                  <a:pt x="274" y="639"/>
                </a:lnTo>
                <a:lnTo>
                  <a:pt x="282" y="652"/>
                </a:lnTo>
                <a:lnTo>
                  <a:pt x="288" y="660"/>
                </a:lnTo>
                <a:lnTo>
                  <a:pt x="294" y="671"/>
                </a:lnTo>
                <a:lnTo>
                  <a:pt x="304" y="673"/>
                </a:lnTo>
                <a:lnTo>
                  <a:pt x="291" y="682"/>
                </a:lnTo>
                <a:lnTo>
                  <a:pt x="282" y="674"/>
                </a:lnTo>
                <a:lnTo>
                  <a:pt x="273" y="707"/>
                </a:lnTo>
                <a:lnTo>
                  <a:pt x="284" y="715"/>
                </a:lnTo>
                <a:lnTo>
                  <a:pt x="294" y="747"/>
                </a:lnTo>
                <a:lnTo>
                  <a:pt x="285" y="741"/>
                </a:lnTo>
                <a:lnTo>
                  <a:pt x="276" y="738"/>
                </a:lnTo>
                <a:lnTo>
                  <a:pt x="265" y="736"/>
                </a:lnTo>
                <a:lnTo>
                  <a:pt x="258" y="733"/>
                </a:lnTo>
                <a:lnTo>
                  <a:pt x="250" y="731"/>
                </a:lnTo>
                <a:lnTo>
                  <a:pt x="244" y="720"/>
                </a:lnTo>
                <a:lnTo>
                  <a:pt x="230" y="727"/>
                </a:lnTo>
                <a:lnTo>
                  <a:pt x="217" y="726"/>
                </a:lnTo>
                <a:lnTo>
                  <a:pt x="209" y="717"/>
                </a:lnTo>
                <a:lnTo>
                  <a:pt x="187" y="708"/>
                </a:lnTo>
                <a:lnTo>
                  <a:pt x="165" y="709"/>
                </a:lnTo>
                <a:lnTo>
                  <a:pt x="142" y="694"/>
                </a:lnTo>
                <a:lnTo>
                  <a:pt x="160" y="679"/>
                </a:lnTo>
                <a:lnTo>
                  <a:pt x="162" y="667"/>
                </a:lnTo>
                <a:lnTo>
                  <a:pt x="162" y="654"/>
                </a:lnTo>
                <a:lnTo>
                  <a:pt x="163" y="645"/>
                </a:lnTo>
                <a:lnTo>
                  <a:pt x="175" y="641"/>
                </a:lnTo>
                <a:lnTo>
                  <a:pt x="169" y="622"/>
                </a:lnTo>
                <a:lnTo>
                  <a:pt x="155" y="617"/>
                </a:lnTo>
                <a:lnTo>
                  <a:pt x="148" y="614"/>
                </a:lnTo>
                <a:lnTo>
                  <a:pt x="139" y="617"/>
                </a:lnTo>
                <a:lnTo>
                  <a:pt x="118" y="612"/>
                </a:lnTo>
                <a:lnTo>
                  <a:pt x="102" y="593"/>
                </a:lnTo>
                <a:lnTo>
                  <a:pt x="89" y="587"/>
                </a:lnTo>
                <a:lnTo>
                  <a:pt x="83" y="570"/>
                </a:lnTo>
                <a:lnTo>
                  <a:pt x="71" y="568"/>
                </a:lnTo>
                <a:lnTo>
                  <a:pt x="60" y="574"/>
                </a:lnTo>
                <a:lnTo>
                  <a:pt x="53" y="577"/>
                </a:lnTo>
                <a:lnTo>
                  <a:pt x="50" y="569"/>
                </a:lnTo>
                <a:lnTo>
                  <a:pt x="44" y="562"/>
                </a:lnTo>
                <a:lnTo>
                  <a:pt x="60" y="560"/>
                </a:lnTo>
                <a:lnTo>
                  <a:pt x="59" y="555"/>
                </a:lnTo>
                <a:lnTo>
                  <a:pt x="55" y="552"/>
                </a:lnTo>
                <a:lnTo>
                  <a:pt x="50" y="548"/>
                </a:lnTo>
                <a:lnTo>
                  <a:pt x="41" y="528"/>
                </a:lnTo>
                <a:lnTo>
                  <a:pt x="29" y="517"/>
                </a:lnTo>
                <a:lnTo>
                  <a:pt x="17" y="517"/>
                </a:lnTo>
                <a:lnTo>
                  <a:pt x="4" y="517"/>
                </a:lnTo>
                <a:lnTo>
                  <a:pt x="0" y="502"/>
                </a:lnTo>
                <a:lnTo>
                  <a:pt x="8" y="49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77" name="Freeform 674">
            <a:extLst>
              <a:ext uri="{FF2B5EF4-FFF2-40B4-BE49-F238E27FC236}">
                <a16:creationId xmlns:a16="http://schemas.microsoft.com/office/drawing/2014/main" id="{0ED6DCD3-AD1D-7325-E550-53A8F55726EC}"/>
              </a:ext>
            </a:extLst>
          </p:cNvPr>
          <p:cNvSpPr>
            <a:spLocks/>
          </p:cNvSpPr>
          <p:nvPr/>
        </p:nvSpPr>
        <p:spPr bwMode="auto">
          <a:xfrm>
            <a:off x="4781229" y="3755921"/>
            <a:ext cx="78840" cy="35154"/>
          </a:xfrm>
          <a:custGeom>
            <a:avLst/>
            <a:gdLst>
              <a:gd name="T0" fmla="*/ 0 w 69"/>
              <a:gd name="T1" fmla="*/ 37227388 h 31"/>
              <a:gd name="T2" fmla="*/ 0 w 69"/>
              <a:gd name="T3" fmla="*/ 37227388 h 31"/>
              <a:gd name="T4" fmla="*/ 21608912 w 69"/>
              <a:gd name="T5" fmla="*/ 24818262 h 31"/>
              <a:gd name="T6" fmla="*/ 6174684 w 69"/>
              <a:gd name="T7" fmla="*/ 15954786 h 31"/>
              <a:gd name="T8" fmla="*/ 80263432 w 69"/>
              <a:gd name="T9" fmla="*/ 0 h 31"/>
              <a:gd name="T10" fmla="*/ 94155865 w 69"/>
              <a:gd name="T11" fmla="*/ 1772162 h 31"/>
              <a:gd name="T12" fmla="*/ 78720382 w 69"/>
              <a:gd name="T13" fmla="*/ 14182624 h 31"/>
              <a:gd name="T14" fmla="*/ 104960937 w 69"/>
              <a:gd name="T15" fmla="*/ 14182624 h 31"/>
              <a:gd name="T16" fmla="*/ 37044375 w 69"/>
              <a:gd name="T17" fmla="*/ 42546536 h 31"/>
              <a:gd name="T18" fmla="*/ 21608912 w 69"/>
              <a:gd name="T19" fmla="*/ 53183511 h 31"/>
              <a:gd name="T20" fmla="*/ 24696253 w 69"/>
              <a:gd name="T21" fmla="*/ 39000881 h 31"/>
              <a:gd name="T22" fmla="*/ 0 w 69"/>
              <a:gd name="T23" fmla="*/ 37227388 h 31"/>
              <a:gd name="T24" fmla="*/ 0 w 69"/>
              <a:gd name="T25" fmla="*/ 37227388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9"/>
              <a:gd name="T40" fmla="*/ 0 h 31"/>
              <a:gd name="T41" fmla="*/ 69 w 69"/>
              <a:gd name="T42" fmla="*/ 31 h 3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9" h="31">
                <a:moveTo>
                  <a:pt x="0" y="21"/>
                </a:moveTo>
                <a:lnTo>
                  <a:pt x="0" y="21"/>
                </a:lnTo>
                <a:lnTo>
                  <a:pt x="14" y="14"/>
                </a:lnTo>
                <a:lnTo>
                  <a:pt x="4" y="9"/>
                </a:lnTo>
                <a:lnTo>
                  <a:pt x="52" y="0"/>
                </a:lnTo>
                <a:lnTo>
                  <a:pt x="61" y="1"/>
                </a:lnTo>
                <a:lnTo>
                  <a:pt x="51" y="8"/>
                </a:lnTo>
                <a:lnTo>
                  <a:pt x="68" y="8"/>
                </a:lnTo>
                <a:lnTo>
                  <a:pt x="24" y="24"/>
                </a:lnTo>
                <a:lnTo>
                  <a:pt x="14" y="30"/>
                </a:lnTo>
                <a:lnTo>
                  <a:pt x="16" y="22"/>
                </a:lnTo>
                <a:lnTo>
                  <a:pt x="0" y="21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78" name="Freeform 675">
            <a:extLst>
              <a:ext uri="{FF2B5EF4-FFF2-40B4-BE49-F238E27FC236}">
                <a16:creationId xmlns:a16="http://schemas.microsoft.com/office/drawing/2014/main" id="{EE29555A-FC19-50A4-82DD-375B0424EE44}"/>
              </a:ext>
            </a:extLst>
          </p:cNvPr>
          <p:cNvSpPr>
            <a:spLocks/>
          </p:cNvSpPr>
          <p:nvPr/>
        </p:nvSpPr>
        <p:spPr bwMode="auto">
          <a:xfrm>
            <a:off x="4804590" y="4106103"/>
            <a:ext cx="32120" cy="17577"/>
          </a:xfrm>
          <a:custGeom>
            <a:avLst/>
            <a:gdLst>
              <a:gd name="T0" fmla="*/ 0 w 28"/>
              <a:gd name="T1" fmla="*/ 24956500 h 16"/>
              <a:gd name="T2" fmla="*/ 0 w 28"/>
              <a:gd name="T3" fmla="*/ 24956500 h 16"/>
              <a:gd name="T4" fmla="*/ 12447022 w 28"/>
              <a:gd name="T5" fmla="*/ 0 h 16"/>
              <a:gd name="T6" fmla="*/ 42007299 w 28"/>
              <a:gd name="T7" fmla="*/ 13310219 h 16"/>
              <a:gd name="T8" fmla="*/ 0 w 28"/>
              <a:gd name="T9" fmla="*/ 24956500 h 16"/>
              <a:gd name="T10" fmla="*/ 0 w 28"/>
              <a:gd name="T11" fmla="*/ 24956500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8"/>
              <a:gd name="T19" fmla="*/ 0 h 16"/>
              <a:gd name="T20" fmla="*/ 28 w 28"/>
              <a:gd name="T21" fmla="*/ 16 h 1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8" h="16">
                <a:moveTo>
                  <a:pt x="0" y="15"/>
                </a:moveTo>
                <a:lnTo>
                  <a:pt x="0" y="15"/>
                </a:lnTo>
                <a:lnTo>
                  <a:pt x="8" y="0"/>
                </a:lnTo>
                <a:lnTo>
                  <a:pt x="27" y="8"/>
                </a:lnTo>
                <a:lnTo>
                  <a:pt x="0" y="1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79" name="Freeform 676">
            <a:extLst>
              <a:ext uri="{FF2B5EF4-FFF2-40B4-BE49-F238E27FC236}">
                <a16:creationId xmlns:a16="http://schemas.microsoft.com/office/drawing/2014/main" id="{00CCAA9A-3A7A-A39E-5388-49BCB9D67498}"/>
              </a:ext>
            </a:extLst>
          </p:cNvPr>
          <p:cNvSpPr>
            <a:spLocks/>
          </p:cNvSpPr>
          <p:nvPr/>
        </p:nvSpPr>
        <p:spPr bwMode="auto">
          <a:xfrm>
            <a:off x="4855691" y="4004699"/>
            <a:ext cx="97821" cy="67603"/>
          </a:xfrm>
          <a:custGeom>
            <a:avLst/>
            <a:gdLst>
              <a:gd name="T0" fmla="*/ 0 w 84"/>
              <a:gd name="T1" fmla="*/ 47622488 h 63"/>
              <a:gd name="T2" fmla="*/ 0 w 84"/>
              <a:gd name="T3" fmla="*/ 47622488 h 63"/>
              <a:gd name="T4" fmla="*/ 11222458 w 84"/>
              <a:gd name="T5" fmla="*/ 69846223 h 63"/>
              <a:gd name="T6" fmla="*/ 25652236 w 84"/>
              <a:gd name="T7" fmla="*/ 61908725 h 63"/>
              <a:gd name="T8" fmla="*/ 41686311 w 84"/>
              <a:gd name="T9" fmla="*/ 76194962 h 63"/>
              <a:gd name="T10" fmla="*/ 54511791 w 84"/>
              <a:gd name="T11" fmla="*/ 69846223 h 63"/>
              <a:gd name="T12" fmla="*/ 49702711 w 84"/>
              <a:gd name="T13" fmla="*/ 95243717 h 63"/>
              <a:gd name="T14" fmla="*/ 133074048 w 84"/>
              <a:gd name="T15" fmla="*/ 98418716 h 63"/>
              <a:gd name="T16" fmla="*/ 101007183 w 84"/>
              <a:gd name="T17" fmla="*/ 80957460 h 63"/>
              <a:gd name="T18" fmla="*/ 84974383 w 84"/>
              <a:gd name="T19" fmla="*/ 50796228 h 63"/>
              <a:gd name="T20" fmla="*/ 86578676 w 84"/>
              <a:gd name="T21" fmla="*/ 17461241 h 63"/>
              <a:gd name="T22" fmla="*/ 107420556 w 84"/>
              <a:gd name="T23" fmla="*/ 0 h 63"/>
              <a:gd name="T24" fmla="*/ 35272928 w 84"/>
              <a:gd name="T25" fmla="*/ 6350001 h 63"/>
              <a:gd name="T26" fmla="*/ 17635831 w 84"/>
              <a:gd name="T27" fmla="*/ 47622488 h 63"/>
              <a:gd name="T28" fmla="*/ 0 w 84"/>
              <a:gd name="T29" fmla="*/ 47622488 h 63"/>
              <a:gd name="T30" fmla="*/ 0 w 84"/>
              <a:gd name="T31" fmla="*/ 47622488 h 6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4"/>
              <a:gd name="T49" fmla="*/ 0 h 63"/>
              <a:gd name="T50" fmla="*/ 84 w 84"/>
              <a:gd name="T51" fmla="*/ 63 h 6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4" h="63">
                <a:moveTo>
                  <a:pt x="0" y="30"/>
                </a:moveTo>
                <a:lnTo>
                  <a:pt x="0" y="30"/>
                </a:lnTo>
                <a:lnTo>
                  <a:pt x="7" y="44"/>
                </a:lnTo>
                <a:lnTo>
                  <a:pt x="16" y="39"/>
                </a:lnTo>
                <a:lnTo>
                  <a:pt x="26" y="48"/>
                </a:lnTo>
                <a:lnTo>
                  <a:pt x="34" y="44"/>
                </a:lnTo>
                <a:lnTo>
                  <a:pt x="31" y="60"/>
                </a:lnTo>
                <a:lnTo>
                  <a:pt x="83" y="62"/>
                </a:lnTo>
                <a:lnTo>
                  <a:pt x="63" y="51"/>
                </a:lnTo>
                <a:lnTo>
                  <a:pt x="53" y="32"/>
                </a:lnTo>
                <a:lnTo>
                  <a:pt x="54" y="11"/>
                </a:lnTo>
                <a:lnTo>
                  <a:pt x="67" y="0"/>
                </a:lnTo>
                <a:lnTo>
                  <a:pt x="22" y="4"/>
                </a:lnTo>
                <a:lnTo>
                  <a:pt x="11" y="30"/>
                </a:lnTo>
                <a:lnTo>
                  <a:pt x="0" y="3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80" name="Freeform 677">
            <a:extLst>
              <a:ext uri="{FF2B5EF4-FFF2-40B4-BE49-F238E27FC236}">
                <a16:creationId xmlns:a16="http://schemas.microsoft.com/office/drawing/2014/main" id="{AFC1E5B6-3DC0-97A4-39CF-DBEC5A1A58D8}"/>
              </a:ext>
            </a:extLst>
          </p:cNvPr>
          <p:cNvSpPr>
            <a:spLocks/>
          </p:cNvSpPr>
          <p:nvPr/>
        </p:nvSpPr>
        <p:spPr bwMode="auto">
          <a:xfrm>
            <a:off x="4890731" y="3888423"/>
            <a:ext cx="240902" cy="116277"/>
          </a:xfrm>
          <a:custGeom>
            <a:avLst/>
            <a:gdLst>
              <a:gd name="T0" fmla="*/ 0 w 211"/>
              <a:gd name="T1" fmla="*/ 154608593 h 103"/>
              <a:gd name="T2" fmla="*/ 0 w 211"/>
              <a:gd name="T3" fmla="*/ 154608593 h 103"/>
              <a:gd name="T4" fmla="*/ 30821668 w 211"/>
              <a:gd name="T5" fmla="*/ 158122454 h 103"/>
              <a:gd name="T6" fmla="*/ 10787834 w 211"/>
              <a:gd name="T7" fmla="*/ 173934207 h 103"/>
              <a:gd name="T8" fmla="*/ 64725751 w 211"/>
              <a:gd name="T9" fmla="*/ 179205661 h 103"/>
              <a:gd name="T10" fmla="*/ 66267578 w 211"/>
              <a:gd name="T11" fmla="*/ 158122454 h 103"/>
              <a:gd name="T12" fmla="*/ 81678427 w 211"/>
              <a:gd name="T13" fmla="*/ 163392583 h 103"/>
              <a:gd name="T14" fmla="*/ 66267578 w 211"/>
              <a:gd name="T15" fmla="*/ 151094733 h 103"/>
              <a:gd name="T16" fmla="*/ 87842014 w 211"/>
              <a:gd name="T17" fmla="*/ 154608593 h 103"/>
              <a:gd name="T18" fmla="*/ 81678427 w 211"/>
              <a:gd name="T19" fmla="*/ 131767835 h 103"/>
              <a:gd name="T20" fmla="*/ 94006842 w 211"/>
              <a:gd name="T21" fmla="*/ 145823279 h 103"/>
              <a:gd name="T22" fmla="*/ 107877085 w 211"/>
              <a:gd name="T23" fmla="*/ 133525428 h 103"/>
              <a:gd name="T24" fmla="*/ 98629843 w 211"/>
              <a:gd name="T25" fmla="*/ 117713717 h 103"/>
              <a:gd name="T26" fmla="*/ 130993329 w 211"/>
              <a:gd name="T27" fmla="*/ 119469985 h 103"/>
              <a:gd name="T28" fmla="*/ 123287914 w 211"/>
              <a:gd name="T29" fmla="*/ 110685996 h 103"/>
              <a:gd name="T30" fmla="*/ 137156916 w 211"/>
              <a:gd name="T31" fmla="*/ 114199856 h 103"/>
              <a:gd name="T32" fmla="*/ 146404158 w 211"/>
              <a:gd name="T33" fmla="*/ 94872959 h 103"/>
              <a:gd name="T34" fmla="*/ 306677318 w 211"/>
              <a:gd name="T35" fmla="*/ 38652480 h 103"/>
              <a:gd name="T36" fmla="*/ 323629975 w 211"/>
              <a:gd name="T37" fmla="*/ 15811716 h 103"/>
              <a:gd name="T38" fmla="*/ 292807075 w 211"/>
              <a:gd name="T39" fmla="*/ 0 h 103"/>
              <a:gd name="T40" fmla="*/ 225000171 w 211"/>
              <a:gd name="T41" fmla="*/ 36894887 h 103"/>
              <a:gd name="T42" fmla="*/ 154109573 w 211"/>
              <a:gd name="T43" fmla="*/ 36894887 h 103"/>
              <a:gd name="T44" fmla="*/ 80136580 w 211"/>
              <a:gd name="T45" fmla="*/ 84331356 h 103"/>
              <a:gd name="T46" fmla="*/ 40068911 w 211"/>
              <a:gd name="T47" fmla="*/ 91359098 h 103"/>
              <a:gd name="T48" fmla="*/ 41609507 w 211"/>
              <a:gd name="T49" fmla="*/ 110685996 h 103"/>
              <a:gd name="T50" fmla="*/ 63185164 w 211"/>
              <a:gd name="T51" fmla="*/ 114199856 h 103"/>
              <a:gd name="T52" fmla="*/ 38527083 w 211"/>
              <a:gd name="T53" fmla="*/ 114199856 h 103"/>
              <a:gd name="T54" fmla="*/ 49314921 w 211"/>
              <a:gd name="T55" fmla="*/ 122983846 h 103"/>
              <a:gd name="T56" fmla="*/ 30821668 w 211"/>
              <a:gd name="T57" fmla="*/ 133525428 h 103"/>
              <a:gd name="T58" fmla="*/ 52397336 w 211"/>
              <a:gd name="T59" fmla="*/ 142309418 h 103"/>
              <a:gd name="T60" fmla="*/ 0 w 211"/>
              <a:gd name="T61" fmla="*/ 154608593 h 103"/>
              <a:gd name="T62" fmla="*/ 0 w 211"/>
              <a:gd name="T63" fmla="*/ 154608593 h 103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11"/>
              <a:gd name="T97" fmla="*/ 0 h 103"/>
              <a:gd name="T98" fmla="*/ 211 w 211"/>
              <a:gd name="T99" fmla="*/ 103 h 103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11" h="103">
                <a:moveTo>
                  <a:pt x="0" y="88"/>
                </a:moveTo>
                <a:lnTo>
                  <a:pt x="0" y="88"/>
                </a:lnTo>
                <a:lnTo>
                  <a:pt x="20" y="90"/>
                </a:lnTo>
                <a:lnTo>
                  <a:pt x="7" y="99"/>
                </a:lnTo>
                <a:lnTo>
                  <a:pt x="42" y="102"/>
                </a:lnTo>
                <a:lnTo>
                  <a:pt x="43" y="90"/>
                </a:lnTo>
                <a:lnTo>
                  <a:pt x="53" y="93"/>
                </a:lnTo>
                <a:lnTo>
                  <a:pt x="43" y="86"/>
                </a:lnTo>
                <a:lnTo>
                  <a:pt x="57" y="88"/>
                </a:lnTo>
                <a:lnTo>
                  <a:pt x="53" y="75"/>
                </a:lnTo>
                <a:lnTo>
                  <a:pt x="61" y="83"/>
                </a:lnTo>
                <a:lnTo>
                  <a:pt x="70" y="76"/>
                </a:lnTo>
                <a:lnTo>
                  <a:pt x="64" y="67"/>
                </a:lnTo>
                <a:lnTo>
                  <a:pt x="85" y="68"/>
                </a:lnTo>
                <a:lnTo>
                  <a:pt x="80" y="63"/>
                </a:lnTo>
                <a:lnTo>
                  <a:pt x="89" y="65"/>
                </a:lnTo>
                <a:lnTo>
                  <a:pt x="95" y="54"/>
                </a:lnTo>
                <a:lnTo>
                  <a:pt x="199" y="22"/>
                </a:lnTo>
                <a:lnTo>
                  <a:pt x="210" y="9"/>
                </a:lnTo>
                <a:lnTo>
                  <a:pt x="190" y="0"/>
                </a:lnTo>
                <a:lnTo>
                  <a:pt x="146" y="21"/>
                </a:lnTo>
                <a:lnTo>
                  <a:pt x="100" y="21"/>
                </a:lnTo>
                <a:lnTo>
                  <a:pt x="52" y="48"/>
                </a:lnTo>
                <a:lnTo>
                  <a:pt x="26" y="52"/>
                </a:lnTo>
                <a:lnTo>
                  <a:pt x="27" y="63"/>
                </a:lnTo>
                <a:lnTo>
                  <a:pt x="41" y="65"/>
                </a:lnTo>
                <a:lnTo>
                  <a:pt x="25" y="65"/>
                </a:lnTo>
                <a:lnTo>
                  <a:pt x="32" y="70"/>
                </a:lnTo>
                <a:lnTo>
                  <a:pt x="20" y="76"/>
                </a:lnTo>
                <a:lnTo>
                  <a:pt x="34" y="81"/>
                </a:lnTo>
                <a:lnTo>
                  <a:pt x="0" y="8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81" name="Freeform 678">
            <a:extLst>
              <a:ext uri="{FF2B5EF4-FFF2-40B4-BE49-F238E27FC236}">
                <a16:creationId xmlns:a16="http://schemas.microsoft.com/office/drawing/2014/main" id="{3934AB26-1A84-9BAA-2603-2655D5DA0DE8}"/>
              </a:ext>
            </a:extLst>
          </p:cNvPr>
          <p:cNvSpPr>
            <a:spLocks/>
          </p:cNvSpPr>
          <p:nvPr/>
        </p:nvSpPr>
        <p:spPr bwMode="auto">
          <a:xfrm>
            <a:off x="5029432" y="3741049"/>
            <a:ext cx="46720" cy="21633"/>
          </a:xfrm>
          <a:custGeom>
            <a:avLst/>
            <a:gdLst>
              <a:gd name="T0" fmla="*/ 0 w 41"/>
              <a:gd name="T1" fmla="*/ 20480869 h 21"/>
              <a:gd name="T2" fmla="*/ 0 w 41"/>
              <a:gd name="T3" fmla="*/ 20480869 h 21"/>
              <a:gd name="T4" fmla="*/ 18421813 w 41"/>
              <a:gd name="T5" fmla="*/ 29258380 h 21"/>
              <a:gd name="T6" fmla="*/ 61407284 w 41"/>
              <a:gd name="T7" fmla="*/ 19018550 h 21"/>
              <a:gd name="T8" fmla="*/ 35309714 w 41"/>
              <a:gd name="T9" fmla="*/ 0 h 21"/>
              <a:gd name="T10" fmla="*/ 0 w 41"/>
              <a:gd name="T11" fmla="*/ 20480869 h 21"/>
              <a:gd name="T12" fmla="*/ 0 w 41"/>
              <a:gd name="T13" fmla="*/ 20480869 h 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21"/>
              <a:gd name="T23" fmla="*/ 41 w 41"/>
              <a:gd name="T24" fmla="*/ 21 h 2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21">
                <a:moveTo>
                  <a:pt x="0" y="14"/>
                </a:moveTo>
                <a:lnTo>
                  <a:pt x="0" y="14"/>
                </a:lnTo>
                <a:lnTo>
                  <a:pt x="12" y="20"/>
                </a:lnTo>
                <a:lnTo>
                  <a:pt x="40" y="13"/>
                </a:lnTo>
                <a:lnTo>
                  <a:pt x="23" y="0"/>
                </a:lnTo>
                <a:lnTo>
                  <a:pt x="0" y="1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82" name="Freeform 679">
            <a:extLst>
              <a:ext uri="{FF2B5EF4-FFF2-40B4-BE49-F238E27FC236}">
                <a16:creationId xmlns:a16="http://schemas.microsoft.com/office/drawing/2014/main" id="{867CC169-715D-C2DD-34A0-75DDCC9CFDF0}"/>
              </a:ext>
            </a:extLst>
          </p:cNvPr>
          <p:cNvSpPr>
            <a:spLocks/>
          </p:cNvSpPr>
          <p:nvPr/>
        </p:nvSpPr>
        <p:spPr bwMode="auto">
          <a:xfrm>
            <a:off x="5474736" y="3785666"/>
            <a:ext cx="43801" cy="14872"/>
          </a:xfrm>
          <a:custGeom>
            <a:avLst/>
            <a:gdLst>
              <a:gd name="T0" fmla="*/ 0 w 38"/>
              <a:gd name="T1" fmla="*/ 0 h 14"/>
              <a:gd name="T2" fmla="*/ 0 w 38"/>
              <a:gd name="T3" fmla="*/ 0 h 14"/>
              <a:gd name="T4" fmla="*/ 25132214 w 38"/>
              <a:gd name="T5" fmla="*/ 15557395 h 14"/>
              <a:gd name="T6" fmla="*/ 17277847 w 38"/>
              <a:gd name="T7" fmla="*/ 20224737 h 14"/>
              <a:gd name="T8" fmla="*/ 39268060 w 38"/>
              <a:gd name="T9" fmla="*/ 20224737 h 14"/>
              <a:gd name="T10" fmla="*/ 58117536 w 38"/>
              <a:gd name="T11" fmla="*/ 9334686 h 14"/>
              <a:gd name="T12" fmla="*/ 0 w 38"/>
              <a:gd name="T13" fmla="*/ 0 h 14"/>
              <a:gd name="T14" fmla="*/ 0 w 38"/>
              <a:gd name="T15" fmla="*/ 0 h 1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8"/>
              <a:gd name="T25" fmla="*/ 0 h 14"/>
              <a:gd name="T26" fmla="*/ 38 w 38"/>
              <a:gd name="T27" fmla="*/ 14 h 1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8" h="14">
                <a:moveTo>
                  <a:pt x="0" y="0"/>
                </a:moveTo>
                <a:lnTo>
                  <a:pt x="0" y="0"/>
                </a:lnTo>
                <a:lnTo>
                  <a:pt x="16" y="10"/>
                </a:lnTo>
                <a:lnTo>
                  <a:pt x="11" y="13"/>
                </a:lnTo>
                <a:lnTo>
                  <a:pt x="25" y="13"/>
                </a:lnTo>
                <a:lnTo>
                  <a:pt x="37" y="6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83" name="Freeform 680">
            <a:extLst>
              <a:ext uri="{FF2B5EF4-FFF2-40B4-BE49-F238E27FC236}">
                <a16:creationId xmlns:a16="http://schemas.microsoft.com/office/drawing/2014/main" id="{79E7DA41-B9E6-A76A-6D81-4ACA5F00DC29}"/>
              </a:ext>
            </a:extLst>
          </p:cNvPr>
          <p:cNvSpPr>
            <a:spLocks/>
          </p:cNvSpPr>
          <p:nvPr/>
        </p:nvSpPr>
        <p:spPr bwMode="auto">
          <a:xfrm>
            <a:off x="5483497" y="3745104"/>
            <a:ext cx="100740" cy="41913"/>
          </a:xfrm>
          <a:custGeom>
            <a:avLst/>
            <a:gdLst>
              <a:gd name="T0" fmla="*/ 0 w 88"/>
              <a:gd name="T1" fmla="*/ 51992477 h 38"/>
              <a:gd name="T2" fmla="*/ 0 w 88"/>
              <a:gd name="T3" fmla="*/ 51992477 h 38"/>
              <a:gd name="T4" fmla="*/ 35635620 w 88"/>
              <a:gd name="T5" fmla="*/ 16772225 h 38"/>
              <a:gd name="T6" fmla="*/ 86764515 w 88"/>
              <a:gd name="T7" fmla="*/ 0 h 38"/>
              <a:gd name="T8" fmla="*/ 134795229 w 88"/>
              <a:gd name="T9" fmla="*/ 30188970 h 38"/>
              <a:gd name="T10" fmla="*/ 119301972 w 88"/>
              <a:gd name="T11" fmla="*/ 35220247 h 38"/>
              <a:gd name="T12" fmla="*/ 122400126 w 88"/>
              <a:gd name="T13" fmla="*/ 48638292 h 38"/>
              <a:gd name="T14" fmla="*/ 52678585 w 88"/>
              <a:gd name="T15" fmla="*/ 62055032 h 38"/>
              <a:gd name="T16" fmla="*/ 0 w 88"/>
              <a:gd name="T17" fmla="*/ 51992477 h 38"/>
              <a:gd name="T18" fmla="*/ 0 w 88"/>
              <a:gd name="T19" fmla="*/ 51992477 h 3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8"/>
              <a:gd name="T31" fmla="*/ 0 h 38"/>
              <a:gd name="T32" fmla="*/ 88 w 88"/>
              <a:gd name="T33" fmla="*/ 38 h 3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8" h="38">
                <a:moveTo>
                  <a:pt x="0" y="31"/>
                </a:moveTo>
                <a:lnTo>
                  <a:pt x="0" y="31"/>
                </a:lnTo>
                <a:lnTo>
                  <a:pt x="23" y="10"/>
                </a:lnTo>
                <a:lnTo>
                  <a:pt x="56" y="0"/>
                </a:lnTo>
                <a:lnTo>
                  <a:pt x="87" y="18"/>
                </a:lnTo>
                <a:lnTo>
                  <a:pt x="77" y="21"/>
                </a:lnTo>
                <a:lnTo>
                  <a:pt x="79" y="29"/>
                </a:lnTo>
                <a:lnTo>
                  <a:pt x="34" y="37"/>
                </a:lnTo>
                <a:lnTo>
                  <a:pt x="0" y="31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84" name="Freeform 681">
            <a:extLst>
              <a:ext uri="{FF2B5EF4-FFF2-40B4-BE49-F238E27FC236}">
                <a16:creationId xmlns:a16="http://schemas.microsoft.com/office/drawing/2014/main" id="{46B54B0C-826F-7A83-DB9E-A013756213A0}"/>
              </a:ext>
            </a:extLst>
          </p:cNvPr>
          <p:cNvSpPr>
            <a:spLocks/>
          </p:cNvSpPr>
          <p:nvPr/>
        </p:nvSpPr>
        <p:spPr bwMode="auto">
          <a:xfrm>
            <a:off x="5503936" y="3781609"/>
            <a:ext cx="110961" cy="50027"/>
          </a:xfrm>
          <a:custGeom>
            <a:avLst/>
            <a:gdLst>
              <a:gd name="T0" fmla="*/ 0 w 98"/>
              <a:gd name="T1" fmla="*/ 32371164 h 45"/>
              <a:gd name="T2" fmla="*/ 0 w 98"/>
              <a:gd name="T3" fmla="*/ 32371164 h 45"/>
              <a:gd name="T4" fmla="*/ 27281675 w 98"/>
              <a:gd name="T5" fmla="*/ 37482673 h 45"/>
              <a:gd name="T6" fmla="*/ 45470282 w 98"/>
              <a:gd name="T7" fmla="*/ 63040231 h 45"/>
              <a:gd name="T8" fmla="*/ 60626625 w 98"/>
              <a:gd name="T9" fmla="*/ 54520614 h 45"/>
              <a:gd name="T10" fmla="*/ 121253251 w 98"/>
              <a:gd name="T11" fmla="*/ 74966652 h 45"/>
              <a:gd name="T12" fmla="*/ 142472871 w 98"/>
              <a:gd name="T13" fmla="*/ 66447034 h 45"/>
              <a:gd name="T14" fmla="*/ 125799785 w 98"/>
              <a:gd name="T15" fmla="*/ 47705703 h 45"/>
              <a:gd name="T16" fmla="*/ 137925106 w 98"/>
              <a:gd name="T17" fmla="*/ 52817212 h 45"/>
              <a:gd name="T18" fmla="*/ 147019404 w 98"/>
              <a:gd name="T19" fmla="*/ 22149450 h 45"/>
              <a:gd name="T20" fmla="*/ 115189975 w 98"/>
              <a:gd name="T21" fmla="*/ 6814914 h 45"/>
              <a:gd name="T22" fmla="*/ 83361776 w 98"/>
              <a:gd name="T23" fmla="*/ 28964361 h 45"/>
              <a:gd name="T24" fmla="*/ 109127929 w 98"/>
              <a:gd name="T25" fmla="*/ 17037935 h 45"/>
              <a:gd name="T26" fmla="*/ 93971586 w 98"/>
              <a:gd name="T27" fmla="*/ 0 h 45"/>
              <a:gd name="T28" fmla="*/ 42438028 w 98"/>
              <a:gd name="T29" fmla="*/ 6814914 h 45"/>
              <a:gd name="T30" fmla="*/ 0 w 98"/>
              <a:gd name="T31" fmla="*/ 32371164 h 45"/>
              <a:gd name="T32" fmla="*/ 0 w 98"/>
              <a:gd name="T33" fmla="*/ 32371164 h 4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8"/>
              <a:gd name="T52" fmla="*/ 0 h 45"/>
              <a:gd name="T53" fmla="*/ 98 w 98"/>
              <a:gd name="T54" fmla="*/ 45 h 45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8" h="45">
                <a:moveTo>
                  <a:pt x="0" y="19"/>
                </a:moveTo>
                <a:lnTo>
                  <a:pt x="0" y="19"/>
                </a:lnTo>
                <a:lnTo>
                  <a:pt x="18" y="22"/>
                </a:lnTo>
                <a:lnTo>
                  <a:pt x="30" y="37"/>
                </a:lnTo>
                <a:lnTo>
                  <a:pt x="40" y="32"/>
                </a:lnTo>
                <a:lnTo>
                  <a:pt x="80" y="44"/>
                </a:lnTo>
                <a:lnTo>
                  <a:pt x="94" y="39"/>
                </a:lnTo>
                <a:lnTo>
                  <a:pt x="83" y="28"/>
                </a:lnTo>
                <a:lnTo>
                  <a:pt x="91" y="31"/>
                </a:lnTo>
                <a:lnTo>
                  <a:pt x="97" y="13"/>
                </a:lnTo>
                <a:lnTo>
                  <a:pt x="76" y="4"/>
                </a:lnTo>
                <a:lnTo>
                  <a:pt x="55" y="17"/>
                </a:lnTo>
                <a:lnTo>
                  <a:pt x="72" y="10"/>
                </a:lnTo>
                <a:lnTo>
                  <a:pt x="62" y="0"/>
                </a:lnTo>
                <a:lnTo>
                  <a:pt x="28" y="4"/>
                </a:lnTo>
                <a:lnTo>
                  <a:pt x="0" y="1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85" name="Freeform 682">
            <a:extLst>
              <a:ext uri="{FF2B5EF4-FFF2-40B4-BE49-F238E27FC236}">
                <a16:creationId xmlns:a16="http://schemas.microsoft.com/office/drawing/2014/main" id="{D38E5C9C-659A-C404-D244-4823345AE590}"/>
              </a:ext>
            </a:extLst>
          </p:cNvPr>
          <p:cNvSpPr>
            <a:spLocks/>
          </p:cNvSpPr>
          <p:nvPr/>
        </p:nvSpPr>
        <p:spPr bwMode="auto">
          <a:xfrm>
            <a:off x="5609056" y="3807299"/>
            <a:ext cx="93441" cy="50027"/>
          </a:xfrm>
          <a:custGeom>
            <a:avLst/>
            <a:gdLst>
              <a:gd name="T0" fmla="*/ 0 w 82"/>
              <a:gd name="T1" fmla="*/ 61957319 h 46"/>
              <a:gd name="T2" fmla="*/ 0 w 82"/>
              <a:gd name="T3" fmla="*/ 61957319 h 46"/>
              <a:gd name="T4" fmla="*/ 9210906 w 82"/>
              <a:gd name="T5" fmla="*/ 73370170 h 46"/>
              <a:gd name="T6" fmla="*/ 113603665 w 82"/>
              <a:gd name="T7" fmla="*/ 58696140 h 46"/>
              <a:gd name="T8" fmla="*/ 124349719 w 82"/>
              <a:gd name="T9" fmla="*/ 34239839 h 46"/>
              <a:gd name="T10" fmla="*/ 95181857 w 82"/>
              <a:gd name="T11" fmla="*/ 14674035 h 46"/>
              <a:gd name="T12" fmla="*/ 70618188 w 82"/>
              <a:gd name="T13" fmla="*/ 22825711 h 46"/>
              <a:gd name="T14" fmla="*/ 73688489 w 82"/>
              <a:gd name="T15" fmla="*/ 6522361 h 46"/>
              <a:gd name="T16" fmla="*/ 59872134 w 82"/>
              <a:gd name="T17" fmla="*/ 0 h 46"/>
              <a:gd name="T18" fmla="*/ 12281210 w 82"/>
              <a:gd name="T19" fmla="*/ 53804371 h 46"/>
              <a:gd name="T20" fmla="*/ 0 w 82"/>
              <a:gd name="T21" fmla="*/ 61957319 h 46"/>
              <a:gd name="T22" fmla="*/ 0 w 82"/>
              <a:gd name="T23" fmla="*/ 61957319 h 4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2"/>
              <a:gd name="T37" fmla="*/ 0 h 46"/>
              <a:gd name="T38" fmla="*/ 82 w 82"/>
              <a:gd name="T39" fmla="*/ 46 h 4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2" h="46">
                <a:moveTo>
                  <a:pt x="0" y="38"/>
                </a:moveTo>
                <a:lnTo>
                  <a:pt x="0" y="38"/>
                </a:lnTo>
                <a:lnTo>
                  <a:pt x="6" y="45"/>
                </a:lnTo>
                <a:lnTo>
                  <a:pt x="74" y="36"/>
                </a:lnTo>
                <a:lnTo>
                  <a:pt x="81" y="21"/>
                </a:lnTo>
                <a:lnTo>
                  <a:pt x="62" y="9"/>
                </a:lnTo>
                <a:lnTo>
                  <a:pt x="46" y="14"/>
                </a:lnTo>
                <a:lnTo>
                  <a:pt x="48" y="4"/>
                </a:lnTo>
                <a:lnTo>
                  <a:pt x="39" y="0"/>
                </a:lnTo>
                <a:lnTo>
                  <a:pt x="8" y="33"/>
                </a:lnTo>
                <a:lnTo>
                  <a:pt x="0" y="3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86" name="Freeform 683">
            <a:extLst>
              <a:ext uri="{FF2B5EF4-FFF2-40B4-BE49-F238E27FC236}">
                <a16:creationId xmlns:a16="http://schemas.microsoft.com/office/drawing/2014/main" id="{7B883237-366F-F5E2-0E68-4A24C28582C2}"/>
              </a:ext>
            </a:extLst>
          </p:cNvPr>
          <p:cNvSpPr>
            <a:spLocks/>
          </p:cNvSpPr>
          <p:nvPr/>
        </p:nvSpPr>
        <p:spPr bwMode="auto">
          <a:xfrm>
            <a:off x="6190142" y="3911407"/>
            <a:ext cx="105121" cy="48674"/>
          </a:xfrm>
          <a:custGeom>
            <a:avLst/>
            <a:gdLst>
              <a:gd name="T0" fmla="*/ 0 w 92"/>
              <a:gd name="T1" fmla="*/ 40628330 h 43"/>
              <a:gd name="T2" fmla="*/ 0 w 92"/>
              <a:gd name="T3" fmla="*/ 40628330 h 43"/>
              <a:gd name="T4" fmla="*/ 27783597 w 92"/>
              <a:gd name="T5" fmla="*/ 1766334 h 43"/>
              <a:gd name="T6" fmla="*/ 47849462 w 92"/>
              <a:gd name="T7" fmla="*/ 0 h 43"/>
              <a:gd name="T8" fmla="*/ 80263441 w 92"/>
              <a:gd name="T9" fmla="*/ 28262669 h 43"/>
              <a:gd name="T10" fmla="*/ 84895093 w 92"/>
              <a:gd name="T11" fmla="*/ 7065335 h 43"/>
              <a:gd name="T12" fmla="*/ 120396413 w 92"/>
              <a:gd name="T13" fmla="*/ 24730003 h 43"/>
              <a:gd name="T14" fmla="*/ 117309072 w 92"/>
              <a:gd name="T15" fmla="*/ 51226339 h 43"/>
              <a:gd name="T16" fmla="*/ 140462268 w 92"/>
              <a:gd name="T17" fmla="*/ 61824337 h 43"/>
              <a:gd name="T18" fmla="*/ 66372268 w 92"/>
              <a:gd name="T19" fmla="*/ 65358332 h 43"/>
              <a:gd name="T20" fmla="*/ 61741877 w 92"/>
              <a:gd name="T21" fmla="*/ 54759005 h 43"/>
              <a:gd name="T22" fmla="*/ 49393754 w 92"/>
              <a:gd name="T23" fmla="*/ 74189998 h 43"/>
              <a:gd name="T24" fmla="*/ 0 w 92"/>
              <a:gd name="T25" fmla="*/ 40628330 h 43"/>
              <a:gd name="T26" fmla="*/ 0 w 92"/>
              <a:gd name="T27" fmla="*/ 40628330 h 43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92"/>
              <a:gd name="T43" fmla="*/ 0 h 43"/>
              <a:gd name="T44" fmla="*/ 92 w 92"/>
              <a:gd name="T45" fmla="*/ 43 h 43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92" h="43">
                <a:moveTo>
                  <a:pt x="0" y="23"/>
                </a:moveTo>
                <a:lnTo>
                  <a:pt x="0" y="23"/>
                </a:lnTo>
                <a:lnTo>
                  <a:pt x="18" y="1"/>
                </a:lnTo>
                <a:lnTo>
                  <a:pt x="31" y="0"/>
                </a:lnTo>
                <a:lnTo>
                  <a:pt x="52" y="16"/>
                </a:lnTo>
                <a:lnTo>
                  <a:pt x="55" y="4"/>
                </a:lnTo>
                <a:lnTo>
                  <a:pt x="78" y="14"/>
                </a:lnTo>
                <a:lnTo>
                  <a:pt x="76" y="29"/>
                </a:lnTo>
                <a:lnTo>
                  <a:pt x="91" y="35"/>
                </a:lnTo>
                <a:lnTo>
                  <a:pt x="43" y="37"/>
                </a:lnTo>
                <a:lnTo>
                  <a:pt x="40" y="31"/>
                </a:lnTo>
                <a:lnTo>
                  <a:pt x="32" y="42"/>
                </a:lnTo>
                <a:lnTo>
                  <a:pt x="0" y="2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87" name="Freeform 684">
            <a:extLst>
              <a:ext uri="{FF2B5EF4-FFF2-40B4-BE49-F238E27FC236}">
                <a16:creationId xmlns:a16="http://schemas.microsoft.com/office/drawing/2014/main" id="{592EE26A-4674-D13F-EB37-F58D4407D371}"/>
              </a:ext>
            </a:extLst>
          </p:cNvPr>
          <p:cNvSpPr>
            <a:spLocks/>
          </p:cNvSpPr>
          <p:nvPr/>
        </p:nvSpPr>
        <p:spPr bwMode="auto">
          <a:xfrm>
            <a:off x="6263142" y="3912760"/>
            <a:ext cx="64240" cy="35154"/>
          </a:xfrm>
          <a:custGeom>
            <a:avLst/>
            <a:gdLst>
              <a:gd name="T0" fmla="*/ 0 w 57"/>
              <a:gd name="T1" fmla="*/ 0 h 30"/>
              <a:gd name="T2" fmla="*/ 0 w 57"/>
              <a:gd name="T3" fmla="*/ 0 h 30"/>
              <a:gd name="T4" fmla="*/ 28531889 w 57"/>
              <a:gd name="T5" fmla="*/ 20821862 h 30"/>
              <a:gd name="T6" fmla="*/ 21023629 w 57"/>
              <a:gd name="T7" fmla="*/ 39751953 h 30"/>
              <a:gd name="T8" fmla="*/ 34538987 w 57"/>
              <a:gd name="T9" fmla="*/ 54894382 h 30"/>
              <a:gd name="T10" fmla="*/ 60068552 w 57"/>
              <a:gd name="T11" fmla="*/ 54894382 h 30"/>
              <a:gd name="T12" fmla="*/ 84095739 w 57"/>
              <a:gd name="T13" fmla="*/ 34072515 h 30"/>
              <a:gd name="T14" fmla="*/ 0 w 57"/>
              <a:gd name="T15" fmla="*/ 0 h 30"/>
              <a:gd name="T16" fmla="*/ 0 w 57"/>
              <a:gd name="T17" fmla="*/ 0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"/>
              <a:gd name="T28" fmla="*/ 0 h 30"/>
              <a:gd name="T29" fmla="*/ 57 w 57"/>
              <a:gd name="T30" fmla="*/ 30 h 3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" h="30">
                <a:moveTo>
                  <a:pt x="0" y="0"/>
                </a:moveTo>
                <a:lnTo>
                  <a:pt x="0" y="0"/>
                </a:lnTo>
                <a:lnTo>
                  <a:pt x="19" y="11"/>
                </a:lnTo>
                <a:lnTo>
                  <a:pt x="14" y="21"/>
                </a:lnTo>
                <a:lnTo>
                  <a:pt x="23" y="29"/>
                </a:lnTo>
                <a:lnTo>
                  <a:pt x="40" y="29"/>
                </a:lnTo>
                <a:lnTo>
                  <a:pt x="56" y="18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88" name="Freeform 685">
            <a:extLst>
              <a:ext uri="{FF2B5EF4-FFF2-40B4-BE49-F238E27FC236}">
                <a16:creationId xmlns:a16="http://schemas.microsoft.com/office/drawing/2014/main" id="{DF78AB6F-0E9E-CFB6-5B08-4F52BC0282D0}"/>
              </a:ext>
            </a:extLst>
          </p:cNvPr>
          <p:cNvSpPr>
            <a:spLocks/>
          </p:cNvSpPr>
          <p:nvPr/>
        </p:nvSpPr>
        <p:spPr bwMode="auto">
          <a:xfrm>
            <a:off x="6268983" y="4458991"/>
            <a:ext cx="48180" cy="166302"/>
          </a:xfrm>
          <a:custGeom>
            <a:avLst/>
            <a:gdLst>
              <a:gd name="T0" fmla="*/ 0 w 43"/>
              <a:gd name="T1" fmla="*/ 65259437 h 149"/>
              <a:gd name="T2" fmla="*/ 0 w 43"/>
              <a:gd name="T3" fmla="*/ 65259437 h 149"/>
              <a:gd name="T4" fmla="*/ 10389683 w 43"/>
              <a:gd name="T5" fmla="*/ 96172434 h 149"/>
              <a:gd name="T6" fmla="*/ 10389683 w 43"/>
              <a:gd name="T7" fmla="*/ 254170820 h 149"/>
              <a:gd name="T8" fmla="*/ 20779367 w 43"/>
              <a:gd name="T9" fmla="*/ 235278901 h 149"/>
              <a:gd name="T10" fmla="*/ 37107049 w 43"/>
              <a:gd name="T11" fmla="*/ 247301269 h 149"/>
              <a:gd name="T12" fmla="*/ 19295470 w 43"/>
              <a:gd name="T13" fmla="*/ 204365925 h 149"/>
              <a:gd name="T14" fmla="*/ 29685153 w 43"/>
              <a:gd name="T15" fmla="*/ 159715118 h 149"/>
              <a:gd name="T16" fmla="*/ 62339309 w 43"/>
              <a:gd name="T17" fmla="*/ 173454260 h 149"/>
              <a:gd name="T18" fmla="*/ 31169045 w 43"/>
              <a:gd name="T19" fmla="*/ 89302883 h 149"/>
              <a:gd name="T20" fmla="*/ 20779367 w 43"/>
              <a:gd name="T21" fmla="*/ 0 h 149"/>
              <a:gd name="T22" fmla="*/ 0 w 43"/>
              <a:gd name="T23" fmla="*/ 65259437 h 149"/>
              <a:gd name="T24" fmla="*/ 0 w 43"/>
              <a:gd name="T25" fmla="*/ 65259437 h 14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3"/>
              <a:gd name="T40" fmla="*/ 0 h 149"/>
              <a:gd name="T41" fmla="*/ 43 w 43"/>
              <a:gd name="T42" fmla="*/ 149 h 14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3" h="149">
                <a:moveTo>
                  <a:pt x="0" y="38"/>
                </a:moveTo>
                <a:lnTo>
                  <a:pt x="0" y="38"/>
                </a:lnTo>
                <a:lnTo>
                  <a:pt x="7" y="56"/>
                </a:lnTo>
                <a:lnTo>
                  <a:pt x="7" y="148"/>
                </a:lnTo>
                <a:lnTo>
                  <a:pt x="14" y="137"/>
                </a:lnTo>
                <a:lnTo>
                  <a:pt x="25" y="144"/>
                </a:lnTo>
                <a:lnTo>
                  <a:pt x="13" y="119"/>
                </a:lnTo>
                <a:lnTo>
                  <a:pt x="20" y="93"/>
                </a:lnTo>
                <a:lnTo>
                  <a:pt x="42" y="101"/>
                </a:lnTo>
                <a:lnTo>
                  <a:pt x="21" y="52"/>
                </a:lnTo>
                <a:lnTo>
                  <a:pt x="14" y="0"/>
                </a:lnTo>
                <a:lnTo>
                  <a:pt x="0" y="3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89" name="Freeform 686">
            <a:extLst>
              <a:ext uri="{FF2B5EF4-FFF2-40B4-BE49-F238E27FC236}">
                <a16:creationId xmlns:a16="http://schemas.microsoft.com/office/drawing/2014/main" id="{F8ACBEDE-D148-FC3A-D54E-EBB443402B79}"/>
              </a:ext>
            </a:extLst>
          </p:cNvPr>
          <p:cNvSpPr>
            <a:spLocks/>
          </p:cNvSpPr>
          <p:nvPr/>
        </p:nvSpPr>
        <p:spPr bwMode="auto">
          <a:xfrm>
            <a:off x="6340522" y="3933039"/>
            <a:ext cx="73000" cy="24337"/>
          </a:xfrm>
          <a:custGeom>
            <a:avLst/>
            <a:gdLst>
              <a:gd name="T0" fmla="*/ 0 w 64"/>
              <a:gd name="T1" fmla="*/ 0 h 22"/>
              <a:gd name="T2" fmla="*/ 0 w 64"/>
              <a:gd name="T3" fmla="*/ 0 h 22"/>
              <a:gd name="T4" fmla="*/ 16920514 w 64"/>
              <a:gd name="T5" fmla="*/ 23618538 h 22"/>
              <a:gd name="T6" fmla="*/ 61526777 w 64"/>
              <a:gd name="T7" fmla="*/ 35427802 h 22"/>
              <a:gd name="T8" fmla="*/ 96905705 w 64"/>
              <a:gd name="T9" fmla="*/ 28680208 h 22"/>
              <a:gd name="T10" fmla="*/ 0 w 64"/>
              <a:gd name="T11" fmla="*/ 0 h 22"/>
              <a:gd name="T12" fmla="*/ 0 w 64"/>
              <a:gd name="T13" fmla="*/ 0 h 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4"/>
              <a:gd name="T22" fmla="*/ 0 h 22"/>
              <a:gd name="T23" fmla="*/ 64 w 64"/>
              <a:gd name="T24" fmla="*/ 22 h 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4" h="22">
                <a:moveTo>
                  <a:pt x="0" y="0"/>
                </a:moveTo>
                <a:lnTo>
                  <a:pt x="0" y="0"/>
                </a:lnTo>
                <a:lnTo>
                  <a:pt x="11" y="14"/>
                </a:lnTo>
                <a:lnTo>
                  <a:pt x="40" y="21"/>
                </a:lnTo>
                <a:lnTo>
                  <a:pt x="63" y="17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390" name="Group 98">
            <a:extLst>
              <a:ext uri="{FF2B5EF4-FFF2-40B4-BE49-F238E27FC236}">
                <a16:creationId xmlns:a16="http://schemas.microsoft.com/office/drawing/2014/main" id="{F0C12FF1-0495-462A-16D2-B3E6D623D6AE}"/>
              </a:ext>
            </a:extLst>
          </p:cNvPr>
          <p:cNvGrpSpPr>
            <a:grpSpLocks/>
          </p:cNvGrpSpPr>
          <p:nvPr/>
        </p:nvGrpSpPr>
        <p:grpSpPr bwMode="auto">
          <a:xfrm>
            <a:off x="4220584" y="3769458"/>
            <a:ext cx="258423" cy="131150"/>
            <a:chOff x="3227" y="1992"/>
            <a:chExt cx="225" cy="118"/>
          </a:xfrm>
          <a:solidFill>
            <a:schemeClr val="accent2"/>
          </a:solidFill>
        </p:grpSpPr>
        <p:sp>
          <p:nvSpPr>
            <p:cNvPr id="391" name="Freeform 688">
              <a:extLst>
                <a:ext uri="{FF2B5EF4-FFF2-40B4-BE49-F238E27FC236}">
                  <a16:creationId xmlns:a16="http://schemas.microsoft.com/office/drawing/2014/main" id="{582F724E-BA9B-CE0F-2B9C-CA29E9A12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7" y="2006"/>
              <a:ext cx="146" cy="104"/>
            </a:xfrm>
            <a:custGeom>
              <a:avLst/>
              <a:gdLst>
                <a:gd name="T0" fmla="*/ 0 w 146"/>
                <a:gd name="T1" fmla="*/ 13 h 104"/>
                <a:gd name="T2" fmla="*/ 0 w 146"/>
                <a:gd name="T3" fmla="*/ 13 h 104"/>
                <a:gd name="T4" fmla="*/ 1 w 146"/>
                <a:gd name="T5" fmla="*/ 25 h 104"/>
                <a:gd name="T6" fmla="*/ 16 w 146"/>
                <a:gd name="T7" fmla="*/ 25 h 104"/>
                <a:gd name="T8" fmla="*/ 12 w 146"/>
                <a:gd name="T9" fmla="*/ 31 h 104"/>
                <a:gd name="T10" fmla="*/ 22 w 146"/>
                <a:gd name="T11" fmla="*/ 35 h 104"/>
                <a:gd name="T12" fmla="*/ 8 w 146"/>
                <a:gd name="T13" fmla="*/ 34 h 104"/>
                <a:gd name="T14" fmla="*/ 34 w 146"/>
                <a:gd name="T15" fmla="*/ 45 h 104"/>
                <a:gd name="T16" fmla="*/ 23 w 146"/>
                <a:gd name="T17" fmla="*/ 49 h 104"/>
                <a:gd name="T18" fmla="*/ 31 w 146"/>
                <a:gd name="T19" fmla="*/ 57 h 104"/>
                <a:gd name="T20" fmla="*/ 53 w 146"/>
                <a:gd name="T21" fmla="*/ 52 h 104"/>
                <a:gd name="T22" fmla="*/ 53 w 146"/>
                <a:gd name="T23" fmla="*/ 42 h 104"/>
                <a:gd name="T24" fmla="*/ 64 w 146"/>
                <a:gd name="T25" fmla="*/ 38 h 104"/>
                <a:gd name="T26" fmla="*/ 66 w 146"/>
                <a:gd name="T27" fmla="*/ 50 h 104"/>
                <a:gd name="T28" fmla="*/ 80 w 146"/>
                <a:gd name="T29" fmla="*/ 42 h 104"/>
                <a:gd name="T30" fmla="*/ 77 w 146"/>
                <a:gd name="T31" fmla="*/ 50 h 104"/>
                <a:gd name="T32" fmla="*/ 90 w 146"/>
                <a:gd name="T33" fmla="*/ 50 h 104"/>
                <a:gd name="T34" fmla="*/ 40 w 146"/>
                <a:gd name="T35" fmla="*/ 62 h 104"/>
                <a:gd name="T36" fmla="*/ 43 w 146"/>
                <a:gd name="T37" fmla="*/ 71 h 104"/>
                <a:gd name="T38" fmla="*/ 84 w 146"/>
                <a:gd name="T39" fmla="*/ 64 h 104"/>
                <a:gd name="T40" fmla="*/ 55 w 146"/>
                <a:gd name="T41" fmla="*/ 73 h 104"/>
                <a:gd name="T42" fmla="*/ 72 w 146"/>
                <a:gd name="T43" fmla="*/ 78 h 104"/>
                <a:gd name="T44" fmla="*/ 44 w 146"/>
                <a:gd name="T45" fmla="*/ 82 h 104"/>
                <a:gd name="T46" fmla="*/ 86 w 146"/>
                <a:gd name="T47" fmla="*/ 103 h 104"/>
                <a:gd name="T48" fmla="*/ 113 w 146"/>
                <a:gd name="T49" fmla="*/ 50 h 104"/>
                <a:gd name="T50" fmla="*/ 145 w 146"/>
                <a:gd name="T51" fmla="*/ 37 h 104"/>
                <a:gd name="T52" fmla="*/ 109 w 146"/>
                <a:gd name="T53" fmla="*/ 28 h 104"/>
                <a:gd name="T54" fmla="*/ 104 w 146"/>
                <a:gd name="T55" fmla="*/ 15 h 104"/>
                <a:gd name="T56" fmla="*/ 94 w 146"/>
                <a:gd name="T57" fmla="*/ 23 h 104"/>
                <a:gd name="T58" fmla="*/ 99 w 146"/>
                <a:gd name="T59" fmla="*/ 10 h 104"/>
                <a:gd name="T60" fmla="*/ 75 w 146"/>
                <a:gd name="T61" fmla="*/ 0 h 104"/>
                <a:gd name="T62" fmla="*/ 67 w 146"/>
                <a:gd name="T63" fmla="*/ 10 h 104"/>
                <a:gd name="T64" fmla="*/ 78 w 146"/>
                <a:gd name="T65" fmla="*/ 35 h 104"/>
                <a:gd name="T66" fmla="*/ 51 w 146"/>
                <a:gd name="T67" fmla="*/ 10 h 104"/>
                <a:gd name="T68" fmla="*/ 43 w 146"/>
                <a:gd name="T69" fmla="*/ 15 h 104"/>
                <a:gd name="T70" fmla="*/ 48 w 146"/>
                <a:gd name="T71" fmla="*/ 28 h 104"/>
                <a:gd name="T72" fmla="*/ 22 w 146"/>
                <a:gd name="T73" fmla="*/ 16 h 104"/>
                <a:gd name="T74" fmla="*/ 40 w 146"/>
                <a:gd name="T75" fmla="*/ 9 h 104"/>
                <a:gd name="T76" fmla="*/ 0 w 146"/>
                <a:gd name="T77" fmla="*/ 13 h 104"/>
                <a:gd name="T78" fmla="*/ 0 w 146"/>
                <a:gd name="T79" fmla="*/ 13 h 10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46"/>
                <a:gd name="T121" fmla="*/ 0 h 104"/>
                <a:gd name="T122" fmla="*/ 146 w 146"/>
                <a:gd name="T123" fmla="*/ 104 h 10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46" h="104">
                  <a:moveTo>
                    <a:pt x="0" y="13"/>
                  </a:moveTo>
                  <a:lnTo>
                    <a:pt x="0" y="13"/>
                  </a:lnTo>
                  <a:lnTo>
                    <a:pt x="1" y="25"/>
                  </a:lnTo>
                  <a:lnTo>
                    <a:pt x="16" y="25"/>
                  </a:lnTo>
                  <a:lnTo>
                    <a:pt x="12" y="31"/>
                  </a:lnTo>
                  <a:lnTo>
                    <a:pt x="22" y="35"/>
                  </a:lnTo>
                  <a:lnTo>
                    <a:pt x="8" y="34"/>
                  </a:lnTo>
                  <a:lnTo>
                    <a:pt x="34" y="45"/>
                  </a:lnTo>
                  <a:lnTo>
                    <a:pt x="23" y="49"/>
                  </a:lnTo>
                  <a:lnTo>
                    <a:pt x="31" y="57"/>
                  </a:lnTo>
                  <a:lnTo>
                    <a:pt x="53" y="52"/>
                  </a:lnTo>
                  <a:lnTo>
                    <a:pt x="53" y="42"/>
                  </a:lnTo>
                  <a:lnTo>
                    <a:pt x="64" y="38"/>
                  </a:lnTo>
                  <a:lnTo>
                    <a:pt x="66" y="50"/>
                  </a:lnTo>
                  <a:lnTo>
                    <a:pt x="80" y="42"/>
                  </a:lnTo>
                  <a:lnTo>
                    <a:pt x="77" y="50"/>
                  </a:lnTo>
                  <a:lnTo>
                    <a:pt x="90" y="50"/>
                  </a:lnTo>
                  <a:lnTo>
                    <a:pt x="40" y="62"/>
                  </a:lnTo>
                  <a:lnTo>
                    <a:pt x="43" y="71"/>
                  </a:lnTo>
                  <a:lnTo>
                    <a:pt x="84" y="64"/>
                  </a:lnTo>
                  <a:lnTo>
                    <a:pt x="55" y="73"/>
                  </a:lnTo>
                  <a:lnTo>
                    <a:pt x="72" y="78"/>
                  </a:lnTo>
                  <a:lnTo>
                    <a:pt x="44" y="82"/>
                  </a:lnTo>
                  <a:lnTo>
                    <a:pt x="86" y="103"/>
                  </a:lnTo>
                  <a:lnTo>
                    <a:pt x="113" y="50"/>
                  </a:lnTo>
                  <a:lnTo>
                    <a:pt x="145" y="37"/>
                  </a:lnTo>
                  <a:lnTo>
                    <a:pt x="109" y="28"/>
                  </a:lnTo>
                  <a:lnTo>
                    <a:pt x="104" y="15"/>
                  </a:lnTo>
                  <a:lnTo>
                    <a:pt x="94" y="23"/>
                  </a:lnTo>
                  <a:lnTo>
                    <a:pt x="99" y="10"/>
                  </a:lnTo>
                  <a:lnTo>
                    <a:pt x="75" y="0"/>
                  </a:lnTo>
                  <a:lnTo>
                    <a:pt x="67" y="10"/>
                  </a:lnTo>
                  <a:lnTo>
                    <a:pt x="78" y="35"/>
                  </a:lnTo>
                  <a:lnTo>
                    <a:pt x="51" y="10"/>
                  </a:lnTo>
                  <a:lnTo>
                    <a:pt x="43" y="15"/>
                  </a:lnTo>
                  <a:lnTo>
                    <a:pt x="48" y="28"/>
                  </a:lnTo>
                  <a:lnTo>
                    <a:pt x="22" y="16"/>
                  </a:lnTo>
                  <a:lnTo>
                    <a:pt x="40" y="9"/>
                  </a:lnTo>
                  <a:lnTo>
                    <a:pt x="0" y="13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" name="Freeform 689">
              <a:extLst>
                <a:ext uri="{FF2B5EF4-FFF2-40B4-BE49-F238E27FC236}">
                  <a16:creationId xmlns:a16="http://schemas.microsoft.com/office/drawing/2014/main" id="{EC21D29F-59D6-5240-05B0-3B55F3A03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" y="1992"/>
              <a:ext cx="132" cy="44"/>
            </a:xfrm>
            <a:custGeom>
              <a:avLst/>
              <a:gdLst>
                <a:gd name="T0" fmla="*/ 0 w 132"/>
                <a:gd name="T1" fmla="*/ 11 h 44"/>
                <a:gd name="T2" fmla="*/ 0 w 132"/>
                <a:gd name="T3" fmla="*/ 11 h 44"/>
                <a:gd name="T4" fmla="*/ 19 w 132"/>
                <a:gd name="T5" fmla="*/ 15 h 44"/>
                <a:gd name="T6" fmla="*/ 7 w 132"/>
                <a:gd name="T7" fmla="*/ 20 h 44"/>
                <a:gd name="T8" fmla="*/ 12 w 132"/>
                <a:gd name="T9" fmla="*/ 24 h 44"/>
                <a:gd name="T10" fmla="*/ 60 w 132"/>
                <a:gd name="T11" fmla="*/ 23 h 44"/>
                <a:gd name="T12" fmla="*/ 30 w 132"/>
                <a:gd name="T13" fmla="*/ 29 h 44"/>
                <a:gd name="T14" fmla="*/ 78 w 132"/>
                <a:gd name="T15" fmla="*/ 43 h 44"/>
                <a:gd name="T16" fmla="*/ 110 w 132"/>
                <a:gd name="T17" fmla="*/ 35 h 44"/>
                <a:gd name="T18" fmla="*/ 131 w 132"/>
                <a:gd name="T19" fmla="*/ 20 h 44"/>
                <a:gd name="T20" fmla="*/ 125 w 132"/>
                <a:gd name="T21" fmla="*/ 12 h 44"/>
                <a:gd name="T22" fmla="*/ 94 w 132"/>
                <a:gd name="T23" fmla="*/ 13 h 44"/>
                <a:gd name="T24" fmla="*/ 99 w 132"/>
                <a:gd name="T25" fmla="*/ 5 h 44"/>
                <a:gd name="T26" fmla="*/ 74 w 132"/>
                <a:gd name="T27" fmla="*/ 13 h 44"/>
                <a:gd name="T28" fmla="*/ 71 w 132"/>
                <a:gd name="T29" fmla="*/ 0 h 44"/>
                <a:gd name="T30" fmla="*/ 65 w 132"/>
                <a:gd name="T31" fmla="*/ 17 h 44"/>
                <a:gd name="T32" fmla="*/ 30 w 132"/>
                <a:gd name="T33" fmla="*/ 0 h 44"/>
                <a:gd name="T34" fmla="*/ 31 w 132"/>
                <a:gd name="T35" fmla="*/ 10 h 44"/>
                <a:gd name="T36" fmla="*/ 20 w 132"/>
                <a:gd name="T37" fmla="*/ 5 h 44"/>
                <a:gd name="T38" fmla="*/ 25 w 132"/>
                <a:gd name="T39" fmla="*/ 15 h 44"/>
                <a:gd name="T40" fmla="*/ 0 w 132"/>
                <a:gd name="T41" fmla="*/ 11 h 44"/>
                <a:gd name="T42" fmla="*/ 0 w 132"/>
                <a:gd name="T43" fmla="*/ 11 h 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32"/>
                <a:gd name="T67" fmla="*/ 0 h 44"/>
                <a:gd name="T68" fmla="*/ 132 w 132"/>
                <a:gd name="T69" fmla="*/ 44 h 4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32" h="44">
                  <a:moveTo>
                    <a:pt x="0" y="11"/>
                  </a:moveTo>
                  <a:lnTo>
                    <a:pt x="0" y="11"/>
                  </a:lnTo>
                  <a:lnTo>
                    <a:pt x="19" y="15"/>
                  </a:lnTo>
                  <a:lnTo>
                    <a:pt x="7" y="20"/>
                  </a:lnTo>
                  <a:lnTo>
                    <a:pt x="12" y="24"/>
                  </a:lnTo>
                  <a:lnTo>
                    <a:pt x="60" y="23"/>
                  </a:lnTo>
                  <a:lnTo>
                    <a:pt x="30" y="29"/>
                  </a:lnTo>
                  <a:lnTo>
                    <a:pt x="78" y="43"/>
                  </a:lnTo>
                  <a:lnTo>
                    <a:pt x="110" y="35"/>
                  </a:lnTo>
                  <a:lnTo>
                    <a:pt x="131" y="20"/>
                  </a:lnTo>
                  <a:lnTo>
                    <a:pt x="125" y="12"/>
                  </a:lnTo>
                  <a:lnTo>
                    <a:pt x="94" y="13"/>
                  </a:lnTo>
                  <a:lnTo>
                    <a:pt x="99" y="5"/>
                  </a:lnTo>
                  <a:lnTo>
                    <a:pt x="74" y="13"/>
                  </a:lnTo>
                  <a:lnTo>
                    <a:pt x="71" y="0"/>
                  </a:lnTo>
                  <a:lnTo>
                    <a:pt x="65" y="17"/>
                  </a:lnTo>
                  <a:lnTo>
                    <a:pt x="30" y="0"/>
                  </a:lnTo>
                  <a:lnTo>
                    <a:pt x="31" y="10"/>
                  </a:lnTo>
                  <a:lnTo>
                    <a:pt x="20" y="5"/>
                  </a:lnTo>
                  <a:lnTo>
                    <a:pt x="25" y="15"/>
                  </a:lnTo>
                  <a:lnTo>
                    <a:pt x="0" y="11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" name="Freeform 690">
              <a:extLst>
                <a:ext uri="{FF2B5EF4-FFF2-40B4-BE49-F238E27FC236}">
                  <a16:creationId xmlns:a16="http://schemas.microsoft.com/office/drawing/2014/main" id="{4AFB650E-25F3-534F-6DFD-FF580D2213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5" y="2062"/>
              <a:ext cx="57" cy="29"/>
            </a:xfrm>
            <a:custGeom>
              <a:avLst/>
              <a:gdLst>
                <a:gd name="T0" fmla="*/ 0 w 57"/>
                <a:gd name="T1" fmla="*/ 22 h 29"/>
                <a:gd name="T2" fmla="*/ 0 w 57"/>
                <a:gd name="T3" fmla="*/ 22 h 29"/>
                <a:gd name="T4" fmla="*/ 5 w 57"/>
                <a:gd name="T5" fmla="*/ 8 h 29"/>
                <a:gd name="T6" fmla="*/ 28 w 57"/>
                <a:gd name="T7" fmla="*/ 0 h 29"/>
                <a:gd name="T8" fmla="*/ 32 w 57"/>
                <a:gd name="T9" fmla="*/ 8 h 29"/>
                <a:gd name="T10" fmla="*/ 56 w 57"/>
                <a:gd name="T11" fmla="*/ 14 h 29"/>
                <a:gd name="T12" fmla="*/ 22 w 57"/>
                <a:gd name="T13" fmla="*/ 28 h 29"/>
                <a:gd name="T14" fmla="*/ 28 w 57"/>
                <a:gd name="T15" fmla="*/ 21 h 29"/>
                <a:gd name="T16" fmla="*/ 0 w 57"/>
                <a:gd name="T17" fmla="*/ 22 h 29"/>
                <a:gd name="T18" fmla="*/ 0 w 57"/>
                <a:gd name="T19" fmla="*/ 22 h 2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7"/>
                <a:gd name="T31" fmla="*/ 0 h 29"/>
                <a:gd name="T32" fmla="*/ 57 w 57"/>
                <a:gd name="T33" fmla="*/ 29 h 2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7" h="29">
                  <a:moveTo>
                    <a:pt x="0" y="22"/>
                  </a:moveTo>
                  <a:lnTo>
                    <a:pt x="0" y="22"/>
                  </a:lnTo>
                  <a:lnTo>
                    <a:pt x="5" y="8"/>
                  </a:lnTo>
                  <a:lnTo>
                    <a:pt x="28" y="0"/>
                  </a:lnTo>
                  <a:lnTo>
                    <a:pt x="32" y="8"/>
                  </a:lnTo>
                  <a:lnTo>
                    <a:pt x="56" y="14"/>
                  </a:lnTo>
                  <a:lnTo>
                    <a:pt x="22" y="28"/>
                  </a:lnTo>
                  <a:lnTo>
                    <a:pt x="28" y="21"/>
                  </a:lnTo>
                  <a:lnTo>
                    <a:pt x="0" y="22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94" name="Freeform 691">
            <a:extLst>
              <a:ext uri="{FF2B5EF4-FFF2-40B4-BE49-F238E27FC236}">
                <a16:creationId xmlns:a16="http://schemas.microsoft.com/office/drawing/2014/main" id="{E6429D68-7B03-FC29-9F8A-8BBCBABB97C2}"/>
              </a:ext>
            </a:extLst>
          </p:cNvPr>
          <p:cNvSpPr>
            <a:spLocks/>
          </p:cNvSpPr>
          <p:nvPr/>
        </p:nvSpPr>
        <p:spPr bwMode="auto">
          <a:xfrm>
            <a:off x="5579857" y="5052543"/>
            <a:ext cx="125561" cy="233907"/>
          </a:xfrm>
          <a:custGeom>
            <a:avLst/>
            <a:gdLst>
              <a:gd name="T0" fmla="*/ 0 w 109"/>
              <a:gd name="T1" fmla="*/ 56982790 h 209"/>
              <a:gd name="T2" fmla="*/ 0 w 109"/>
              <a:gd name="T3" fmla="*/ 56982790 h 209"/>
              <a:gd name="T4" fmla="*/ 10982123 w 109"/>
              <a:gd name="T5" fmla="*/ 29354730 h 209"/>
              <a:gd name="T6" fmla="*/ 56477515 w 109"/>
              <a:gd name="T7" fmla="*/ 0 h 209"/>
              <a:gd name="T8" fmla="*/ 76872341 w 109"/>
              <a:gd name="T9" fmla="*/ 27628059 h 209"/>
              <a:gd name="T10" fmla="*/ 70597203 w 109"/>
              <a:gd name="T11" fmla="*/ 75977484 h 209"/>
              <a:gd name="T12" fmla="*/ 125505307 w 109"/>
              <a:gd name="T13" fmla="*/ 55256119 h 209"/>
              <a:gd name="T14" fmla="*/ 149037702 w 109"/>
              <a:gd name="T15" fmla="*/ 75977484 h 209"/>
              <a:gd name="T16" fmla="*/ 169431313 w 109"/>
              <a:gd name="T17" fmla="*/ 124325605 h 209"/>
              <a:gd name="T18" fmla="*/ 161587978 w 109"/>
              <a:gd name="T19" fmla="*/ 153680325 h 209"/>
              <a:gd name="T20" fmla="*/ 120798327 w 109"/>
              <a:gd name="T21" fmla="*/ 151953654 h 209"/>
              <a:gd name="T22" fmla="*/ 105110482 w 109"/>
              <a:gd name="T23" fmla="*/ 165768336 h 209"/>
              <a:gd name="T24" fmla="*/ 112955031 w 109"/>
              <a:gd name="T25" fmla="*/ 215843148 h 209"/>
              <a:gd name="T26" fmla="*/ 58045674 w 109"/>
              <a:gd name="T27" fmla="*/ 172675061 h 209"/>
              <a:gd name="T28" fmla="*/ 34514522 w 109"/>
              <a:gd name="T29" fmla="*/ 250377881 h 209"/>
              <a:gd name="T30" fmla="*/ 61183243 w 109"/>
              <a:gd name="T31" fmla="*/ 319448661 h 209"/>
              <a:gd name="T32" fmla="*/ 98835344 w 109"/>
              <a:gd name="T33" fmla="*/ 345348807 h 209"/>
              <a:gd name="T34" fmla="*/ 78440499 w 109"/>
              <a:gd name="T35" fmla="*/ 359163489 h 209"/>
              <a:gd name="T36" fmla="*/ 73734772 w 109"/>
              <a:gd name="T37" fmla="*/ 336715370 h 209"/>
              <a:gd name="T38" fmla="*/ 58045674 w 109"/>
              <a:gd name="T39" fmla="*/ 336715370 h 209"/>
              <a:gd name="T40" fmla="*/ 15687850 w 109"/>
              <a:gd name="T41" fmla="*/ 298727295 h 209"/>
              <a:gd name="T42" fmla="*/ 23532404 w 109"/>
              <a:gd name="T43" fmla="*/ 252104552 h 209"/>
              <a:gd name="T44" fmla="*/ 45495397 w 109"/>
              <a:gd name="T45" fmla="*/ 210663135 h 209"/>
              <a:gd name="T46" fmla="*/ 15687850 w 109"/>
              <a:gd name="T47" fmla="*/ 141593628 h 209"/>
              <a:gd name="T48" fmla="*/ 25100562 w 109"/>
              <a:gd name="T49" fmla="*/ 110512237 h 209"/>
              <a:gd name="T50" fmla="*/ 0 w 109"/>
              <a:gd name="T51" fmla="*/ 56982790 h 209"/>
              <a:gd name="T52" fmla="*/ 0 w 109"/>
              <a:gd name="T53" fmla="*/ 56982790 h 209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09"/>
              <a:gd name="T82" fmla="*/ 0 h 209"/>
              <a:gd name="T83" fmla="*/ 109 w 109"/>
              <a:gd name="T84" fmla="*/ 209 h 209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09" h="209">
                <a:moveTo>
                  <a:pt x="0" y="33"/>
                </a:moveTo>
                <a:lnTo>
                  <a:pt x="0" y="33"/>
                </a:lnTo>
                <a:lnTo>
                  <a:pt x="7" y="17"/>
                </a:lnTo>
                <a:lnTo>
                  <a:pt x="36" y="0"/>
                </a:lnTo>
                <a:lnTo>
                  <a:pt x="49" y="16"/>
                </a:lnTo>
                <a:lnTo>
                  <a:pt x="45" y="44"/>
                </a:lnTo>
                <a:lnTo>
                  <a:pt x="80" y="32"/>
                </a:lnTo>
                <a:lnTo>
                  <a:pt x="95" y="44"/>
                </a:lnTo>
                <a:lnTo>
                  <a:pt x="108" y="72"/>
                </a:lnTo>
                <a:lnTo>
                  <a:pt x="103" y="89"/>
                </a:lnTo>
                <a:lnTo>
                  <a:pt x="77" y="88"/>
                </a:lnTo>
                <a:lnTo>
                  <a:pt x="67" y="96"/>
                </a:lnTo>
                <a:lnTo>
                  <a:pt x="72" y="125"/>
                </a:lnTo>
                <a:lnTo>
                  <a:pt x="37" y="100"/>
                </a:lnTo>
                <a:lnTo>
                  <a:pt x="22" y="145"/>
                </a:lnTo>
                <a:lnTo>
                  <a:pt x="39" y="185"/>
                </a:lnTo>
                <a:lnTo>
                  <a:pt x="63" y="200"/>
                </a:lnTo>
                <a:lnTo>
                  <a:pt x="50" y="208"/>
                </a:lnTo>
                <a:lnTo>
                  <a:pt x="47" y="195"/>
                </a:lnTo>
                <a:lnTo>
                  <a:pt x="37" y="195"/>
                </a:lnTo>
                <a:lnTo>
                  <a:pt x="10" y="173"/>
                </a:lnTo>
                <a:lnTo>
                  <a:pt x="15" y="146"/>
                </a:lnTo>
                <a:lnTo>
                  <a:pt x="29" y="122"/>
                </a:lnTo>
                <a:lnTo>
                  <a:pt x="10" y="82"/>
                </a:lnTo>
                <a:lnTo>
                  <a:pt x="16" y="64"/>
                </a:lnTo>
                <a:lnTo>
                  <a:pt x="0" y="3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95" name="Freeform 692">
            <a:extLst>
              <a:ext uri="{FF2B5EF4-FFF2-40B4-BE49-F238E27FC236}">
                <a16:creationId xmlns:a16="http://schemas.microsoft.com/office/drawing/2014/main" id="{CE787DFE-3EE1-4046-CBB6-CAA27D29BE00}"/>
              </a:ext>
            </a:extLst>
          </p:cNvPr>
          <p:cNvSpPr>
            <a:spLocks/>
          </p:cNvSpPr>
          <p:nvPr/>
        </p:nvSpPr>
        <p:spPr bwMode="auto">
          <a:xfrm>
            <a:off x="4462947" y="4694249"/>
            <a:ext cx="290543" cy="109515"/>
          </a:xfrm>
          <a:custGeom>
            <a:avLst/>
            <a:gdLst>
              <a:gd name="T0" fmla="*/ 0 w 252"/>
              <a:gd name="T1" fmla="*/ 55671680 h 99"/>
              <a:gd name="T2" fmla="*/ 0 w 252"/>
              <a:gd name="T3" fmla="*/ 55671680 h 99"/>
              <a:gd name="T4" fmla="*/ 17287462 w 252"/>
              <a:gd name="T5" fmla="*/ 97848223 h 99"/>
              <a:gd name="T6" fmla="*/ 1572043 w 252"/>
              <a:gd name="T7" fmla="*/ 102908575 h 99"/>
              <a:gd name="T8" fmla="*/ 17287462 w 252"/>
              <a:gd name="T9" fmla="*/ 109657442 h 99"/>
              <a:gd name="T10" fmla="*/ 23573131 w 252"/>
              <a:gd name="T11" fmla="*/ 136650313 h 99"/>
              <a:gd name="T12" fmla="*/ 45575473 w 252"/>
              <a:gd name="T13" fmla="*/ 133275879 h 99"/>
              <a:gd name="T14" fmla="*/ 23573131 w 252"/>
              <a:gd name="T15" fmla="*/ 145085098 h 99"/>
              <a:gd name="T16" fmla="*/ 48718305 w 252"/>
              <a:gd name="T17" fmla="*/ 140023447 h 99"/>
              <a:gd name="T18" fmla="*/ 75435513 w 252"/>
              <a:gd name="T19" fmla="*/ 156894316 h 99"/>
              <a:gd name="T20" fmla="*/ 100580697 w 252"/>
              <a:gd name="T21" fmla="*/ 138336230 h 99"/>
              <a:gd name="T22" fmla="*/ 139869232 w 252"/>
              <a:gd name="T23" fmla="*/ 161954668 h 99"/>
              <a:gd name="T24" fmla="*/ 207447058 w 252"/>
              <a:gd name="T25" fmla="*/ 138336230 h 99"/>
              <a:gd name="T26" fmla="*/ 205876268 w 252"/>
              <a:gd name="T27" fmla="*/ 165329101 h 99"/>
              <a:gd name="T28" fmla="*/ 218448850 w 252"/>
              <a:gd name="T29" fmla="*/ 138336230 h 99"/>
              <a:gd name="T30" fmla="*/ 347317583 w 252"/>
              <a:gd name="T31" fmla="*/ 133275879 h 99"/>
              <a:gd name="T32" fmla="*/ 394463826 w 252"/>
              <a:gd name="T33" fmla="*/ 129901445 h 99"/>
              <a:gd name="T34" fmla="*/ 380320454 w 252"/>
              <a:gd name="T35" fmla="*/ 72542549 h 99"/>
              <a:gd name="T36" fmla="*/ 391320994 w 252"/>
              <a:gd name="T37" fmla="*/ 60733330 h 99"/>
              <a:gd name="T38" fmla="*/ 350460415 w 252"/>
              <a:gd name="T39" fmla="*/ 11809224 h 99"/>
              <a:gd name="T40" fmla="*/ 323743129 w 252"/>
              <a:gd name="T41" fmla="*/ 11809224 h 99"/>
              <a:gd name="T42" fmla="*/ 253022511 w 252"/>
              <a:gd name="T43" fmla="*/ 32053232 h 99"/>
              <a:gd name="T44" fmla="*/ 190159600 w 252"/>
              <a:gd name="T45" fmla="*/ 0 h 99"/>
              <a:gd name="T46" fmla="*/ 150871025 w 252"/>
              <a:gd name="T47" fmla="*/ 1687217 h 99"/>
              <a:gd name="T48" fmla="*/ 102152740 w 252"/>
              <a:gd name="T49" fmla="*/ 30366016 h 99"/>
              <a:gd name="T50" fmla="*/ 61290888 w 252"/>
              <a:gd name="T51" fmla="*/ 21931231 h 99"/>
              <a:gd name="T52" fmla="*/ 73863470 w 252"/>
              <a:gd name="T53" fmla="*/ 37114883 h 99"/>
              <a:gd name="T54" fmla="*/ 0 w 252"/>
              <a:gd name="T55" fmla="*/ 55671680 h 99"/>
              <a:gd name="T56" fmla="*/ 0 w 252"/>
              <a:gd name="T57" fmla="*/ 55671680 h 9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52"/>
              <a:gd name="T88" fmla="*/ 0 h 99"/>
              <a:gd name="T89" fmla="*/ 252 w 252"/>
              <a:gd name="T90" fmla="*/ 99 h 9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52" h="99">
                <a:moveTo>
                  <a:pt x="0" y="33"/>
                </a:moveTo>
                <a:lnTo>
                  <a:pt x="0" y="33"/>
                </a:lnTo>
                <a:lnTo>
                  <a:pt x="11" y="58"/>
                </a:lnTo>
                <a:lnTo>
                  <a:pt x="1" y="61"/>
                </a:lnTo>
                <a:lnTo>
                  <a:pt x="11" y="65"/>
                </a:lnTo>
                <a:lnTo>
                  <a:pt x="15" y="81"/>
                </a:lnTo>
                <a:lnTo>
                  <a:pt x="29" y="79"/>
                </a:lnTo>
                <a:lnTo>
                  <a:pt x="15" y="86"/>
                </a:lnTo>
                <a:lnTo>
                  <a:pt x="31" y="83"/>
                </a:lnTo>
                <a:lnTo>
                  <a:pt x="48" y="93"/>
                </a:lnTo>
                <a:lnTo>
                  <a:pt x="64" y="82"/>
                </a:lnTo>
                <a:lnTo>
                  <a:pt x="89" y="96"/>
                </a:lnTo>
                <a:lnTo>
                  <a:pt x="132" y="82"/>
                </a:lnTo>
                <a:lnTo>
                  <a:pt x="131" y="98"/>
                </a:lnTo>
                <a:lnTo>
                  <a:pt x="139" y="82"/>
                </a:lnTo>
                <a:lnTo>
                  <a:pt x="221" y="79"/>
                </a:lnTo>
                <a:lnTo>
                  <a:pt x="251" y="77"/>
                </a:lnTo>
                <a:lnTo>
                  <a:pt x="242" y="43"/>
                </a:lnTo>
                <a:lnTo>
                  <a:pt x="249" y="36"/>
                </a:lnTo>
                <a:lnTo>
                  <a:pt x="223" y="7"/>
                </a:lnTo>
                <a:lnTo>
                  <a:pt x="206" y="7"/>
                </a:lnTo>
                <a:lnTo>
                  <a:pt x="161" y="19"/>
                </a:lnTo>
                <a:lnTo>
                  <a:pt x="121" y="0"/>
                </a:lnTo>
                <a:lnTo>
                  <a:pt x="96" y="1"/>
                </a:lnTo>
                <a:lnTo>
                  <a:pt x="65" y="18"/>
                </a:lnTo>
                <a:lnTo>
                  <a:pt x="39" y="13"/>
                </a:lnTo>
                <a:lnTo>
                  <a:pt x="47" y="22"/>
                </a:lnTo>
                <a:lnTo>
                  <a:pt x="0" y="3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96" name="Freeform 693">
            <a:extLst>
              <a:ext uri="{FF2B5EF4-FFF2-40B4-BE49-F238E27FC236}">
                <a16:creationId xmlns:a16="http://schemas.microsoft.com/office/drawing/2014/main" id="{55DB1638-DAB2-DBA5-B6F2-E08F02F2A2E8}"/>
              </a:ext>
            </a:extLst>
          </p:cNvPr>
          <p:cNvSpPr>
            <a:spLocks/>
          </p:cNvSpPr>
          <p:nvPr/>
        </p:nvSpPr>
        <p:spPr bwMode="auto">
          <a:xfrm>
            <a:off x="1423202" y="4054726"/>
            <a:ext cx="465745" cy="393448"/>
          </a:xfrm>
          <a:custGeom>
            <a:avLst/>
            <a:gdLst>
              <a:gd name="T0" fmla="*/ 0 w 408"/>
              <a:gd name="T1" fmla="*/ 228607924 h 355"/>
              <a:gd name="T2" fmla="*/ 24649159 w 408"/>
              <a:gd name="T3" fmla="*/ 243848794 h 355"/>
              <a:gd name="T4" fmla="*/ 103220134 w 408"/>
              <a:gd name="T5" fmla="*/ 264168652 h 355"/>
              <a:gd name="T6" fmla="*/ 152519673 w 408"/>
              <a:gd name="T7" fmla="*/ 260782660 h 355"/>
              <a:gd name="T8" fmla="*/ 146357076 w 408"/>
              <a:gd name="T9" fmla="*/ 304810972 h 355"/>
              <a:gd name="T10" fmla="*/ 38514693 w 408"/>
              <a:gd name="T11" fmla="*/ 379319803 h 355"/>
              <a:gd name="T12" fmla="*/ 43136961 w 408"/>
              <a:gd name="T13" fmla="*/ 382707097 h 355"/>
              <a:gd name="T14" fmla="*/ 90894939 w 408"/>
              <a:gd name="T15" fmla="*/ 401333959 h 355"/>
              <a:gd name="T16" fmla="*/ 87814261 w 408"/>
              <a:gd name="T17" fmla="*/ 440281982 h 355"/>
              <a:gd name="T18" fmla="*/ 137113800 w 408"/>
              <a:gd name="T19" fmla="*/ 401333959 h 355"/>
              <a:gd name="T20" fmla="*/ 134031881 w 408"/>
              <a:gd name="T21" fmla="*/ 460603141 h 355"/>
              <a:gd name="T22" fmla="*/ 164843666 w 408"/>
              <a:gd name="T23" fmla="*/ 453829855 h 355"/>
              <a:gd name="T24" fmla="*/ 198737332 w 408"/>
              <a:gd name="T25" fmla="*/ 465683431 h 355"/>
              <a:gd name="T26" fmla="*/ 237252015 w 408"/>
              <a:gd name="T27" fmla="*/ 462296138 h 355"/>
              <a:gd name="T28" fmla="*/ 164843666 w 408"/>
              <a:gd name="T29" fmla="*/ 552045758 h 355"/>
              <a:gd name="T30" fmla="*/ 124788605 w 408"/>
              <a:gd name="T31" fmla="*/ 568979624 h 355"/>
              <a:gd name="T32" fmla="*/ 134031881 w 408"/>
              <a:gd name="T33" fmla="*/ 577447208 h 355"/>
              <a:gd name="T34" fmla="*/ 197196993 w 408"/>
              <a:gd name="T35" fmla="*/ 558819044 h 355"/>
              <a:gd name="T36" fmla="*/ 212602866 w 408"/>
              <a:gd name="T37" fmla="*/ 546965468 h 355"/>
              <a:gd name="T38" fmla="*/ 306578444 w 408"/>
              <a:gd name="T39" fmla="*/ 469069424 h 355"/>
              <a:gd name="T40" fmla="*/ 360500319 w 408"/>
              <a:gd name="T41" fmla="*/ 384400093 h 355"/>
              <a:gd name="T42" fmla="*/ 363580997 w 408"/>
              <a:gd name="T43" fmla="*/ 384400093 h 355"/>
              <a:gd name="T44" fmla="*/ 375906192 w 408"/>
              <a:gd name="T45" fmla="*/ 392867677 h 355"/>
              <a:gd name="T46" fmla="*/ 348175124 w 408"/>
              <a:gd name="T47" fmla="*/ 404721253 h 355"/>
              <a:gd name="T48" fmla="*/ 357418400 w 408"/>
              <a:gd name="T49" fmla="*/ 436895989 h 355"/>
              <a:gd name="T50" fmla="*/ 406717939 w 408"/>
              <a:gd name="T51" fmla="*/ 430121402 h 355"/>
              <a:gd name="T52" fmla="*/ 406717939 w 408"/>
              <a:gd name="T53" fmla="*/ 403026956 h 355"/>
              <a:gd name="T54" fmla="*/ 419043134 w 408"/>
              <a:gd name="T55" fmla="*/ 399640963 h 355"/>
              <a:gd name="T56" fmla="*/ 445232622 w 408"/>
              <a:gd name="T57" fmla="*/ 406414249 h 355"/>
              <a:gd name="T58" fmla="*/ 582346383 w 408"/>
              <a:gd name="T59" fmla="*/ 440281982 h 355"/>
              <a:gd name="T60" fmla="*/ 606995532 w 408"/>
              <a:gd name="T61" fmla="*/ 433508695 h 355"/>
              <a:gd name="T62" fmla="*/ 616238808 w 408"/>
              <a:gd name="T63" fmla="*/ 460603141 h 355"/>
              <a:gd name="T64" fmla="*/ 606995532 w 408"/>
              <a:gd name="T65" fmla="*/ 421655119 h 355"/>
              <a:gd name="T66" fmla="*/ 566940510 w 408"/>
              <a:gd name="T67" fmla="*/ 67735485 h 355"/>
              <a:gd name="T68" fmla="*/ 332769251 w 408"/>
              <a:gd name="T69" fmla="*/ 22014166 h 355"/>
              <a:gd name="T70" fmla="*/ 264983083 w 408"/>
              <a:gd name="T71" fmla="*/ 25401460 h 355"/>
              <a:gd name="T72" fmla="*/ 263442744 w 408"/>
              <a:gd name="T73" fmla="*/ 8467586 h 355"/>
              <a:gd name="T74" fmla="*/ 212602866 w 408"/>
              <a:gd name="T75" fmla="*/ 22014166 h 355"/>
              <a:gd name="T76" fmla="*/ 171006263 w 408"/>
              <a:gd name="T77" fmla="*/ 45721329 h 355"/>
              <a:gd name="T78" fmla="*/ 127869283 w 408"/>
              <a:gd name="T79" fmla="*/ 44028332 h 355"/>
              <a:gd name="T80" fmla="*/ 117085668 w 408"/>
              <a:gd name="T81" fmla="*/ 55881908 h 355"/>
              <a:gd name="T82" fmla="*/ 38514693 w 408"/>
              <a:gd name="T83" fmla="*/ 103297535 h 355"/>
              <a:gd name="T84" fmla="*/ 24649159 w 408"/>
              <a:gd name="T85" fmla="*/ 121924397 h 355"/>
              <a:gd name="T86" fmla="*/ 180249539 w 408"/>
              <a:gd name="T87" fmla="*/ 194740192 h 355"/>
              <a:gd name="T88" fmla="*/ 127869283 w 408"/>
              <a:gd name="T89" fmla="*/ 203206474 h 355"/>
              <a:gd name="T90" fmla="*/ 130951202 w 408"/>
              <a:gd name="T91" fmla="*/ 213367054 h 355"/>
              <a:gd name="T92" fmla="*/ 90894939 w 408"/>
              <a:gd name="T93" fmla="*/ 189659902 h 355"/>
              <a:gd name="T94" fmla="*/ 0 w 408"/>
              <a:gd name="T95" fmla="*/ 228607924 h 355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408"/>
              <a:gd name="T145" fmla="*/ 0 h 355"/>
              <a:gd name="T146" fmla="*/ 408 w 408"/>
              <a:gd name="T147" fmla="*/ 355 h 355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408" h="355">
                <a:moveTo>
                  <a:pt x="0" y="135"/>
                </a:moveTo>
                <a:lnTo>
                  <a:pt x="0" y="135"/>
                </a:lnTo>
                <a:lnTo>
                  <a:pt x="26" y="142"/>
                </a:lnTo>
                <a:lnTo>
                  <a:pt x="16" y="144"/>
                </a:lnTo>
                <a:lnTo>
                  <a:pt x="27" y="157"/>
                </a:lnTo>
                <a:lnTo>
                  <a:pt x="67" y="156"/>
                </a:lnTo>
                <a:lnTo>
                  <a:pt x="73" y="165"/>
                </a:lnTo>
                <a:lnTo>
                  <a:pt x="99" y="154"/>
                </a:lnTo>
                <a:lnTo>
                  <a:pt x="90" y="159"/>
                </a:lnTo>
                <a:lnTo>
                  <a:pt x="95" y="180"/>
                </a:lnTo>
                <a:lnTo>
                  <a:pt x="40" y="201"/>
                </a:lnTo>
                <a:lnTo>
                  <a:pt x="25" y="224"/>
                </a:lnTo>
                <a:lnTo>
                  <a:pt x="38" y="220"/>
                </a:lnTo>
                <a:lnTo>
                  <a:pt x="28" y="226"/>
                </a:lnTo>
                <a:lnTo>
                  <a:pt x="38" y="234"/>
                </a:lnTo>
                <a:lnTo>
                  <a:pt x="59" y="237"/>
                </a:lnTo>
                <a:lnTo>
                  <a:pt x="47" y="249"/>
                </a:lnTo>
                <a:lnTo>
                  <a:pt x="57" y="260"/>
                </a:lnTo>
                <a:lnTo>
                  <a:pt x="67" y="261"/>
                </a:lnTo>
                <a:lnTo>
                  <a:pt x="89" y="237"/>
                </a:lnTo>
                <a:lnTo>
                  <a:pt x="76" y="249"/>
                </a:lnTo>
                <a:lnTo>
                  <a:pt x="87" y="272"/>
                </a:lnTo>
                <a:lnTo>
                  <a:pt x="81" y="282"/>
                </a:lnTo>
                <a:lnTo>
                  <a:pt x="107" y="268"/>
                </a:lnTo>
                <a:lnTo>
                  <a:pt x="124" y="285"/>
                </a:lnTo>
                <a:lnTo>
                  <a:pt x="129" y="275"/>
                </a:lnTo>
                <a:lnTo>
                  <a:pt x="135" y="282"/>
                </a:lnTo>
                <a:lnTo>
                  <a:pt x="154" y="273"/>
                </a:lnTo>
                <a:lnTo>
                  <a:pt x="127" y="317"/>
                </a:lnTo>
                <a:lnTo>
                  <a:pt x="107" y="326"/>
                </a:lnTo>
                <a:lnTo>
                  <a:pt x="107" y="335"/>
                </a:lnTo>
                <a:lnTo>
                  <a:pt x="81" y="336"/>
                </a:lnTo>
                <a:lnTo>
                  <a:pt x="63" y="354"/>
                </a:lnTo>
                <a:lnTo>
                  <a:pt x="87" y="341"/>
                </a:lnTo>
                <a:lnTo>
                  <a:pt x="113" y="341"/>
                </a:lnTo>
                <a:lnTo>
                  <a:pt x="128" y="330"/>
                </a:lnTo>
                <a:lnTo>
                  <a:pt x="121" y="321"/>
                </a:lnTo>
                <a:lnTo>
                  <a:pt x="138" y="323"/>
                </a:lnTo>
                <a:lnTo>
                  <a:pt x="189" y="290"/>
                </a:lnTo>
                <a:lnTo>
                  <a:pt x="199" y="277"/>
                </a:lnTo>
                <a:lnTo>
                  <a:pt x="190" y="268"/>
                </a:lnTo>
                <a:lnTo>
                  <a:pt x="234" y="227"/>
                </a:lnTo>
                <a:lnTo>
                  <a:pt x="241" y="207"/>
                </a:lnTo>
                <a:lnTo>
                  <a:pt x="236" y="227"/>
                </a:lnTo>
                <a:lnTo>
                  <a:pt x="254" y="223"/>
                </a:lnTo>
                <a:lnTo>
                  <a:pt x="244" y="232"/>
                </a:lnTo>
                <a:lnTo>
                  <a:pt x="259" y="236"/>
                </a:lnTo>
                <a:lnTo>
                  <a:pt x="226" y="239"/>
                </a:lnTo>
                <a:lnTo>
                  <a:pt x="220" y="258"/>
                </a:lnTo>
                <a:lnTo>
                  <a:pt x="232" y="258"/>
                </a:lnTo>
                <a:lnTo>
                  <a:pt x="221" y="271"/>
                </a:lnTo>
                <a:lnTo>
                  <a:pt x="264" y="254"/>
                </a:lnTo>
                <a:lnTo>
                  <a:pt x="270" y="243"/>
                </a:lnTo>
                <a:lnTo>
                  <a:pt x="264" y="238"/>
                </a:lnTo>
                <a:lnTo>
                  <a:pt x="274" y="228"/>
                </a:lnTo>
                <a:lnTo>
                  <a:pt x="272" y="236"/>
                </a:lnTo>
                <a:lnTo>
                  <a:pt x="294" y="231"/>
                </a:lnTo>
                <a:lnTo>
                  <a:pt x="289" y="240"/>
                </a:lnTo>
                <a:lnTo>
                  <a:pt x="325" y="254"/>
                </a:lnTo>
                <a:lnTo>
                  <a:pt x="378" y="260"/>
                </a:lnTo>
                <a:lnTo>
                  <a:pt x="387" y="252"/>
                </a:lnTo>
                <a:lnTo>
                  <a:pt x="394" y="256"/>
                </a:lnTo>
                <a:lnTo>
                  <a:pt x="385" y="264"/>
                </a:lnTo>
                <a:lnTo>
                  <a:pt x="400" y="272"/>
                </a:lnTo>
                <a:lnTo>
                  <a:pt x="407" y="266"/>
                </a:lnTo>
                <a:lnTo>
                  <a:pt x="394" y="249"/>
                </a:lnTo>
                <a:lnTo>
                  <a:pt x="368" y="249"/>
                </a:lnTo>
                <a:lnTo>
                  <a:pt x="368" y="40"/>
                </a:lnTo>
                <a:lnTo>
                  <a:pt x="222" y="23"/>
                </a:lnTo>
                <a:lnTo>
                  <a:pt x="216" y="13"/>
                </a:lnTo>
                <a:lnTo>
                  <a:pt x="176" y="6"/>
                </a:lnTo>
                <a:lnTo>
                  <a:pt x="172" y="15"/>
                </a:lnTo>
                <a:lnTo>
                  <a:pt x="160" y="12"/>
                </a:lnTo>
                <a:lnTo>
                  <a:pt x="171" y="5"/>
                </a:lnTo>
                <a:lnTo>
                  <a:pt x="154" y="0"/>
                </a:lnTo>
                <a:lnTo>
                  <a:pt x="138" y="13"/>
                </a:lnTo>
                <a:lnTo>
                  <a:pt x="112" y="15"/>
                </a:lnTo>
                <a:lnTo>
                  <a:pt x="111" y="27"/>
                </a:lnTo>
                <a:lnTo>
                  <a:pt x="108" y="20"/>
                </a:lnTo>
                <a:lnTo>
                  <a:pt x="83" y="26"/>
                </a:lnTo>
                <a:lnTo>
                  <a:pt x="87" y="36"/>
                </a:lnTo>
                <a:lnTo>
                  <a:pt x="76" y="33"/>
                </a:lnTo>
                <a:lnTo>
                  <a:pt x="61" y="53"/>
                </a:lnTo>
                <a:lnTo>
                  <a:pt x="25" y="61"/>
                </a:lnTo>
                <a:lnTo>
                  <a:pt x="27" y="70"/>
                </a:lnTo>
                <a:lnTo>
                  <a:pt x="16" y="72"/>
                </a:lnTo>
                <a:lnTo>
                  <a:pt x="59" y="101"/>
                </a:lnTo>
                <a:lnTo>
                  <a:pt x="117" y="115"/>
                </a:lnTo>
                <a:lnTo>
                  <a:pt x="81" y="111"/>
                </a:lnTo>
                <a:lnTo>
                  <a:pt x="83" y="120"/>
                </a:lnTo>
                <a:lnTo>
                  <a:pt x="97" y="120"/>
                </a:lnTo>
                <a:lnTo>
                  <a:pt x="85" y="126"/>
                </a:lnTo>
                <a:lnTo>
                  <a:pt x="59" y="125"/>
                </a:lnTo>
                <a:lnTo>
                  <a:pt x="59" y="112"/>
                </a:lnTo>
                <a:lnTo>
                  <a:pt x="46" y="114"/>
                </a:lnTo>
                <a:lnTo>
                  <a:pt x="0" y="13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97" name="Freeform 694">
            <a:extLst>
              <a:ext uri="{FF2B5EF4-FFF2-40B4-BE49-F238E27FC236}">
                <a16:creationId xmlns:a16="http://schemas.microsoft.com/office/drawing/2014/main" id="{4C93EA11-A7CF-BF47-DE55-7AEC00816158}"/>
              </a:ext>
            </a:extLst>
          </p:cNvPr>
          <p:cNvSpPr>
            <a:spLocks/>
          </p:cNvSpPr>
          <p:nvPr/>
        </p:nvSpPr>
        <p:spPr bwMode="auto">
          <a:xfrm>
            <a:off x="1629065" y="4384628"/>
            <a:ext cx="40881" cy="24337"/>
          </a:xfrm>
          <a:custGeom>
            <a:avLst/>
            <a:gdLst>
              <a:gd name="T0" fmla="*/ 0 w 36"/>
              <a:gd name="T1" fmla="*/ 15183716 h 22"/>
              <a:gd name="T2" fmla="*/ 0 w 36"/>
              <a:gd name="T3" fmla="*/ 15183716 h 22"/>
              <a:gd name="T4" fmla="*/ 15245114 w 36"/>
              <a:gd name="T5" fmla="*/ 35427802 h 22"/>
              <a:gd name="T6" fmla="*/ 53358518 w 36"/>
              <a:gd name="T7" fmla="*/ 6747597 h 22"/>
              <a:gd name="T8" fmla="*/ 16769995 w 36"/>
              <a:gd name="T9" fmla="*/ 0 h 22"/>
              <a:gd name="T10" fmla="*/ 21343409 w 36"/>
              <a:gd name="T11" fmla="*/ 13496492 h 22"/>
              <a:gd name="T12" fmla="*/ 0 w 36"/>
              <a:gd name="T13" fmla="*/ 15183716 h 22"/>
              <a:gd name="T14" fmla="*/ 0 w 36"/>
              <a:gd name="T15" fmla="*/ 15183716 h 2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6"/>
              <a:gd name="T25" fmla="*/ 0 h 22"/>
              <a:gd name="T26" fmla="*/ 36 w 36"/>
              <a:gd name="T27" fmla="*/ 22 h 2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6" h="22">
                <a:moveTo>
                  <a:pt x="0" y="9"/>
                </a:moveTo>
                <a:lnTo>
                  <a:pt x="0" y="9"/>
                </a:lnTo>
                <a:lnTo>
                  <a:pt x="10" y="21"/>
                </a:lnTo>
                <a:lnTo>
                  <a:pt x="35" y="4"/>
                </a:lnTo>
                <a:lnTo>
                  <a:pt x="11" y="0"/>
                </a:lnTo>
                <a:lnTo>
                  <a:pt x="14" y="8"/>
                </a:lnTo>
                <a:lnTo>
                  <a:pt x="0" y="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98" name="Freeform 695">
            <a:extLst>
              <a:ext uri="{FF2B5EF4-FFF2-40B4-BE49-F238E27FC236}">
                <a16:creationId xmlns:a16="http://schemas.microsoft.com/office/drawing/2014/main" id="{0CA2F45E-8689-50DD-E482-B92BF4C19B3C}"/>
              </a:ext>
            </a:extLst>
          </p:cNvPr>
          <p:cNvSpPr>
            <a:spLocks/>
          </p:cNvSpPr>
          <p:nvPr/>
        </p:nvSpPr>
        <p:spPr bwMode="auto">
          <a:xfrm>
            <a:off x="1888946" y="4340011"/>
            <a:ext cx="128481" cy="110869"/>
          </a:xfrm>
          <a:custGeom>
            <a:avLst/>
            <a:gdLst>
              <a:gd name="T0" fmla="*/ 0 w 110"/>
              <a:gd name="T1" fmla="*/ 17289607 h 99"/>
              <a:gd name="T2" fmla="*/ 0 w 110"/>
              <a:gd name="T3" fmla="*/ 17289607 h 99"/>
              <a:gd name="T4" fmla="*/ 6451601 w 110"/>
              <a:gd name="T5" fmla="*/ 41495580 h 99"/>
              <a:gd name="T6" fmla="*/ 30645101 w 110"/>
              <a:gd name="T7" fmla="*/ 51868825 h 99"/>
              <a:gd name="T8" fmla="*/ 41935408 w 110"/>
              <a:gd name="T9" fmla="*/ 43223367 h 99"/>
              <a:gd name="T10" fmla="*/ 20967704 w 110"/>
              <a:gd name="T11" fmla="*/ 31121030 h 99"/>
              <a:gd name="T12" fmla="*/ 41935408 w 110"/>
              <a:gd name="T13" fmla="*/ 31121030 h 99"/>
              <a:gd name="T14" fmla="*/ 59677303 w 110"/>
              <a:gd name="T15" fmla="*/ 51868825 h 99"/>
              <a:gd name="T16" fmla="*/ 54838605 w 110"/>
              <a:gd name="T17" fmla="*/ 15560515 h 99"/>
              <a:gd name="T18" fmla="*/ 69354701 w 110"/>
              <a:gd name="T19" fmla="*/ 48410642 h 99"/>
              <a:gd name="T20" fmla="*/ 106451410 w 110"/>
              <a:gd name="T21" fmla="*/ 67429335 h 99"/>
              <a:gd name="T22" fmla="*/ 99999812 w 110"/>
              <a:gd name="T23" fmla="*/ 89906232 h 99"/>
              <a:gd name="T24" fmla="*/ 141935200 w 110"/>
              <a:gd name="T25" fmla="*/ 119298160 h 99"/>
              <a:gd name="T26" fmla="*/ 130644903 w 110"/>
              <a:gd name="T27" fmla="*/ 143504128 h 99"/>
              <a:gd name="T28" fmla="*/ 153225497 w 110"/>
              <a:gd name="T29" fmla="*/ 124485435 h 99"/>
              <a:gd name="T30" fmla="*/ 156451296 w 110"/>
              <a:gd name="T31" fmla="*/ 169437873 h 99"/>
              <a:gd name="T32" fmla="*/ 174193231 w 110"/>
              <a:gd name="T33" fmla="*/ 160793729 h 99"/>
              <a:gd name="T34" fmla="*/ 175806131 w 110"/>
              <a:gd name="T35" fmla="*/ 127943618 h 99"/>
              <a:gd name="T36" fmla="*/ 133870703 w 110"/>
              <a:gd name="T37" fmla="*/ 108924925 h 99"/>
              <a:gd name="T38" fmla="*/ 56451504 w 110"/>
              <a:gd name="T39" fmla="*/ 0 h 99"/>
              <a:gd name="T40" fmla="*/ 11290302 w 110"/>
              <a:gd name="T41" fmla="*/ 31121030 h 99"/>
              <a:gd name="T42" fmla="*/ 0 w 110"/>
              <a:gd name="T43" fmla="*/ 17289607 h 99"/>
              <a:gd name="T44" fmla="*/ 0 w 110"/>
              <a:gd name="T45" fmla="*/ 17289607 h 99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10"/>
              <a:gd name="T70" fmla="*/ 0 h 99"/>
              <a:gd name="T71" fmla="*/ 110 w 110"/>
              <a:gd name="T72" fmla="*/ 99 h 99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10" h="99">
                <a:moveTo>
                  <a:pt x="0" y="10"/>
                </a:moveTo>
                <a:lnTo>
                  <a:pt x="0" y="10"/>
                </a:lnTo>
                <a:lnTo>
                  <a:pt x="4" y="24"/>
                </a:lnTo>
                <a:lnTo>
                  <a:pt x="19" y="30"/>
                </a:lnTo>
                <a:lnTo>
                  <a:pt x="26" y="25"/>
                </a:lnTo>
                <a:lnTo>
                  <a:pt x="13" y="18"/>
                </a:lnTo>
                <a:lnTo>
                  <a:pt x="26" y="18"/>
                </a:lnTo>
                <a:lnTo>
                  <a:pt x="37" y="30"/>
                </a:lnTo>
                <a:lnTo>
                  <a:pt x="34" y="9"/>
                </a:lnTo>
                <a:lnTo>
                  <a:pt x="43" y="28"/>
                </a:lnTo>
                <a:lnTo>
                  <a:pt x="66" y="39"/>
                </a:lnTo>
                <a:lnTo>
                  <a:pt x="62" y="52"/>
                </a:lnTo>
                <a:lnTo>
                  <a:pt x="88" y="69"/>
                </a:lnTo>
                <a:lnTo>
                  <a:pt x="81" y="83"/>
                </a:lnTo>
                <a:lnTo>
                  <a:pt x="95" y="72"/>
                </a:lnTo>
                <a:lnTo>
                  <a:pt x="97" y="98"/>
                </a:lnTo>
                <a:lnTo>
                  <a:pt x="108" y="93"/>
                </a:lnTo>
                <a:lnTo>
                  <a:pt x="109" y="74"/>
                </a:lnTo>
                <a:lnTo>
                  <a:pt x="83" y="63"/>
                </a:lnTo>
                <a:lnTo>
                  <a:pt x="35" y="0"/>
                </a:lnTo>
                <a:lnTo>
                  <a:pt x="7" y="18"/>
                </a:lnTo>
                <a:lnTo>
                  <a:pt x="0" y="1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99" name="Freeform 696">
            <a:extLst>
              <a:ext uri="{FF2B5EF4-FFF2-40B4-BE49-F238E27FC236}">
                <a16:creationId xmlns:a16="http://schemas.microsoft.com/office/drawing/2014/main" id="{F0BA6A9A-C9C6-5AC6-90FB-505733FDB8F3}"/>
              </a:ext>
            </a:extLst>
          </p:cNvPr>
          <p:cNvSpPr>
            <a:spLocks/>
          </p:cNvSpPr>
          <p:nvPr/>
        </p:nvSpPr>
        <p:spPr bwMode="auto">
          <a:xfrm>
            <a:off x="1918146" y="4376515"/>
            <a:ext cx="23360" cy="18928"/>
          </a:xfrm>
          <a:custGeom>
            <a:avLst/>
            <a:gdLst>
              <a:gd name="T0" fmla="*/ 0 w 20"/>
              <a:gd name="T1" fmla="*/ 0 h 16"/>
              <a:gd name="T2" fmla="*/ 0 w 20"/>
              <a:gd name="T3" fmla="*/ 0 h 16"/>
              <a:gd name="T4" fmla="*/ 9677399 w 20"/>
              <a:gd name="T5" fmla="*/ 28942503 h 16"/>
              <a:gd name="T6" fmla="*/ 11290301 w 20"/>
              <a:gd name="T7" fmla="*/ 13505854 h 16"/>
              <a:gd name="T8" fmla="*/ 30645098 w 20"/>
              <a:gd name="T9" fmla="*/ 27013096 h 16"/>
              <a:gd name="T10" fmla="*/ 12903200 w 20"/>
              <a:gd name="T11" fmla="*/ 13505854 h 16"/>
              <a:gd name="T12" fmla="*/ 29032199 w 20"/>
              <a:gd name="T13" fmla="*/ 3858815 h 16"/>
              <a:gd name="T14" fmla="*/ 0 w 20"/>
              <a:gd name="T15" fmla="*/ 0 h 16"/>
              <a:gd name="T16" fmla="*/ 0 w 20"/>
              <a:gd name="T17" fmla="*/ 0 h 1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16"/>
              <a:gd name="T29" fmla="*/ 20 w 20"/>
              <a:gd name="T30" fmla="*/ 16 h 1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16">
                <a:moveTo>
                  <a:pt x="0" y="0"/>
                </a:moveTo>
                <a:lnTo>
                  <a:pt x="0" y="0"/>
                </a:lnTo>
                <a:lnTo>
                  <a:pt x="6" y="15"/>
                </a:lnTo>
                <a:lnTo>
                  <a:pt x="7" y="7"/>
                </a:lnTo>
                <a:lnTo>
                  <a:pt x="19" y="14"/>
                </a:lnTo>
                <a:lnTo>
                  <a:pt x="8" y="7"/>
                </a:lnTo>
                <a:lnTo>
                  <a:pt x="18" y="2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0" name="Freeform 697">
            <a:extLst>
              <a:ext uri="{FF2B5EF4-FFF2-40B4-BE49-F238E27FC236}">
                <a16:creationId xmlns:a16="http://schemas.microsoft.com/office/drawing/2014/main" id="{10BA08D3-9D43-69A0-19C4-748FF515DECE}"/>
              </a:ext>
            </a:extLst>
          </p:cNvPr>
          <p:cNvSpPr>
            <a:spLocks/>
          </p:cNvSpPr>
          <p:nvPr/>
        </p:nvSpPr>
        <p:spPr bwMode="auto">
          <a:xfrm>
            <a:off x="1926906" y="4391389"/>
            <a:ext cx="14600" cy="28393"/>
          </a:xfrm>
          <a:custGeom>
            <a:avLst/>
            <a:gdLst>
              <a:gd name="T0" fmla="*/ 0 w 12"/>
              <a:gd name="T1" fmla="*/ 0 h 25"/>
              <a:gd name="T2" fmla="*/ 0 w 12"/>
              <a:gd name="T3" fmla="*/ 0 h 25"/>
              <a:gd name="T4" fmla="*/ 17500864 w 12"/>
              <a:gd name="T5" fmla="*/ 7112783 h 25"/>
              <a:gd name="T6" fmla="*/ 19251082 w 12"/>
              <a:gd name="T7" fmla="*/ 42676691 h 25"/>
              <a:gd name="T8" fmla="*/ 0 w 12"/>
              <a:gd name="T9" fmla="*/ 0 h 25"/>
              <a:gd name="T10" fmla="*/ 0 w 12"/>
              <a:gd name="T11" fmla="*/ 0 h 2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25"/>
              <a:gd name="T20" fmla="*/ 12 w 12"/>
              <a:gd name="T21" fmla="*/ 25 h 2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25">
                <a:moveTo>
                  <a:pt x="0" y="0"/>
                </a:moveTo>
                <a:lnTo>
                  <a:pt x="0" y="0"/>
                </a:lnTo>
                <a:lnTo>
                  <a:pt x="10" y="4"/>
                </a:lnTo>
                <a:lnTo>
                  <a:pt x="11" y="24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1" name="Freeform 698">
            <a:extLst>
              <a:ext uri="{FF2B5EF4-FFF2-40B4-BE49-F238E27FC236}">
                <a16:creationId xmlns:a16="http://schemas.microsoft.com/office/drawing/2014/main" id="{0684D25C-733F-AA66-F021-682A0B7F3CB5}"/>
              </a:ext>
            </a:extLst>
          </p:cNvPr>
          <p:cNvSpPr>
            <a:spLocks/>
          </p:cNvSpPr>
          <p:nvPr/>
        </p:nvSpPr>
        <p:spPr bwMode="auto">
          <a:xfrm>
            <a:off x="1941506" y="4377868"/>
            <a:ext cx="18980" cy="18928"/>
          </a:xfrm>
          <a:custGeom>
            <a:avLst/>
            <a:gdLst>
              <a:gd name="T0" fmla="*/ 0 w 15"/>
              <a:gd name="T1" fmla="*/ 0 h 16"/>
              <a:gd name="T2" fmla="*/ 0 w 15"/>
              <a:gd name="T3" fmla="*/ 0 h 16"/>
              <a:gd name="T4" fmla="*/ 5677928 w 15"/>
              <a:gd name="T5" fmla="*/ 28942503 h 16"/>
              <a:gd name="T6" fmla="*/ 20821357 w 15"/>
              <a:gd name="T7" fmla="*/ 28942503 h 16"/>
              <a:gd name="T8" fmla="*/ 13250332 w 15"/>
              <a:gd name="T9" fmla="*/ 3858815 h 16"/>
              <a:gd name="T10" fmla="*/ 26499288 w 15"/>
              <a:gd name="T11" fmla="*/ 21224870 h 16"/>
              <a:gd name="T12" fmla="*/ 15142056 w 15"/>
              <a:gd name="T13" fmla="*/ 0 h 16"/>
              <a:gd name="T14" fmla="*/ 0 w 15"/>
              <a:gd name="T15" fmla="*/ 0 h 16"/>
              <a:gd name="T16" fmla="*/ 0 w 15"/>
              <a:gd name="T17" fmla="*/ 0 h 1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5"/>
              <a:gd name="T28" fmla="*/ 0 h 16"/>
              <a:gd name="T29" fmla="*/ 15 w 15"/>
              <a:gd name="T30" fmla="*/ 16 h 1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5" h="16">
                <a:moveTo>
                  <a:pt x="0" y="0"/>
                </a:moveTo>
                <a:lnTo>
                  <a:pt x="0" y="0"/>
                </a:lnTo>
                <a:lnTo>
                  <a:pt x="3" y="15"/>
                </a:lnTo>
                <a:lnTo>
                  <a:pt x="11" y="15"/>
                </a:lnTo>
                <a:lnTo>
                  <a:pt x="7" y="2"/>
                </a:lnTo>
                <a:lnTo>
                  <a:pt x="14" y="11"/>
                </a:lnTo>
                <a:lnTo>
                  <a:pt x="8" y="0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2" name="Freeform 699">
            <a:extLst>
              <a:ext uri="{FF2B5EF4-FFF2-40B4-BE49-F238E27FC236}">
                <a16:creationId xmlns:a16="http://schemas.microsoft.com/office/drawing/2014/main" id="{88B85779-FDB3-F660-8974-0C565B4B63DE}"/>
              </a:ext>
            </a:extLst>
          </p:cNvPr>
          <p:cNvSpPr>
            <a:spLocks/>
          </p:cNvSpPr>
          <p:nvPr/>
        </p:nvSpPr>
        <p:spPr bwMode="auto">
          <a:xfrm>
            <a:off x="1956108" y="4402205"/>
            <a:ext cx="13139" cy="12168"/>
          </a:xfrm>
          <a:custGeom>
            <a:avLst/>
            <a:gdLst>
              <a:gd name="T0" fmla="*/ 0 w 13"/>
              <a:gd name="T1" fmla="*/ 0 h 11"/>
              <a:gd name="T2" fmla="*/ 0 w 13"/>
              <a:gd name="T3" fmla="*/ 0 h 11"/>
              <a:gd name="T4" fmla="*/ 14493612 w 13"/>
              <a:gd name="T5" fmla="*/ 16869050 h 11"/>
              <a:gd name="T6" fmla="*/ 14493612 w 13"/>
              <a:gd name="T7" fmla="*/ 1687165 h 11"/>
              <a:gd name="T8" fmla="*/ 0 w 13"/>
              <a:gd name="T9" fmla="*/ 0 h 11"/>
              <a:gd name="T10" fmla="*/ 0 w 13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3"/>
              <a:gd name="T19" fmla="*/ 0 h 11"/>
              <a:gd name="T20" fmla="*/ 13 w 13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3" h="11">
                <a:moveTo>
                  <a:pt x="0" y="0"/>
                </a:moveTo>
                <a:lnTo>
                  <a:pt x="0" y="0"/>
                </a:lnTo>
                <a:lnTo>
                  <a:pt x="12" y="10"/>
                </a:lnTo>
                <a:lnTo>
                  <a:pt x="12" y="1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3" name="Freeform 700">
            <a:extLst>
              <a:ext uri="{FF2B5EF4-FFF2-40B4-BE49-F238E27FC236}">
                <a16:creationId xmlns:a16="http://schemas.microsoft.com/office/drawing/2014/main" id="{99DBFBF0-567D-CDCE-ECFE-6CE118D64717}"/>
              </a:ext>
            </a:extLst>
          </p:cNvPr>
          <p:cNvSpPr>
            <a:spLocks/>
          </p:cNvSpPr>
          <p:nvPr/>
        </p:nvSpPr>
        <p:spPr bwMode="auto">
          <a:xfrm>
            <a:off x="1960487" y="4417078"/>
            <a:ext cx="20440" cy="29745"/>
          </a:xfrm>
          <a:custGeom>
            <a:avLst/>
            <a:gdLst>
              <a:gd name="T0" fmla="*/ 0 w 19"/>
              <a:gd name="T1" fmla="*/ 0 h 26"/>
              <a:gd name="T2" fmla="*/ 0 w 19"/>
              <a:gd name="T3" fmla="*/ 0 h 26"/>
              <a:gd name="T4" fmla="*/ 19155607 w 19"/>
              <a:gd name="T5" fmla="*/ 14434772 h 26"/>
              <a:gd name="T6" fmla="*/ 24628808 w 19"/>
              <a:gd name="T7" fmla="*/ 45109675 h 26"/>
              <a:gd name="T8" fmla="*/ 0 w 19"/>
              <a:gd name="T9" fmla="*/ 0 h 26"/>
              <a:gd name="T10" fmla="*/ 0 w 19"/>
              <a:gd name="T11" fmla="*/ 0 h 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"/>
              <a:gd name="T19" fmla="*/ 0 h 26"/>
              <a:gd name="T20" fmla="*/ 19 w 19"/>
              <a:gd name="T21" fmla="*/ 26 h 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" h="26">
                <a:moveTo>
                  <a:pt x="0" y="0"/>
                </a:moveTo>
                <a:lnTo>
                  <a:pt x="0" y="0"/>
                </a:lnTo>
                <a:lnTo>
                  <a:pt x="14" y="8"/>
                </a:lnTo>
                <a:lnTo>
                  <a:pt x="18" y="25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4" name="Freeform 701">
            <a:extLst>
              <a:ext uri="{FF2B5EF4-FFF2-40B4-BE49-F238E27FC236}">
                <a16:creationId xmlns:a16="http://schemas.microsoft.com/office/drawing/2014/main" id="{74AD24B6-892E-163B-7DAA-BB8F46CD1D67}"/>
              </a:ext>
            </a:extLst>
          </p:cNvPr>
          <p:cNvSpPr>
            <a:spLocks/>
          </p:cNvSpPr>
          <p:nvPr/>
        </p:nvSpPr>
        <p:spPr bwMode="auto">
          <a:xfrm>
            <a:off x="1991147" y="4426542"/>
            <a:ext cx="13139" cy="14872"/>
          </a:xfrm>
          <a:custGeom>
            <a:avLst/>
            <a:gdLst>
              <a:gd name="T0" fmla="*/ 0 w 10"/>
              <a:gd name="T1" fmla="*/ 10841576 h 15"/>
              <a:gd name="T2" fmla="*/ 0 w 10"/>
              <a:gd name="T3" fmla="*/ 10841576 h 15"/>
              <a:gd name="T4" fmla="*/ 8165020 w 10"/>
              <a:gd name="T5" fmla="*/ 0 h 15"/>
              <a:gd name="T6" fmla="*/ 18370223 w 10"/>
              <a:gd name="T7" fmla="*/ 18973045 h 15"/>
              <a:gd name="T8" fmla="*/ 0 w 10"/>
              <a:gd name="T9" fmla="*/ 10841576 h 15"/>
              <a:gd name="T10" fmla="*/ 0 w 10"/>
              <a:gd name="T11" fmla="*/ 10841576 h 1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"/>
              <a:gd name="T19" fmla="*/ 0 h 15"/>
              <a:gd name="T20" fmla="*/ 10 w 10"/>
              <a:gd name="T21" fmla="*/ 15 h 1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" h="15">
                <a:moveTo>
                  <a:pt x="0" y="8"/>
                </a:moveTo>
                <a:lnTo>
                  <a:pt x="0" y="8"/>
                </a:lnTo>
                <a:lnTo>
                  <a:pt x="4" y="0"/>
                </a:lnTo>
                <a:lnTo>
                  <a:pt x="9" y="14"/>
                </a:lnTo>
                <a:lnTo>
                  <a:pt x="0" y="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5" name="Freeform 702">
            <a:extLst>
              <a:ext uri="{FF2B5EF4-FFF2-40B4-BE49-F238E27FC236}">
                <a16:creationId xmlns:a16="http://schemas.microsoft.com/office/drawing/2014/main" id="{76656D49-BC73-8874-601F-71828A008644}"/>
              </a:ext>
            </a:extLst>
          </p:cNvPr>
          <p:cNvSpPr>
            <a:spLocks/>
          </p:cNvSpPr>
          <p:nvPr/>
        </p:nvSpPr>
        <p:spPr bwMode="auto">
          <a:xfrm>
            <a:off x="2100648" y="4557691"/>
            <a:ext cx="903749" cy="425899"/>
          </a:xfrm>
          <a:custGeom>
            <a:avLst/>
            <a:gdLst>
              <a:gd name="T0" fmla="*/ 0 w 787"/>
              <a:gd name="T1" fmla="*/ 35986208 h 382"/>
              <a:gd name="T2" fmla="*/ 31180509 w 787"/>
              <a:gd name="T3" fmla="*/ 94251414 h 382"/>
              <a:gd name="T4" fmla="*/ 6235603 w 787"/>
              <a:gd name="T5" fmla="*/ 260475223 h 382"/>
              <a:gd name="T6" fmla="*/ 57684942 w 787"/>
              <a:gd name="T7" fmla="*/ 322166221 h 382"/>
              <a:gd name="T8" fmla="*/ 88865460 w 787"/>
              <a:gd name="T9" fmla="*/ 414704110 h 382"/>
              <a:gd name="T10" fmla="*/ 162140632 w 787"/>
              <a:gd name="T11" fmla="*/ 469540844 h 382"/>
              <a:gd name="T12" fmla="*/ 291542490 w 787"/>
              <a:gd name="T13" fmla="*/ 500386343 h 382"/>
              <a:gd name="T14" fmla="*/ 445888036 w 787"/>
              <a:gd name="T15" fmla="*/ 555223077 h 382"/>
              <a:gd name="T16" fmla="*/ 544108107 w 787"/>
              <a:gd name="T17" fmla="*/ 622056083 h 382"/>
              <a:gd name="T18" fmla="*/ 581525455 w 787"/>
              <a:gd name="T19" fmla="*/ 589497017 h 382"/>
              <a:gd name="T20" fmla="*/ 629855728 w 787"/>
              <a:gd name="T21" fmla="*/ 538087416 h 382"/>
              <a:gd name="T22" fmla="*/ 748343529 w 787"/>
              <a:gd name="T23" fmla="*/ 555223077 h 382"/>
              <a:gd name="T24" fmla="*/ 728075955 w 787"/>
              <a:gd name="T25" fmla="*/ 524377578 h 382"/>
              <a:gd name="T26" fmla="*/ 776406228 w 787"/>
              <a:gd name="T27" fmla="*/ 508954173 h 382"/>
              <a:gd name="T28" fmla="*/ 866831174 w 787"/>
              <a:gd name="T29" fmla="*/ 531231842 h 382"/>
              <a:gd name="T30" fmla="*/ 893335597 w 787"/>
              <a:gd name="T31" fmla="*/ 596351282 h 382"/>
              <a:gd name="T32" fmla="*/ 938548070 w 787"/>
              <a:gd name="T33" fmla="*/ 651188016 h 382"/>
              <a:gd name="T34" fmla="*/ 916720971 w 787"/>
              <a:gd name="T35" fmla="*/ 508954173 h 382"/>
              <a:gd name="T36" fmla="*/ 1041444217 w 787"/>
              <a:gd name="T37" fmla="*/ 387285743 h 382"/>
              <a:gd name="T38" fmla="*/ 1039885941 w 787"/>
              <a:gd name="T39" fmla="*/ 375289471 h 382"/>
              <a:gd name="T40" fmla="*/ 1028971767 w 787"/>
              <a:gd name="T41" fmla="*/ 325593353 h 382"/>
              <a:gd name="T42" fmla="*/ 1028971767 w 787"/>
              <a:gd name="T43" fmla="*/ 320452655 h 382"/>
              <a:gd name="T44" fmla="*/ 1036768141 w 787"/>
              <a:gd name="T45" fmla="*/ 282752891 h 382"/>
              <a:gd name="T46" fmla="*/ 1055476190 w 787"/>
              <a:gd name="T47" fmla="*/ 308457692 h 382"/>
              <a:gd name="T48" fmla="*/ 1057035715 w 787"/>
              <a:gd name="T49" fmla="*/ 296461420 h 382"/>
              <a:gd name="T50" fmla="*/ 1164609186 w 787"/>
              <a:gd name="T51" fmla="*/ 222775459 h 382"/>
              <a:gd name="T52" fmla="*/ 1158373586 w 787"/>
              <a:gd name="T53" fmla="*/ 167937375 h 382"/>
              <a:gd name="T54" fmla="*/ 1225411908 w 787"/>
              <a:gd name="T55" fmla="*/ 123383347 h 382"/>
              <a:gd name="T56" fmla="*/ 1209821659 w 787"/>
              <a:gd name="T57" fmla="*/ 71973725 h 382"/>
              <a:gd name="T58" fmla="*/ 1147459412 w 787"/>
              <a:gd name="T59" fmla="*/ 121669781 h 382"/>
              <a:gd name="T60" fmla="*/ 1032090816 w 787"/>
              <a:gd name="T61" fmla="*/ 171365816 h 382"/>
              <a:gd name="T62" fmla="*/ 974405894 w 787"/>
              <a:gd name="T63" fmla="*/ 190215085 h 382"/>
              <a:gd name="T64" fmla="*/ 885540472 w 787"/>
              <a:gd name="T65" fmla="*/ 226202591 h 382"/>
              <a:gd name="T66" fmla="*/ 888658272 w 787"/>
              <a:gd name="T67" fmla="*/ 203924923 h 382"/>
              <a:gd name="T68" fmla="*/ 898012922 w 787"/>
              <a:gd name="T69" fmla="*/ 185074386 h 382"/>
              <a:gd name="T70" fmla="*/ 866831174 w 787"/>
              <a:gd name="T71" fmla="*/ 167937375 h 382"/>
              <a:gd name="T72" fmla="*/ 841886275 w 787"/>
              <a:gd name="T73" fmla="*/ 109673509 h 382"/>
              <a:gd name="T74" fmla="*/ 807587976 w 787"/>
              <a:gd name="T75" fmla="*/ 217633452 h 382"/>
              <a:gd name="T76" fmla="*/ 781083553 w 787"/>
              <a:gd name="T77" fmla="*/ 183360820 h 382"/>
              <a:gd name="T78" fmla="*/ 782643077 w 787"/>
              <a:gd name="T79" fmla="*/ 133664744 h 382"/>
              <a:gd name="T80" fmla="*/ 865272898 w 787"/>
              <a:gd name="T81" fmla="*/ 101105678 h 382"/>
              <a:gd name="T82" fmla="*/ 851240924 w 787"/>
              <a:gd name="T83" fmla="*/ 85682254 h 382"/>
              <a:gd name="T84" fmla="*/ 782643077 w 787"/>
              <a:gd name="T85" fmla="*/ 58263887 h 382"/>
              <a:gd name="T86" fmla="*/ 692218131 w 787"/>
              <a:gd name="T87" fmla="*/ 83968688 h 382"/>
              <a:gd name="T88" fmla="*/ 639210377 w 787"/>
              <a:gd name="T89" fmla="*/ 20564108 h 382"/>
              <a:gd name="T90" fmla="*/ 625178404 w 787"/>
              <a:gd name="T91" fmla="*/ 13709843 h 382"/>
              <a:gd name="T92" fmla="*/ 51448093 w 787"/>
              <a:gd name="T93" fmla="*/ 39414649 h 382"/>
              <a:gd name="T94" fmla="*/ 42094692 w 787"/>
              <a:gd name="T95" fmla="*/ 37699774 h 382"/>
              <a:gd name="T96" fmla="*/ 0 w 787"/>
              <a:gd name="T97" fmla="*/ 35986208 h 382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787"/>
              <a:gd name="T148" fmla="*/ 0 h 382"/>
              <a:gd name="T149" fmla="*/ 787 w 787"/>
              <a:gd name="T150" fmla="*/ 382 h 382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787" h="382">
                <a:moveTo>
                  <a:pt x="0" y="21"/>
                </a:moveTo>
                <a:lnTo>
                  <a:pt x="0" y="21"/>
                </a:lnTo>
                <a:lnTo>
                  <a:pt x="9" y="52"/>
                </a:lnTo>
                <a:lnTo>
                  <a:pt x="20" y="55"/>
                </a:lnTo>
                <a:lnTo>
                  <a:pt x="11" y="57"/>
                </a:lnTo>
                <a:lnTo>
                  <a:pt x="4" y="152"/>
                </a:lnTo>
                <a:lnTo>
                  <a:pt x="24" y="188"/>
                </a:lnTo>
                <a:lnTo>
                  <a:pt x="37" y="188"/>
                </a:lnTo>
                <a:lnTo>
                  <a:pt x="32" y="202"/>
                </a:lnTo>
                <a:lnTo>
                  <a:pt x="57" y="242"/>
                </a:lnTo>
                <a:lnTo>
                  <a:pt x="83" y="251"/>
                </a:lnTo>
                <a:lnTo>
                  <a:pt x="104" y="274"/>
                </a:lnTo>
                <a:lnTo>
                  <a:pt x="135" y="271"/>
                </a:lnTo>
                <a:lnTo>
                  <a:pt x="187" y="292"/>
                </a:lnTo>
                <a:lnTo>
                  <a:pt x="249" y="284"/>
                </a:lnTo>
                <a:lnTo>
                  <a:pt x="286" y="324"/>
                </a:lnTo>
                <a:lnTo>
                  <a:pt x="315" y="314"/>
                </a:lnTo>
                <a:lnTo>
                  <a:pt x="349" y="363"/>
                </a:lnTo>
                <a:lnTo>
                  <a:pt x="376" y="372"/>
                </a:lnTo>
                <a:lnTo>
                  <a:pt x="373" y="344"/>
                </a:lnTo>
                <a:lnTo>
                  <a:pt x="401" y="327"/>
                </a:lnTo>
                <a:lnTo>
                  <a:pt x="404" y="314"/>
                </a:lnTo>
                <a:lnTo>
                  <a:pt x="445" y="314"/>
                </a:lnTo>
                <a:lnTo>
                  <a:pt x="480" y="324"/>
                </a:lnTo>
                <a:lnTo>
                  <a:pt x="481" y="308"/>
                </a:lnTo>
                <a:lnTo>
                  <a:pt x="467" y="306"/>
                </a:lnTo>
                <a:lnTo>
                  <a:pt x="497" y="305"/>
                </a:lnTo>
                <a:lnTo>
                  <a:pt x="498" y="297"/>
                </a:lnTo>
                <a:lnTo>
                  <a:pt x="501" y="307"/>
                </a:lnTo>
                <a:lnTo>
                  <a:pt x="556" y="310"/>
                </a:lnTo>
                <a:lnTo>
                  <a:pt x="571" y="324"/>
                </a:lnTo>
                <a:lnTo>
                  <a:pt x="573" y="348"/>
                </a:lnTo>
                <a:lnTo>
                  <a:pt x="591" y="381"/>
                </a:lnTo>
                <a:lnTo>
                  <a:pt x="602" y="380"/>
                </a:lnTo>
                <a:lnTo>
                  <a:pt x="606" y="355"/>
                </a:lnTo>
                <a:lnTo>
                  <a:pt x="588" y="297"/>
                </a:lnTo>
                <a:lnTo>
                  <a:pt x="599" y="273"/>
                </a:lnTo>
                <a:lnTo>
                  <a:pt x="668" y="226"/>
                </a:lnTo>
                <a:lnTo>
                  <a:pt x="655" y="221"/>
                </a:lnTo>
                <a:lnTo>
                  <a:pt x="667" y="219"/>
                </a:lnTo>
                <a:lnTo>
                  <a:pt x="657" y="204"/>
                </a:lnTo>
                <a:lnTo>
                  <a:pt x="660" y="190"/>
                </a:lnTo>
                <a:lnTo>
                  <a:pt x="646" y="180"/>
                </a:lnTo>
                <a:lnTo>
                  <a:pt x="660" y="187"/>
                </a:lnTo>
                <a:lnTo>
                  <a:pt x="655" y="170"/>
                </a:lnTo>
                <a:lnTo>
                  <a:pt x="665" y="165"/>
                </a:lnTo>
                <a:lnTo>
                  <a:pt x="667" y="202"/>
                </a:lnTo>
                <a:lnTo>
                  <a:pt x="677" y="180"/>
                </a:lnTo>
                <a:lnTo>
                  <a:pt x="671" y="163"/>
                </a:lnTo>
                <a:lnTo>
                  <a:pt x="678" y="173"/>
                </a:lnTo>
                <a:lnTo>
                  <a:pt x="692" y="143"/>
                </a:lnTo>
                <a:lnTo>
                  <a:pt x="747" y="130"/>
                </a:lnTo>
                <a:lnTo>
                  <a:pt x="733" y="121"/>
                </a:lnTo>
                <a:lnTo>
                  <a:pt x="743" y="98"/>
                </a:lnTo>
                <a:lnTo>
                  <a:pt x="785" y="81"/>
                </a:lnTo>
                <a:lnTo>
                  <a:pt x="786" y="72"/>
                </a:lnTo>
                <a:lnTo>
                  <a:pt x="776" y="64"/>
                </a:lnTo>
                <a:lnTo>
                  <a:pt x="776" y="42"/>
                </a:lnTo>
                <a:lnTo>
                  <a:pt x="753" y="35"/>
                </a:lnTo>
                <a:lnTo>
                  <a:pt x="736" y="71"/>
                </a:lnTo>
                <a:lnTo>
                  <a:pt x="667" y="84"/>
                </a:lnTo>
                <a:lnTo>
                  <a:pt x="662" y="100"/>
                </a:lnTo>
                <a:lnTo>
                  <a:pt x="622" y="106"/>
                </a:lnTo>
                <a:lnTo>
                  <a:pt x="625" y="111"/>
                </a:lnTo>
                <a:lnTo>
                  <a:pt x="585" y="133"/>
                </a:lnTo>
                <a:lnTo>
                  <a:pt x="568" y="132"/>
                </a:lnTo>
                <a:lnTo>
                  <a:pt x="567" y="126"/>
                </a:lnTo>
                <a:lnTo>
                  <a:pt x="570" y="119"/>
                </a:lnTo>
                <a:lnTo>
                  <a:pt x="574" y="114"/>
                </a:lnTo>
                <a:lnTo>
                  <a:pt x="576" y="108"/>
                </a:lnTo>
                <a:lnTo>
                  <a:pt x="570" y="91"/>
                </a:lnTo>
                <a:lnTo>
                  <a:pt x="556" y="98"/>
                </a:lnTo>
                <a:lnTo>
                  <a:pt x="561" y="71"/>
                </a:lnTo>
                <a:lnTo>
                  <a:pt x="540" y="64"/>
                </a:lnTo>
                <a:lnTo>
                  <a:pt x="524" y="81"/>
                </a:lnTo>
                <a:lnTo>
                  <a:pt x="518" y="127"/>
                </a:lnTo>
                <a:lnTo>
                  <a:pt x="505" y="128"/>
                </a:lnTo>
                <a:lnTo>
                  <a:pt x="501" y="107"/>
                </a:lnTo>
                <a:lnTo>
                  <a:pt x="511" y="72"/>
                </a:lnTo>
                <a:lnTo>
                  <a:pt x="502" y="78"/>
                </a:lnTo>
                <a:lnTo>
                  <a:pt x="519" y="60"/>
                </a:lnTo>
                <a:lnTo>
                  <a:pt x="555" y="59"/>
                </a:lnTo>
                <a:lnTo>
                  <a:pt x="549" y="50"/>
                </a:lnTo>
                <a:lnTo>
                  <a:pt x="546" y="50"/>
                </a:lnTo>
                <a:lnTo>
                  <a:pt x="493" y="45"/>
                </a:lnTo>
                <a:lnTo>
                  <a:pt x="502" y="34"/>
                </a:lnTo>
                <a:lnTo>
                  <a:pt x="469" y="49"/>
                </a:lnTo>
                <a:lnTo>
                  <a:pt x="444" y="49"/>
                </a:lnTo>
                <a:lnTo>
                  <a:pt x="475" y="25"/>
                </a:lnTo>
                <a:lnTo>
                  <a:pt x="410" y="12"/>
                </a:lnTo>
                <a:lnTo>
                  <a:pt x="402" y="0"/>
                </a:lnTo>
                <a:lnTo>
                  <a:pt x="401" y="8"/>
                </a:lnTo>
                <a:lnTo>
                  <a:pt x="25" y="8"/>
                </a:lnTo>
                <a:lnTo>
                  <a:pt x="33" y="23"/>
                </a:lnTo>
                <a:lnTo>
                  <a:pt x="24" y="35"/>
                </a:lnTo>
                <a:lnTo>
                  <a:pt x="27" y="22"/>
                </a:lnTo>
                <a:lnTo>
                  <a:pt x="0" y="21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6" name="Freeform 703">
            <a:extLst>
              <a:ext uri="{FF2B5EF4-FFF2-40B4-BE49-F238E27FC236}">
                <a16:creationId xmlns:a16="http://schemas.microsoft.com/office/drawing/2014/main" id="{A46C9D63-D518-BBFB-93D3-8AE40A941E3B}"/>
              </a:ext>
            </a:extLst>
          </p:cNvPr>
          <p:cNvSpPr>
            <a:spLocks/>
          </p:cNvSpPr>
          <p:nvPr/>
        </p:nvSpPr>
        <p:spPr bwMode="auto">
          <a:xfrm>
            <a:off x="6991688" y="4252126"/>
            <a:ext cx="51101" cy="16225"/>
          </a:xfrm>
          <a:custGeom>
            <a:avLst/>
            <a:gdLst>
              <a:gd name="T0" fmla="*/ 0 w 43"/>
              <a:gd name="T1" fmla="*/ 7406368 h 14"/>
              <a:gd name="T2" fmla="*/ 0 w 43"/>
              <a:gd name="T3" fmla="*/ 7406368 h 14"/>
              <a:gd name="T4" fmla="*/ 41742022 w 43"/>
              <a:gd name="T5" fmla="*/ 0 h 14"/>
              <a:gd name="T6" fmla="*/ 70126962 w 43"/>
              <a:gd name="T7" fmla="*/ 11108871 h 14"/>
              <a:gd name="T8" fmla="*/ 55099114 w 43"/>
              <a:gd name="T9" fmla="*/ 24069679 h 14"/>
              <a:gd name="T10" fmla="*/ 0 w 43"/>
              <a:gd name="T11" fmla="*/ 7406368 h 14"/>
              <a:gd name="T12" fmla="*/ 0 w 43"/>
              <a:gd name="T13" fmla="*/ 7406368 h 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3"/>
              <a:gd name="T22" fmla="*/ 0 h 14"/>
              <a:gd name="T23" fmla="*/ 43 w 43"/>
              <a:gd name="T24" fmla="*/ 14 h 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3" h="14">
                <a:moveTo>
                  <a:pt x="0" y="4"/>
                </a:moveTo>
                <a:lnTo>
                  <a:pt x="0" y="4"/>
                </a:lnTo>
                <a:lnTo>
                  <a:pt x="25" y="0"/>
                </a:lnTo>
                <a:lnTo>
                  <a:pt x="42" y="6"/>
                </a:lnTo>
                <a:lnTo>
                  <a:pt x="33" y="13"/>
                </a:lnTo>
                <a:lnTo>
                  <a:pt x="0" y="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7" name="Freeform 704">
            <a:extLst>
              <a:ext uri="{FF2B5EF4-FFF2-40B4-BE49-F238E27FC236}">
                <a16:creationId xmlns:a16="http://schemas.microsoft.com/office/drawing/2014/main" id="{2341D17C-A6B7-4F80-6B90-2666F484A0BC}"/>
              </a:ext>
            </a:extLst>
          </p:cNvPr>
          <p:cNvSpPr>
            <a:spLocks/>
          </p:cNvSpPr>
          <p:nvPr/>
        </p:nvSpPr>
        <p:spPr bwMode="auto">
          <a:xfrm>
            <a:off x="2998895" y="5086827"/>
            <a:ext cx="24138" cy="8900"/>
          </a:xfrm>
          <a:custGeom>
            <a:avLst/>
            <a:gdLst>
              <a:gd name="T0" fmla="*/ 0 w 21"/>
              <a:gd name="T1" fmla="*/ 0 h 8"/>
              <a:gd name="T2" fmla="*/ 0 w 21"/>
              <a:gd name="T3" fmla="*/ 0 h 8"/>
              <a:gd name="T4" fmla="*/ 2 w 21"/>
              <a:gd name="T5" fmla="*/ 7 h 8"/>
              <a:gd name="T6" fmla="*/ 20 w 21"/>
              <a:gd name="T7" fmla="*/ 4 h 8"/>
              <a:gd name="T8" fmla="*/ 0 w 21"/>
              <a:gd name="T9" fmla="*/ 0 h 8"/>
              <a:gd name="T10" fmla="*/ 0 w 21"/>
              <a:gd name="T11" fmla="*/ 0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1"/>
              <a:gd name="T19" fmla="*/ 0 h 8"/>
              <a:gd name="T20" fmla="*/ 21 w 21"/>
              <a:gd name="T21" fmla="*/ 8 h 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" h="8">
                <a:moveTo>
                  <a:pt x="0" y="0"/>
                </a:moveTo>
                <a:lnTo>
                  <a:pt x="0" y="0"/>
                </a:lnTo>
                <a:lnTo>
                  <a:pt x="2" y="7"/>
                </a:lnTo>
                <a:lnTo>
                  <a:pt x="20" y="4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8" name="Freeform 705">
            <a:extLst>
              <a:ext uri="{FF2B5EF4-FFF2-40B4-BE49-F238E27FC236}">
                <a16:creationId xmlns:a16="http://schemas.microsoft.com/office/drawing/2014/main" id="{61BB4970-CA67-7BEC-D3B3-9F7334D4506C}"/>
              </a:ext>
            </a:extLst>
          </p:cNvPr>
          <p:cNvSpPr>
            <a:spLocks/>
          </p:cNvSpPr>
          <p:nvPr/>
        </p:nvSpPr>
        <p:spPr bwMode="auto">
          <a:xfrm>
            <a:off x="2902345" y="5702047"/>
            <a:ext cx="310339" cy="535119"/>
          </a:xfrm>
          <a:custGeom>
            <a:avLst/>
            <a:gdLst>
              <a:gd name="T0" fmla="*/ 0 w 270"/>
              <a:gd name="T1" fmla="*/ 444 h 481"/>
              <a:gd name="T2" fmla="*/ 0 w 270"/>
              <a:gd name="T3" fmla="*/ 444 h 481"/>
              <a:gd name="T4" fmla="*/ 3 w 270"/>
              <a:gd name="T5" fmla="*/ 455 h 481"/>
              <a:gd name="T6" fmla="*/ 14 w 270"/>
              <a:gd name="T7" fmla="*/ 451 h 481"/>
              <a:gd name="T8" fmla="*/ 18 w 270"/>
              <a:gd name="T9" fmla="*/ 475 h 481"/>
              <a:gd name="T10" fmla="*/ 68 w 270"/>
              <a:gd name="T11" fmla="*/ 480 h 481"/>
              <a:gd name="T12" fmla="*/ 54 w 270"/>
              <a:gd name="T13" fmla="*/ 468 h 481"/>
              <a:gd name="T14" fmla="*/ 64 w 270"/>
              <a:gd name="T15" fmla="*/ 435 h 481"/>
              <a:gd name="T16" fmla="*/ 74 w 270"/>
              <a:gd name="T17" fmla="*/ 442 h 481"/>
              <a:gd name="T18" fmla="*/ 105 w 270"/>
              <a:gd name="T19" fmla="*/ 396 h 481"/>
              <a:gd name="T20" fmla="*/ 81 w 270"/>
              <a:gd name="T21" fmla="*/ 370 h 481"/>
              <a:gd name="T22" fmla="*/ 108 w 270"/>
              <a:gd name="T23" fmla="*/ 354 h 481"/>
              <a:gd name="T24" fmla="*/ 112 w 270"/>
              <a:gd name="T25" fmla="*/ 331 h 481"/>
              <a:gd name="T26" fmla="*/ 124 w 270"/>
              <a:gd name="T27" fmla="*/ 320 h 481"/>
              <a:gd name="T28" fmla="*/ 113 w 270"/>
              <a:gd name="T29" fmla="*/ 316 h 481"/>
              <a:gd name="T30" fmla="*/ 134 w 270"/>
              <a:gd name="T31" fmla="*/ 316 h 481"/>
              <a:gd name="T32" fmla="*/ 131 w 270"/>
              <a:gd name="T33" fmla="*/ 305 h 481"/>
              <a:gd name="T34" fmla="*/ 122 w 270"/>
              <a:gd name="T35" fmla="*/ 312 h 481"/>
              <a:gd name="T36" fmla="*/ 113 w 270"/>
              <a:gd name="T37" fmla="*/ 304 h 481"/>
              <a:gd name="T38" fmla="*/ 112 w 270"/>
              <a:gd name="T39" fmla="*/ 287 h 481"/>
              <a:gd name="T40" fmla="*/ 149 w 270"/>
              <a:gd name="T41" fmla="*/ 288 h 481"/>
              <a:gd name="T42" fmla="*/ 152 w 270"/>
              <a:gd name="T43" fmla="*/ 253 h 481"/>
              <a:gd name="T44" fmla="*/ 210 w 270"/>
              <a:gd name="T45" fmla="*/ 247 h 481"/>
              <a:gd name="T46" fmla="*/ 227 w 270"/>
              <a:gd name="T47" fmla="*/ 223 h 481"/>
              <a:gd name="T48" fmla="*/ 204 w 270"/>
              <a:gd name="T49" fmla="*/ 178 h 481"/>
              <a:gd name="T50" fmla="*/ 216 w 270"/>
              <a:gd name="T51" fmla="*/ 122 h 481"/>
              <a:gd name="T52" fmla="*/ 269 w 270"/>
              <a:gd name="T53" fmla="*/ 76 h 481"/>
              <a:gd name="T54" fmla="*/ 267 w 270"/>
              <a:gd name="T55" fmla="*/ 55 h 481"/>
              <a:gd name="T56" fmla="*/ 256 w 270"/>
              <a:gd name="T57" fmla="*/ 55 h 481"/>
              <a:gd name="T58" fmla="*/ 242 w 270"/>
              <a:gd name="T59" fmla="*/ 79 h 481"/>
              <a:gd name="T60" fmla="*/ 205 w 270"/>
              <a:gd name="T61" fmla="*/ 78 h 481"/>
              <a:gd name="T62" fmla="*/ 213 w 270"/>
              <a:gd name="T63" fmla="*/ 50 h 481"/>
              <a:gd name="T64" fmla="*/ 147 w 270"/>
              <a:gd name="T65" fmla="*/ 7 h 481"/>
              <a:gd name="T66" fmla="*/ 125 w 270"/>
              <a:gd name="T67" fmla="*/ 3 h 481"/>
              <a:gd name="T68" fmla="*/ 123 w 270"/>
              <a:gd name="T69" fmla="*/ 12 h 481"/>
              <a:gd name="T70" fmla="*/ 98 w 270"/>
              <a:gd name="T71" fmla="*/ 0 h 481"/>
              <a:gd name="T72" fmla="*/ 84 w 270"/>
              <a:gd name="T73" fmla="*/ 15 h 481"/>
              <a:gd name="T74" fmla="*/ 82 w 270"/>
              <a:gd name="T75" fmla="*/ 32 h 481"/>
              <a:gd name="T76" fmla="*/ 67 w 270"/>
              <a:gd name="T77" fmla="*/ 39 h 481"/>
              <a:gd name="T78" fmla="*/ 68 w 270"/>
              <a:gd name="T79" fmla="*/ 73 h 481"/>
              <a:gd name="T80" fmla="*/ 51 w 270"/>
              <a:gd name="T81" fmla="*/ 91 h 481"/>
              <a:gd name="T82" fmla="*/ 39 w 270"/>
              <a:gd name="T83" fmla="*/ 138 h 481"/>
              <a:gd name="T84" fmla="*/ 48 w 270"/>
              <a:gd name="T85" fmla="*/ 182 h 481"/>
              <a:gd name="T86" fmla="*/ 31 w 270"/>
              <a:gd name="T87" fmla="*/ 220 h 481"/>
              <a:gd name="T88" fmla="*/ 18 w 270"/>
              <a:gd name="T89" fmla="*/ 313 h 481"/>
              <a:gd name="T90" fmla="*/ 28 w 270"/>
              <a:gd name="T91" fmla="*/ 348 h 481"/>
              <a:gd name="T92" fmla="*/ 19 w 270"/>
              <a:gd name="T93" fmla="*/ 351 h 481"/>
              <a:gd name="T94" fmla="*/ 23 w 270"/>
              <a:gd name="T95" fmla="*/ 381 h 481"/>
              <a:gd name="T96" fmla="*/ 0 w 270"/>
              <a:gd name="T97" fmla="*/ 444 h 481"/>
              <a:gd name="T98" fmla="*/ 0 w 270"/>
              <a:gd name="T99" fmla="*/ 444 h 48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70"/>
              <a:gd name="T151" fmla="*/ 0 h 481"/>
              <a:gd name="T152" fmla="*/ 270 w 270"/>
              <a:gd name="T153" fmla="*/ 481 h 481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70" h="481">
                <a:moveTo>
                  <a:pt x="0" y="444"/>
                </a:moveTo>
                <a:lnTo>
                  <a:pt x="0" y="444"/>
                </a:lnTo>
                <a:lnTo>
                  <a:pt x="3" y="455"/>
                </a:lnTo>
                <a:lnTo>
                  <a:pt x="14" y="451"/>
                </a:lnTo>
                <a:lnTo>
                  <a:pt x="18" y="475"/>
                </a:lnTo>
                <a:lnTo>
                  <a:pt x="68" y="480"/>
                </a:lnTo>
                <a:lnTo>
                  <a:pt x="54" y="468"/>
                </a:lnTo>
                <a:lnTo>
                  <a:pt x="64" y="435"/>
                </a:lnTo>
                <a:lnTo>
                  <a:pt x="74" y="442"/>
                </a:lnTo>
                <a:lnTo>
                  <a:pt x="105" y="396"/>
                </a:lnTo>
                <a:lnTo>
                  <a:pt x="81" y="370"/>
                </a:lnTo>
                <a:lnTo>
                  <a:pt x="108" y="354"/>
                </a:lnTo>
                <a:lnTo>
                  <a:pt x="112" y="331"/>
                </a:lnTo>
                <a:lnTo>
                  <a:pt x="124" y="320"/>
                </a:lnTo>
                <a:lnTo>
                  <a:pt x="113" y="316"/>
                </a:lnTo>
                <a:lnTo>
                  <a:pt x="134" y="316"/>
                </a:lnTo>
                <a:lnTo>
                  <a:pt x="131" y="305"/>
                </a:lnTo>
                <a:lnTo>
                  <a:pt x="122" y="312"/>
                </a:lnTo>
                <a:lnTo>
                  <a:pt x="113" y="304"/>
                </a:lnTo>
                <a:lnTo>
                  <a:pt x="112" y="287"/>
                </a:lnTo>
                <a:lnTo>
                  <a:pt x="149" y="288"/>
                </a:lnTo>
                <a:lnTo>
                  <a:pt x="152" y="253"/>
                </a:lnTo>
                <a:lnTo>
                  <a:pt x="210" y="247"/>
                </a:lnTo>
                <a:lnTo>
                  <a:pt x="227" y="223"/>
                </a:lnTo>
                <a:lnTo>
                  <a:pt x="204" y="178"/>
                </a:lnTo>
                <a:lnTo>
                  <a:pt x="216" y="122"/>
                </a:lnTo>
                <a:lnTo>
                  <a:pt x="269" y="76"/>
                </a:lnTo>
                <a:lnTo>
                  <a:pt x="267" y="55"/>
                </a:lnTo>
                <a:lnTo>
                  <a:pt x="256" y="55"/>
                </a:lnTo>
                <a:lnTo>
                  <a:pt x="242" y="79"/>
                </a:lnTo>
                <a:lnTo>
                  <a:pt x="205" y="78"/>
                </a:lnTo>
                <a:lnTo>
                  <a:pt x="213" y="50"/>
                </a:lnTo>
                <a:lnTo>
                  <a:pt x="147" y="7"/>
                </a:lnTo>
                <a:lnTo>
                  <a:pt x="125" y="3"/>
                </a:lnTo>
                <a:lnTo>
                  <a:pt x="123" y="12"/>
                </a:lnTo>
                <a:lnTo>
                  <a:pt x="98" y="0"/>
                </a:lnTo>
                <a:lnTo>
                  <a:pt x="84" y="15"/>
                </a:lnTo>
                <a:lnTo>
                  <a:pt x="82" y="32"/>
                </a:lnTo>
                <a:lnTo>
                  <a:pt x="67" y="39"/>
                </a:lnTo>
                <a:lnTo>
                  <a:pt x="68" y="73"/>
                </a:lnTo>
                <a:lnTo>
                  <a:pt x="51" y="91"/>
                </a:lnTo>
                <a:lnTo>
                  <a:pt x="39" y="138"/>
                </a:lnTo>
                <a:lnTo>
                  <a:pt x="48" y="182"/>
                </a:lnTo>
                <a:lnTo>
                  <a:pt x="31" y="220"/>
                </a:lnTo>
                <a:lnTo>
                  <a:pt x="18" y="313"/>
                </a:lnTo>
                <a:lnTo>
                  <a:pt x="28" y="348"/>
                </a:lnTo>
                <a:lnTo>
                  <a:pt x="19" y="351"/>
                </a:lnTo>
                <a:lnTo>
                  <a:pt x="23" y="381"/>
                </a:lnTo>
                <a:lnTo>
                  <a:pt x="0" y="44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9" name="Freeform 706">
            <a:extLst>
              <a:ext uri="{FF2B5EF4-FFF2-40B4-BE49-F238E27FC236}">
                <a16:creationId xmlns:a16="http://schemas.microsoft.com/office/drawing/2014/main" id="{F19A3172-148F-4463-B2F4-FA087F681706}"/>
              </a:ext>
            </a:extLst>
          </p:cNvPr>
          <p:cNvSpPr>
            <a:spLocks/>
          </p:cNvSpPr>
          <p:nvPr/>
        </p:nvSpPr>
        <p:spPr bwMode="auto">
          <a:xfrm>
            <a:off x="2975907" y="6244953"/>
            <a:ext cx="56321" cy="46726"/>
          </a:xfrm>
          <a:custGeom>
            <a:avLst/>
            <a:gdLst>
              <a:gd name="T0" fmla="*/ 0 w 49"/>
              <a:gd name="T1" fmla="*/ 0 h 42"/>
              <a:gd name="T2" fmla="*/ 0 w 49"/>
              <a:gd name="T3" fmla="*/ 0 h 42"/>
              <a:gd name="T4" fmla="*/ 2 w 49"/>
              <a:gd name="T5" fmla="*/ 41 h 42"/>
              <a:gd name="T6" fmla="*/ 48 w 49"/>
              <a:gd name="T7" fmla="*/ 37 h 42"/>
              <a:gd name="T8" fmla="*/ 11 w 49"/>
              <a:gd name="T9" fmla="*/ 20 h 42"/>
              <a:gd name="T10" fmla="*/ 0 w 49"/>
              <a:gd name="T11" fmla="*/ 0 h 42"/>
              <a:gd name="T12" fmla="*/ 0 w 49"/>
              <a:gd name="T13" fmla="*/ 0 h 4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9"/>
              <a:gd name="T22" fmla="*/ 0 h 42"/>
              <a:gd name="T23" fmla="*/ 49 w 49"/>
              <a:gd name="T24" fmla="*/ 42 h 4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9" h="42">
                <a:moveTo>
                  <a:pt x="0" y="0"/>
                </a:moveTo>
                <a:lnTo>
                  <a:pt x="0" y="0"/>
                </a:lnTo>
                <a:lnTo>
                  <a:pt x="2" y="41"/>
                </a:lnTo>
                <a:lnTo>
                  <a:pt x="48" y="37"/>
                </a:lnTo>
                <a:lnTo>
                  <a:pt x="11" y="20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0" name="Freeform 707">
            <a:extLst>
              <a:ext uri="{FF2B5EF4-FFF2-40B4-BE49-F238E27FC236}">
                <a16:creationId xmlns:a16="http://schemas.microsoft.com/office/drawing/2014/main" id="{A28D9523-4D0E-E88E-276F-E6EEBA745F61}"/>
              </a:ext>
            </a:extLst>
          </p:cNvPr>
          <p:cNvSpPr>
            <a:spLocks/>
          </p:cNvSpPr>
          <p:nvPr/>
        </p:nvSpPr>
        <p:spPr bwMode="auto">
          <a:xfrm>
            <a:off x="2959815" y="5514032"/>
            <a:ext cx="189652" cy="205815"/>
          </a:xfrm>
          <a:custGeom>
            <a:avLst/>
            <a:gdLst>
              <a:gd name="T0" fmla="*/ 0 w 165"/>
              <a:gd name="T1" fmla="*/ 18 h 185"/>
              <a:gd name="T2" fmla="*/ 0 w 165"/>
              <a:gd name="T3" fmla="*/ 18 h 185"/>
              <a:gd name="T4" fmla="*/ 13 w 165"/>
              <a:gd name="T5" fmla="*/ 38 h 185"/>
              <a:gd name="T6" fmla="*/ 4 w 165"/>
              <a:gd name="T7" fmla="*/ 80 h 185"/>
              <a:gd name="T8" fmla="*/ 13 w 165"/>
              <a:gd name="T9" fmla="*/ 84 h 185"/>
              <a:gd name="T10" fmla="*/ 9 w 165"/>
              <a:gd name="T11" fmla="*/ 91 h 185"/>
              <a:gd name="T12" fmla="*/ 1 w 165"/>
              <a:gd name="T13" fmla="*/ 108 h 185"/>
              <a:gd name="T14" fmla="*/ 16 w 165"/>
              <a:gd name="T15" fmla="*/ 133 h 185"/>
              <a:gd name="T16" fmla="*/ 24 w 165"/>
              <a:gd name="T17" fmla="*/ 183 h 185"/>
              <a:gd name="T18" fmla="*/ 34 w 165"/>
              <a:gd name="T19" fmla="*/ 184 h 185"/>
              <a:gd name="T20" fmla="*/ 48 w 165"/>
              <a:gd name="T21" fmla="*/ 169 h 185"/>
              <a:gd name="T22" fmla="*/ 73 w 165"/>
              <a:gd name="T23" fmla="*/ 181 h 185"/>
              <a:gd name="T24" fmla="*/ 75 w 165"/>
              <a:gd name="T25" fmla="*/ 172 h 185"/>
              <a:gd name="T26" fmla="*/ 97 w 165"/>
              <a:gd name="T27" fmla="*/ 176 h 185"/>
              <a:gd name="T28" fmla="*/ 106 w 165"/>
              <a:gd name="T29" fmla="*/ 139 h 185"/>
              <a:gd name="T30" fmla="*/ 145 w 165"/>
              <a:gd name="T31" fmla="*/ 133 h 185"/>
              <a:gd name="T32" fmla="*/ 159 w 165"/>
              <a:gd name="T33" fmla="*/ 145 h 185"/>
              <a:gd name="T34" fmla="*/ 164 w 165"/>
              <a:gd name="T35" fmla="*/ 117 h 185"/>
              <a:gd name="T36" fmla="*/ 155 w 165"/>
              <a:gd name="T37" fmla="*/ 93 h 185"/>
              <a:gd name="T38" fmla="*/ 132 w 165"/>
              <a:gd name="T39" fmla="*/ 91 h 185"/>
              <a:gd name="T40" fmla="*/ 122 w 165"/>
              <a:gd name="T41" fmla="*/ 55 h 185"/>
              <a:gd name="T42" fmla="*/ 62 w 165"/>
              <a:gd name="T43" fmla="*/ 31 h 185"/>
              <a:gd name="T44" fmla="*/ 58 w 165"/>
              <a:gd name="T45" fmla="*/ 0 h 185"/>
              <a:gd name="T46" fmla="*/ 17 w 165"/>
              <a:gd name="T47" fmla="*/ 19 h 185"/>
              <a:gd name="T48" fmla="*/ 0 w 165"/>
              <a:gd name="T49" fmla="*/ 18 h 185"/>
              <a:gd name="T50" fmla="*/ 0 w 165"/>
              <a:gd name="T51" fmla="*/ 18 h 185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65"/>
              <a:gd name="T79" fmla="*/ 0 h 185"/>
              <a:gd name="T80" fmla="*/ 165 w 165"/>
              <a:gd name="T81" fmla="*/ 185 h 185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65" h="185">
                <a:moveTo>
                  <a:pt x="0" y="18"/>
                </a:moveTo>
                <a:lnTo>
                  <a:pt x="0" y="18"/>
                </a:lnTo>
                <a:lnTo>
                  <a:pt x="13" y="38"/>
                </a:lnTo>
                <a:lnTo>
                  <a:pt x="4" y="80"/>
                </a:lnTo>
                <a:lnTo>
                  <a:pt x="13" y="84"/>
                </a:lnTo>
                <a:lnTo>
                  <a:pt x="9" y="91"/>
                </a:lnTo>
                <a:lnTo>
                  <a:pt x="1" y="108"/>
                </a:lnTo>
                <a:lnTo>
                  <a:pt x="16" y="133"/>
                </a:lnTo>
                <a:lnTo>
                  <a:pt x="24" y="183"/>
                </a:lnTo>
                <a:lnTo>
                  <a:pt x="34" y="184"/>
                </a:lnTo>
                <a:lnTo>
                  <a:pt x="48" y="169"/>
                </a:lnTo>
                <a:lnTo>
                  <a:pt x="73" y="181"/>
                </a:lnTo>
                <a:lnTo>
                  <a:pt x="75" y="172"/>
                </a:lnTo>
                <a:lnTo>
                  <a:pt x="97" y="176"/>
                </a:lnTo>
                <a:lnTo>
                  <a:pt x="106" y="139"/>
                </a:lnTo>
                <a:lnTo>
                  <a:pt x="145" y="133"/>
                </a:lnTo>
                <a:lnTo>
                  <a:pt x="159" y="145"/>
                </a:lnTo>
                <a:lnTo>
                  <a:pt x="164" y="117"/>
                </a:lnTo>
                <a:lnTo>
                  <a:pt x="155" y="93"/>
                </a:lnTo>
                <a:lnTo>
                  <a:pt x="132" y="91"/>
                </a:lnTo>
                <a:lnTo>
                  <a:pt x="122" y="55"/>
                </a:lnTo>
                <a:lnTo>
                  <a:pt x="62" y="31"/>
                </a:lnTo>
                <a:lnTo>
                  <a:pt x="58" y="0"/>
                </a:lnTo>
                <a:lnTo>
                  <a:pt x="17" y="19"/>
                </a:lnTo>
                <a:lnTo>
                  <a:pt x="0" y="1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1" name="Freeform 708">
            <a:extLst>
              <a:ext uri="{FF2B5EF4-FFF2-40B4-BE49-F238E27FC236}">
                <a16:creationId xmlns:a16="http://schemas.microsoft.com/office/drawing/2014/main" id="{C092DCF7-0E92-BB00-D764-A6257FD35504}"/>
              </a:ext>
            </a:extLst>
          </p:cNvPr>
          <p:cNvSpPr>
            <a:spLocks/>
          </p:cNvSpPr>
          <p:nvPr/>
        </p:nvSpPr>
        <p:spPr bwMode="auto">
          <a:xfrm>
            <a:off x="2895449" y="5291529"/>
            <a:ext cx="612633" cy="605207"/>
          </a:xfrm>
          <a:custGeom>
            <a:avLst/>
            <a:gdLst>
              <a:gd name="T0" fmla="*/ 0 w 533"/>
              <a:gd name="T1" fmla="*/ 172 h 544"/>
              <a:gd name="T2" fmla="*/ 30 w 533"/>
              <a:gd name="T3" fmla="*/ 205 h 544"/>
              <a:gd name="T4" fmla="*/ 45 w 533"/>
              <a:gd name="T5" fmla="*/ 218 h 544"/>
              <a:gd name="T6" fmla="*/ 73 w 533"/>
              <a:gd name="T7" fmla="*/ 219 h 544"/>
              <a:gd name="T8" fmla="*/ 118 w 533"/>
              <a:gd name="T9" fmla="*/ 231 h 544"/>
              <a:gd name="T10" fmla="*/ 188 w 533"/>
              <a:gd name="T11" fmla="*/ 291 h 544"/>
              <a:gd name="T12" fmla="*/ 220 w 533"/>
              <a:gd name="T13" fmla="*/ 317 h 544"/>
              <a:gd name="T14" fmla="*/ 218 w 533"/>
              <a:gd name="T15" fmla="*/ 372 h 544"/>
              <a:gd name="T16" fmla="*/ 250 w 533"/>
              <a:gd name="T17" fmla="*/ 396 h 544"/>
              <a:gd name="T18" fmla="*/ 262 w 533"/>
              <a:gd name="T19" fmla="*/ 424 h 544"/>
              <a:gd name="T20" fmla="*/ 275 w 533"/>
              <a:gd name="T21" fmla="*/ 445 h 544"/>
              <a:gd name="T22" fmla="*/ 232 w 533"/>
              <a:gd name="T23" fmla="*/ 488 h 544"/>
              <a:gd name="T24" fmla="*/ 281 w 533"/>
              <a:gd name="T25" fmla="*/ 529 h 544"/>
              <a:gd name="T26" fmla="*/ 343 w 533"/>
              <a:gd name="T27" fmla="*/ 462 h 544"/>
              <a:gd name="T28" fmla="*/ 399 w 533"/>
              <a:gd name="T29" fmla="*/ 384 h 544"/>
              <a:gd name="T30" fmla="*/ 445 w 533"/>
              <a:gd name="T31" fmla="*/ 371 h 544"/>
              <a:gd name="T32" fmla="*/ 475 w 533"/>
              <a:gd name="T33" fmla="*/ 249 h 544"/>
              <a:gd name="T34" fmla="*/ 532 w 533"/>
              <a:gd name="T35" fmla="*/ 166 h 544"/>
              <a:gd name="T36" fmla="*/ 502 w 533"/>
              <a:gd name="T37" fmla="*/ 137 h 544"/>
              <a:gd name="T38" fmla="*/ 401 w 533"/>
              <a:gd name="T39" fmla="*/ 106 h 544"/>
              <a:gd name="T40" fmla="*/ 365 w 533"/>
              <a:gd name="T41" fmla="*/ 78 h 544"/>
              <a:gd name="T42" fmla="*/ 334 w 533"/>
              <a:gd name="T43" fmla="*/ 102 h 544"/>
              <a:gd name="T44" fmla="*/ 305 w 533"/>
              <a:gd name="T45" fmla="*/ 98 h 544"/>
              <a:gd name="T46" fmla="*/ 306 w 533"/>
              <a:gd name="T47" fmla="*/ 75 h 544"/>
              <a:gd name="T48" fmla="*/ 305 w 533"/>
              <a:gd name="T49" fmla="*/ 15 h 544"/>
              <a:gd name="T50" fmla="*/ 265 w 533"/>
              <a:gd name="T51" fmla="*/ 39 h 544"/>
              <a:gd name="T52" fmla="*/ 198 w 533"/>
              <a:gd name="T53" fmla="*/ 49 h 544"/>
              <a:gd name="T54" fmla="*/ 194 w 533"/>
              <a:gd name="T55" fmla="*/ 9 h 544"/>
              <a:gd name="T56" fmla="*/ 147 w 533"/>
              <a:gd name="T57" fmla="*/ 16 h 544"/>
              <a:gd name="T58" fmla="*/ 131 w 533"/>
              <a:gd name="T59" fmla="*/ 37 h 544"/>
              <a:gd name="T60" fmla="*/ 111 w 533"/>
              <a:gd name="T61" fmla="*/ 59 h 544"/>
              <a:gd name="T62" fmla="*/ 87 w 533"/>
              <a:gd name="T63" fmla="*/ 42 h 544"/>
              <a:gd name="T64" fmla="*/ 65 w 533"/>
              <a:gd name="T65" fmla="*/ 61 h 544"/>
              <a:gd name="T66" fmla="*/ 59 w 533"/>
              <a:gd name="T67" fmla="*/ 87 h 544"/>
              <a:gd name="T68" fmla="*/ 19 w 533"/>
              <a:gd name="T69" fmla="*/ 140 h 544"/>
              <a:gd name="T70" fmla="*/ 0 w 533"/>
              <a:gd name="T71" fmla="*/ 172 h 544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533"/>
              <a:gd name="T109" fmla="*/ 0 h 544"/>
              <a:gd name="T110" fmla="*/ 533 w 533"/>
              <a:gd name="T111" fmla="*/ 544 h 544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533" h="544">
                <a:moveTo>
                  <a:pt x="0" y="172"/>
                </a:moveTo>
                <a:lnTo>
                  <a:pt x="0" y="172"/>
                </a:lnTo>
                <a:lnTo>
                  <a:pt x="11" y="197"/>
                </a:lnTo>
                <a:lnTo>
                  <a:pt x="30" y="205"/>
                </a:lnTo>
                <a:lnTo>
                  <a:pt x="45" y="196"/>
                </a:lnTo>
                <a:lnTo>
                  <a:pt x="45" y="218"/>
                </a:lnTo>
                <a:lnTo>
                  <a:pt x="56" y="218"/>
                </a:lnTo>
                <a:lnTo>
                  <a:pt x="73" y="219"/>
                </a:lnTo>
                <a:lnTo>
                  <a:pt x="114" y="200"/>
                </a:lnTo>
                <a:lnTo>
                  <a:pt x="118" y="231"/>
                </a:lnTo>
                <a:lnTo>
                  <a:pt x="178" y="255"/>
                </a:lnTo>
                <a:lnTo>
                  <a:pt x="188" y="291"/>
                </a:lnTo>
                <a:lnTo>
                  <a:pt x="211" y="293"/>
                </a:lnTo>
                <a:lnTo>
                  <a:pt x="220" y="317"/>
                </a:lnTo>
                <a:lnTo>
                  <a:pt x="215" y="345"/>
                </a:lnTo>
                <a:lnTo>
                  <a:pt x="218" y="372"/>
                </a:lnTo>
                <a:lnTo>
                  <a:pt x="246" y="377"/>
                </a:lnTo>
                <a:lnTo>
                  <a:pt x="250" y="396"/>
                </a:lnTo>
                <a:lnTo>
                  <a:pt x="264" y="399"/>
                </a:lnTo>
                <a:lnTo>
                  <a:pt x="262" y="424"/>
                </a:lnTo>
                <a:lnTo>
                  <a:pt x="273" y="424"/>
                </a:lnTo>
                <a:lnTo>
                  <a:pt x="275" y="445"/>
                </a:lnTo>
                <a:lnTo>
                  <a:pt x="222" y="491"/>
                </a:lnTo>
                <a:lnTo>
                  <a:pt x="232" y="488"/>
                </a:lnTo>
                <a:lnTo>
                  <a:pt x="273" y="517"/>
                </a:lnTo>
                <a:lnTo>
                  <a:pt x="281" y="529"/>
                </a:lnTo>
                <a:lnTo>
                  <a:pt x="278" y="543"/>
                </a:lnTo>
                <a:lnTo>
                  <a:pt x="343" y="462"/>
                </a:lnTo>
                <a:lnTo>
                  <a:pt x="347" y="421"/>
                </a:lnTo>
                <a:lnTo>
                  <a:pt x="399" y="384"/>
                </a:lnTo>
                <a:lnTo>
                  <a:pt x="432" y="384"/>
                </a:lnTo>
                <a:lnTo>
                  <a:pt x="445" y="371"/>
                </a:lnTo>
                <a:lnTo>
                  <a:pt x="472" y="310"/>
                </a:lnTo>
                <a:lnTo>
                  <a:pt x="475" y="249"/>
                </a:lnTo>
                <a:lnTo>
                  <a:pt x="527" y="191"/>
                </a:lnTo>
                <a:lnTo>
                  <a:pt x="532" y="166"/>
                </a:lnTo>
                <a:lnTo>
                  <a:pt x="524" y="141"/>
                </a:lnTo>
                <a:lnTo>
                  <a:pt x="502" y="137"/>
                </a:lnTo>
                <a:lnTo>
                  <a:pt x="468" y="111"/>
                </a:lnTo>
                <a:lnTo>
                  <a:pt x="401" y="106"/>
                </a:lnTo>
                <a:lnTo>
                  <a:pt x="395" y="90"/>
                </a:lnTo>
                <a:lnTo>
                  <a:pt x="365" y="78"/>
                </a:lnTo>
                <a:lnTo>
                  <a:pt x="352" y="79"/>
                </a:lnTo>
                <a:lnTo>
                  <a:pt x="334" y="102"/>
                </a:lnTo>
                <a:lnTo>
                  <a:pt x="334" y="94"/>
                </a:lnTo>
                <a:lnTo>
                  <a:pt x="305" y="98"/>
                </a:lnTo>
                <a:lnTo>
                  <a:pt x="317" y="93"/>
                </a:lnTo>
                <a:lnTo>
                  <a:pt x="306" y="75"/>
                </a:lnTo>
                <a:lnTo>
                  <a:pt x="327" y="48"/>
                </a:lnTo>
                <a:lnTo>
                  <a:pt x="305" y="15"/>
                </a:lnTo>
                <a:lnTo>
                  <a:pt x="285" y="41"/>
                </a:lnTo>
                <a:lnTo>
                  <a:pt x="265" y="39"/>
                </a:lnTo>
                <a:lnTo>
                  <a:pt x="237" y="43"/>
                </a:lnTo>
                <a:lnTo>
                  <a:pt x="198" y="49"/>
                </a:lnTo>
                <a:lnTo>
                  <a:pt x="191" y="35"/>
                </a:lnTo>
                <a:lnTo>
                  <a:pt x="194" y="9"/>
                </a:lnTo>
                <a:lnTo>
                  <a:pt x="181" y="0"/>
                </a:lnTo>
                <a:lnTo>
                  <a:pt x="147" y="16"/>
                </a:lnTo>
                <a:lnTo>
                  <a:pt x="124" y="11"/>
                </a:lnTo>
                <a:lnTo>
                  <a:pt x="131" y="37"/>
                </a:lnTo>
                <a:lnTo>
                  <a:pt x="144" y="40"/>
                </a:lnTo>
                <a:lnTo>
                  <a:pt x="111" y="59"/>
                </a:lnTo>
                <a:lnTo>
                  <a:pt x="95" y="52"/>
                </a:lnTo>
                <a:lnTo>
                  <a:pt x="87" y="42"/>
                </a:lnTo>
                <a:lnTo>
                  <a:pt x="55" y="47"/>
                </a:lnTo>
                <a:lnTo>
                  <a:pt x="65" y="61"/>
                </a:lnTo>
                <a:lnTo>
                  <a:pt x="52" y="63"/>
                </a:lnTo>
                <a:lnTo>
                  <a:pt x="59" y="87"/>
                </a:lnTo>
                <a:lnTo>
                  <a:pt x="53" y="126"/>
                </a:lnTo>
                <a:lnTo>
                  <a:pt x="19" y="140"/>
                </a:lnTo>
                <a:lnTo>
                  <a:pt x="0" y="17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2" name="Freeform 709">
            <a:extLst>
              <a:ext uri="{FF2B5EF4-FFF2-40B4-BE49-F238E27FC236}">
                <a16:creationId xmlns:a16="http://schemas.microsoft.com/office/drawing/2014/main" id="{8F468F01-980B-2DAE-5303-6FF9728ADDBA}"/>
              </a:ext>
            </a:extLst>
          </p:cNvPr>
          <p:cNvSpPr>
            <a:spLocks/>
          </p:cNvSpPr>
          <p:nvPr/>
        </p:nvSpPr>
        <p:spPr bwMode="auto">
          <a:xfrm>
            <a:off x="2654074" y="5086827"/>
            <a:ext cx="14942" cy="41163"/>
          </a:xfrm>
          <a:custGeom>
            <a:avLst/>
            <a:gdLst>
              <a:gd name="T0" fmla="*/ 0 w 13"/>
              <a:gd name="T1" fmla="*/ 8 h 37"/>
              <a:gd name="T2" fmla="*/ 0 w 13"/>
              <a:gd name="T3" fmla="*/ 8 h 37"/>
              <a:gd name="T4" fmla="*/ 5 w 13"/>
              <a:gd name="T5" fmla="*/ 36 h 37"/>
              <a:gd name="T6" fmla="*/ 12 w 13"/>
              <a:gd name="T7" fmla="*/ 0 h 37"/>
              <a:gd name="T8" fmla="*/ 0 w 13"/>
              <a:gd name="T9" fmla="*/ 8 h 37"/>
              <a:gd name="T10" fmla="*/ 0 w 13"/>
              <a:gd name="T11" fmla="*/ 8 h 3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3"/>
              <a:gd name="T19" fmla="*/ 0 h 37"/>
              <a:gd name="T20" fmla="*/ 13 w 13"/>
              <a:gd name="T21" fmla="*/ 37 h 3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3" h="37">
                <a:moveTo>
                  <a:pt x="0" y="8"/>
                </a:moveTo>
                <a:lnTo>
                  <a:pt x="0" y="8"/>
                </a:lnTo>
                <a:lnTo>
                  <a:pt x="5" y="36"/>
                </a:lnTo>
                <a:lnTo>
                  <a:pt x="12" y="0"/>
                </a:lnTo>
                <a:lnTo>
                  <a:pt x="0" y="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3" name="Freeform 710">
            <a:extLst>
              <a:ext uri="{FF2B5EF4-FFF2-40B4-BE49-F238E27FC236}">
                <a16:creationId xmlns:a16="http://schemas.microsoft.com/office/drawing/2014/main" id="{9B9E70D4-26C7-8110-DC24-4E92DCBFFE51}"/>
              </a:ext>
            </a:extLst>
          </p:cNvPr>
          <p:cNvSpPr>
            <a:spLocks/>
          </p:cNvSpPr>
          <p:nvPr/>
        </p:nvSpPr>
        <p:spPr bwMode="auto">
          <a:xfrm>
            <a:off x="2867863" y="5634183"/>
            <a:ext cx="132182" cy="635245"/>
          </a:xfrm>
          <a:custGeom>
            <a:avLst/>
            <a:gdLst>
              <a:gd name="T0" fmla="*/ 0 w 115"/>
              <a:gd name="T1" fmla="*/ 445 h 571"/>
              <a:gd name="T2" fmla="*/ 0 w 115"/>
              <a:gd name="T3" fmla="*/ 445 h 571"/>
              <a:gd name="T4" fmla="*/ 9 w 115"/>
              <a:gd name="T5" fmla="*/ 430 h 571"/>
              <a:gd name="T6" fmla="*/ 24 w 115"/>
              <a:gd name="T7" fmla="*/ 441 h 571"/>
              <a:gd name="T8" fmla="*/ 39 w 115"/>
              <a:gd name="T9" fmla="*/ 412 h 571"/>
              <a:gd name="T10" fmla="*/ 33 w 115"/>
              <a:gd name="T11" fmla="*/ 400 h 571"/>
              <a:gd name="T12" fmla="*/ 45 w 115"/>
              <a:gd name="T13" fmla="*/ 360 h 571"/>
              <a:gd name="T14" fmla="*/ 24 w 115"/>
              <a:gd name="T15" fmla="*/ 357 h 571"/>
              <a:gd name="T16" fmla="*/ 27 w 115"/>
              <a:gd name="T17" fmla="*/ 292 h 571"/>
              <a:gd name="T18" fmla="*/ 55 w 115"/>
              <a:gd name="T19" fmla="*/ 224 h 571"/>
              <a:gd name="T20" fmla="*/ 54 w 115"/>
              <a:gd name="T21" fmla="*/ 166 h 571"/>
              <a:gd name="T22" fmla="*/ 74 w 115"/>
              <a:gd name="T23" fmla="*/ 58 h 571"/>
              <a:gd name="T24" fmla="*/ 68 w 115"/>
              <a:gd name="T25" fmla="*/ 9 h 571"/>
              <a:gd name="T26" fmla="*/ 81 w 115"/>
              <a:gd name="T27" fmla="*/ 0 h 571"/>
              <a:gd name="T28" fmla="*/ 96 w 115"/>
              <a:gd name="T29" fmla="*/ 25 h 571"/>
              <a:gd name="T30" fmla="*/ 104 w 115"/>
              <a:gd name="T31" fmla="*/ 75 h 571"/>
              <a:gd name="T32" fmla="*/ 114 w 115"/>
              <a:gd name="T33" fmla="*/ 76 h 571"/>
              <a:gd name="T34" fmla="*/ 112 w 115"/>
              <a:gd name="T35" fmla="*/ 93 h 571"/>
              <a:gd name="T36" fmla="*/ 97 w 115"/>
              <a:gd name="T37" fmla="*/ 100 h 571"/>
              <a:gd name="T38" fmla="*/ 98 w 115"/>
              <a:gd name="T39" fmla="*/ 134 h 571"/>
              <a:gd name="T40" fmla="*/ 81 w 115"/>
              <a:gd name="T41" fmla="*/ 152 h 571"/>
              <a:gd name="T42" fmla="*/ 69 w 115"/>
              <a:gd name="T43" fmla="*/ 199 h 571"/>
              <a:gd name="T44" fmla="*/ 78 w 115"/>
              <a:gd name="T45" fmla="*/ 243 h 571"/>
              <a:gd name="T46" fmla="*/ 61 w 115"/>
              <a:gd name="T47" fmla="*/ 281 h 571"/>
              <a:gd name="T48" fmla="*/ 48 w 115"/>
              <a:gd name="T49" fmla="*/ 374 h 571"/>
              <a:gd name="T50" fmla="*/ 58 w 115"/>
              <a:gd name="T51" fmla="*/ 409 h 571"/>
              <a:gd name="T52" fmla="*/ 49 w 115"/>
              <a:gd name="T53" fmla="*/ 412 h 571"/>
              <a:gd name="T54" fmla="*/ 53 w 115"/>
              <a:gd name="T55" fmla="*/ 442 h 571"/>
              <a:gd name="T56" fmla="*/ 30 w 115"/>
              <a:gd name="T57" fmla="*/ 505 h 571"/>
              <a:gd name="T58" fmla="*/ 33 w 115"/>
              <a:gd name="T59" fmla="*/ 516 h 571"/>
              <a:gd name="T60" fmla="*/ 44 w 115"/>
              <a:gd name="T61" fmla="*/ 512 h 571"/>
              <a:gd name="T62" fmla="*/ 48 w 115"/>
              <a:gd name="T63" fmla="*/ 536 h 571"/>
              <a:gd name="T64" fmla="*/ 98 w 115"/>
              <a:gd name="T65" fmla="*/ 541 h 571"/>
              <a:gd name="T66" fmla="*/ 65 w 115"/>
              <a:gd name="T67" fmla="*/ 551 h 571"/>
              <a:gd name="T68" fmla="*/ 61 w 115"/>
              <a:gd name="T69" fmla="*/ 570 h 571"/>
              <a:gd name="T70" fmla="*/ 46 w 115"/>
              <a:gd name="T71" fmla="*/ 565 h 571"/>
              <a:gd name="T72" fmla="*/ 62 w 115"/>
              <a:gd name="T73" fmla="*/ 553 h 571"/>
              <a:gd name="T74" fmla="*/ 38 w 115"/>
              <a:gd name="T75" fmla="*/ 548 h 571"/>
              <a:gd name="T76" fmla="*/ 35 w 115"/>
              <a:gd name="T77" fmla="*/ 527 h 571"/>
              <a:gd name="T78" fmla="*/ 29 w 115"/>
              <a:gd name="T79" fmla="*/ 537 h 571"/>
              <a:gd name="T80" fmla="*/ 20 w 115"/>
              <a:gd name="T81" fmla="*/ 518 h 571"/>
              <a:gd name="T82" fmla="*/ 25 w 115"/>
              <a:gd name="T83" fmla="*/ 513 h 571"/>
              <a:gd name="T84" fmla="*/ 14 w 115"/>
              <a:gd name="T85" fmla="*/ 504 h 571"/>
              <a:gd name="T86" fmla="*/ 24 w 115"/>
              <a:gd name="T87" fmla="*/ 494 h 571"/>
              <a:gd name="T88" fmla="*/ 15 w 115"/>
              <a:gd name="T89" fmla="*/ 466 h 571"/>
              <a:gd name="T90" fmla="*/ 32 w 115"/>
              <a:gd name="T91" fmla="*/ 469 h 571"/>
              <a:gd name="T92" fmla="*/ 15 w 115"/>
              <a:gd name="T93" fmla="*/ 455 h 571"/>
              <a:gd name="T94" fmla="*/ 19 w 115"/>
              <a:gd name="T95" fmla="*/ 444 h 571"/>
              <a:gd name="T96" fmla="*/ 0 w 115"/>
              <a:gd name="T97" fmla="*/ 445 h 571"/>
              <a:gd name="T98" fmla="*/ 0 w 115"/>
              <a:gd name="T99" fmla="*/ 445 h 57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15"/>
              <a:gd name="T151" fmla="*/ 0 h 571"/>
              <a:gd name="T152" fmla="*/ 115 w 115"/>
              <a:gd name="T153" fmla="*/ 571 h 571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15" h="571">
                <a:moveTo>
                  <a:pt x="0" y="445"/>
                </a:moveTo>
                <a:lnTo>
                  <a:pt x="0" y="445"/>
                </a:lnTo>
                <a:lnTo>
                  <a:pt x="9" y="430"/>
                </a:lnTo>
                <a:lnTo>
                  <a:pt x="24" y="441"/>
                </a:lnTo>
                <a:lnTo>
                  <a:pt x="39" y="412"/>
                </a:lnTo>
                <a:lnTo>
                  <a:pt x="33" y="400"/>
                </a:lnTo>
                <a:lnTo>
                  <a:pt x="45" y="360"/>
                </a:lnTo>
                <a:lnTo>
                  <a:pt x="24" y="357"/>
                </a:lnTo>
                <a:lnTo>
                  <a:pt x="27" y="292"/>
                </a:lnTo>
                <a:lnTo>
                  <a:pt x="55" y="224"/>
                </a:lnTo>
                <a:lnTo>
                  <a:pt x="54" y="166"/>
                </a:lnTo>
                <a:lnTo>
                  <a:pt x="74" y="58"/>
                </a:lnTo>
                <a:lnTo>
                  <a:pt x="68" y="9"/>
                </a:lnTo>
                <a:lnTo>
                  <a:pt x="81" y="0"/>
                </a:lnTo>
                <a:lnTo>
                  <a:pt x="96" y="25"/>
                </a:lnTo>
                <a:lnTo>
                  <a:pt x="104" y="75"/>
                </a:lnTo>
                <a:lnTo>
                  <a:pt x="114" y="76"/>
                </a:lnTo>
                <a:lnTo>
                  <a:pt x="112" y="93"/>
                </a:lnTo>
                <a:lnTo>
                  <a:pt x="97" y="100"/>
                </a:lnTo>
                <a:lnTo>
                  <a:pt x="98" y="134"/>
                </a:lnTo>
                <a:lnTo>
                  <a:pt x="81" y="152"/>
                </a:lnTo>
                <a:lnTo>
                  <a:pt x="69" y="199"/>
                </a:lnTo>
                <a:lnTo>
                  <a:pt x="78" y="243"/>
                </a:lnTo>
                <a:lnTo>
                  <a:pt x="61" y="281"/>
                </a:lnTo>
                <a:lnTo>
                  <a:pt x="48" y="374"/>
                </a:lnTo>
                <a:lnTo>
                  <a:pt x="58" y="409"/>
                </a:lnTo>
                <a:lnTo>
                  <a:pt x="49" y="412"/>
                </a:lnTo>
                <a:lnTo>
                  <a:pt x="53" y="442"/>
                </a:lnTo>
                <a:lnTo>
                  <a:pt x="30" y="505"/>
                </a:lnTo>
                <a:lnTo>
                  <a:pt x="33" y="516"/>
                </a:lnTo>
                <a:lnTo>
                  <a:pt x="44" y="512"/>
                </a:lnTo>
                <a:lnTo>
                  <a:pt x="48" y="536"/>
                </a:lnTo>
                <a:lnTo>
                  <a:pt x="98" y="541"/>
                </a:lnTo>
                <a:lnTo>
                  <a:pt x="65" y="551"/>
                </a:lnTo>
                <a:lnTo>
                  <a:pt x="61" y="570"/>
                </a:lnTo>
                <a:lnTo>
                  <a:pt x="46" y="565"/>
                </a:lnTo>
                <a:lnTo>
                  <a:pt x="62" y="553"/>
                </a:lnTo>
                <a:lnTo>
                  <a:pt x="38" y="548"/>
                </a:lnTo>
                <a:lnTo>
                  <a:pt x="35" y="527"/>
                </a:lnTo>
                <a:lnTo>
                  <a:pt x="29" y="537"/>
                </a:lnTo>
                <a:lnTo>
                  <a:pt x="20" y="518"/>
                </a:lnTo>
                <a:lnTo>
                  <a:pt x="25" y="513"/>
                </a:lnTo>
                <a:lnTo>
                  <a:pt x="14" y="504"/>
                </a:lnTo>
                <a:lnTo>
                  <a:pt x="24" y="494"/>
                </a:lnTo>
                <a:lnTo>
                  <a:pt x="15" y="466"/>
                </a:lnTo>
                <a:lnTo>
                  <a:pt x="32" y="469"/>
                </a:lnTo>
                <a:lnTo>
                  <a:pt x="15" y="455"/>
                </a:lnTo>
                <a:lnTo>
                  <a:pt x="19" y="444"/>
                </a:lnTo>
                <a:lnTo>
                  <a:pt x="0" y="44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4" name="Freeform 711">
            <a:extLst>
              <a:ext uri="{FF2B5EF4-FFF2-40B4-BE49-F238E27FC236}">
                <a16:creationId xmlns:a16="http://schemas.microsoft.com/office/drawing/2014/main" id="{E7F19B09-81BF-CF02-0D85-41CD8FC2A1F5}"/>
              </a:ext>
            </a:extLst>
          </p:cNvPr>
          <p:cNvSpPr>
            <a:spLocks/>
          </p:cNvSpPr>
          <p:nvPr/>
        </p:nvSpPr>
        <p:spPr bwMode="auto">
          <a:xfrm>
            <a:off x="2874759" y="6165965"/>
            <a:ext cx="11494" cy="24476"/>
          </a:xfrm>
          <a:custGeom>
            <a:avLst/>
            <a:gdLst>
              <a:gd name="T0" fmla="*/ 0 w 10"/>
              <a:gd name="T1" fmla="*/ 9 h 22"/>
              <a:gd name="T2" fmla="*/ 0 w 10"/>
              <a:gd name="T3" fmla="*/ 9 h 22"/>
              <a:gd name="T4" fmla="*/ 4 w 10"/>
              <a:gd name="T5" fmla="*/ 0 h 22"/>
              <a:gd name="T6" fmla="*/ 9 w 10"/>
              <a:gd name="T7" fmla="*/ 21 h 22"/>
              <a:gd name="T8" fmla="*/ 0 w 10"/>
              <a:gd name="T9" fmla="*/ 9 h 22"/>
              <a:gd name="T10" fmla="*/ 0 w 10"/>
              <a:gd name="T11" fmla="*/ 9 h 2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"/>
              <a:gd name="T19" fmla="*/ 0 h 22"/>
              <a:gd name="T20" fmla="*/ 10 w 10"/>
              <a:gd name="T21" fmla="*/ 22 h 2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" h="22">
                <a:moveTo>
                  <a:pt x="0" y="9"/>
                </a:moveTo>
                <a:lnTo>
                  <a:pt x="0" y="9"/>
                </a:lnTo>
                <a:lnTo>
                  <a:pt x="4" y="0"/>
                </a:lnTo>
                <a:lnTo>
                  <a:pt x="9" y="21"/>
                </a:lnTo>
                <a:lnTo>
                  <a:pt x="0" y="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5" name="Freeform 712">
            <a:extLst>
              <a:ext uri="{FF2B5EF4-FFF2-40B4-BE49-F238E27FC236}">
                <a16:creationId xmlns:a16="http://schemas.microsoft.com/office/drawing/2014/main" id="{D3B9FE4D-175B-AE4F-DCA2-9F7D60733672}"/>
              </a:ext>
            </a:extLst>
          </p:cNvPr>
          <p:cNvSpPr>
            <a:spLocks/>
          </p:cNvSpPr>
          <p:nvPr/>
        </p:nvSpPr>
        <p:spPr bwMode="auto">
          <a:xfrm>
            <a:off x="2886254" y="6036913"/>
            <a:ext cx="10345" cy="31151"/>
          </a:xfrm>
          <a:custGeom>
            <a:avLst/>
            <a:gdLst>
              <a:gd name="T0" fmla="*/ 0 w 9"/>
              <a:gd name="T1" fmla="*/ 23 h 28"/>
              <a:gd name="T2" fmla="*/ 0 w 9"/>
              <a:gd name="T3" fmla="*/ 23 h 28"/>
              <a:gd name="T4" fmla="*/ 8 w 9"/>
              <a:gd name="T5" fmla="*/ 0 h 28"/>
              <a:gd name="T6" fmla="*/ 8 w 9"/>
              <a:gd name="T7" fmla="*/ 27 h 28"/>
              <a:gd name="T8" fmla="*/ 0 w 9"/>
              <a:gd name="T9" fmla="*/ 23 h 28"/>
              <a:gd name="T10" fmla="*/ 0 w 9"/>
              <a:gd name="T11" fmla="*/ 23 h 2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28"/>
              <a:gd name="T20" fmla="*/ 9 w 9"/>
              <a:gd name="T21" fmla="*/ 28 h 2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28">
                <a:moveTo>
                  <a:pt x="0" y="23"/>
                </a:moveTo>
                <a:lnTo>
                  <a:pt x="0" y="23"/>
                </a:lnTo>
                <a:lnTo>
                  <a:pt x="8" y="0"/>
                </a:lnTo>
                <a:lnTo>
                  <a:pt x="8" y="27"/>
                </a:lnTo>
                <a:lnTo>
                  <a:pt x="0" y="2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6" name="Freeform 713">
            <a:extLst>
              <a:ext uri="{FF2B5EF4-FFF2-40B4-BE49-F238E27FC236}">
                <a16:creationId xmlns:a16="http://schemas.microsoft.com/office/drawing/2014/main" id="{99ABD4A4-0EAB-42EF-B3F3-810E9249FB3B}"/>
              </a:ext>
            </a:extLst>
          </p:cNvPr>
          <p:cNvSpPr>
            <a:spLocks/>
          </p:cNvSpPr>
          <p:nvPr/>
        </p:nvSpPr>
        <p:spPr bwMode="auto">
          <a:xfrm>
            <a:off x="2896598" y="6260528"/>
            <a:ext cx="21839" cy="14463"/>
          </a:xfrm>
          <a:custGeom>
            <a:avLst/>
            <a:gdLst>
              <a:gd name="T0" fmla="*/ 0 w 19"/>
              <a:gd name="T1" fmla="*/ 0 h 13"/>
              <a:gd name="T2" fmla="*/ 0 w 19"/>
              <a:gd name="T3" fmla="*/ 0 h 13"/>
              <a:gd name="T4" fmla="*/ 18 w 19"/>
              <a:gd name="T5" fmla="*/ 3 h 13"/>
              <a:gd name="T6" fmla="*/ 18 w 19"/>
              <a:gd name="T7" fmla="*/ 12 h 13"/>
              <a:gd name="T8" fmla="*/ 0 w 19"/>
              <a:gd name="T9" fmla="*/ 0 h 13"/>
              <a:gd name="T10" fmla="*/ 0 w 19"/>
              <a:gd name="T11" fmla="*/ 0 h 1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"/>
              <a:gd name="T19" fmla="*/ 0 h 13"/>
              <a:gd name="T20" fmla="*/ 19 w 19"/>
              <a:gd name="T21" fmla="*/ 13 h 1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" h="13">
                <a:moveTo>
                  <a:pt x="0" y="0"/>
                </a:moveTo>
                <a:lnTo>
                  <a:pt x="0" y="0"/>
                </a:lnTo>
                <a:lnTo>
                  <a:pt x="18" y="3"/>
                </a:lnTo>
                <a:lnTo>
                  <a:pt x="18" y="12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7" name="Freeform 714">
            <a:extLst>
              <a:ext uri="{FF2B5EF4-FFF2-40B4-BE49-F238E27FC236}">
                <a16:creationId xmlns:a16="http://schemas.microsoft.com/office/drawing/2014/main" id="{CA932C6C-813D-6BDC-A866-164EE1CF4F44}"/>
              </a:ext>
            </a:extLst>
          </p:cNvPr>
          <p:cNvSpPr>
            <a:spLocks/>
          </p:cNvSpPr>
          <p:nvPr/>
        </p:nvSpPr>
        <p:spPr bwMode="auto">
          <a:xfrm>
            <a:off x="2901196" y="6230491"/>
            <a:ext cx="32184" cy="31151"/>
          </a:xfrm>
          <a:custGeom>
            <a:avLst/>
            <a:gdLst>
              <a:gd name="T0" fmla="*/ 0 w 28"/>
              <a:gd name="T1" fmla="*/ 5 h 28"/>
              <a:gd name="T2" fmla="*/ 0 w 28"/>
              <a:gd name="T3" fmla="*/ 5 h 28"/>
              <a:gd name="T4" fmla="*/ 7 w 28"/>
              <a:gd name="T5" fmla="*/ 0 h 28"/>
              <a:gd name="T6" fmla="*/ 6 w 28"/>
              <a:gd name="T7" fmla="*/ 13 h 28"/>
              <a:gd name="T8" fmla="*/ 27 w 28"/>
              <a:gd name="T9" fmla="*/ 17 h 28"/>
              <a:gd name="T10" fmla="*/ 14 w 28"/>
              <a:gd name="T11" fmla="*/ 27 h 28"/>
              <a:gd name="T12" fmla="*/ 0 w 28"/>
              <a:gd name="T13" fmla="*/ 5 h 28"/>
              <a:gd name="T14" fmla="*/ 0 w 28"/>
              <a:gd name="T15" fmla="*/ 5 h 2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8"/>
              <a:gd name="T25" fmla="*/ 0 h 28"/>
              <a:gd name="T26" fmla="*/ 28 w 28"/>
              <a:gd name="T27" fmla="*/ 28 h 2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8" h="28">
                <a:moveTo>
                  <a:pt x="0" y="5"/>
                </a:moveTo>
                <a:lnTo>
                  <a:pt x="0" y="5"/>
                </a:lnTo>
                <a:lnTo>
                  <a:pt x="7" y="0"/>
                </a:lnTo>
                <a:lnTo>
                  <a:pt x="6" y="13"/>
                </a:lnTo>
                <a:lnTo>
                  <a:pt x="27" y="17"/>
                </a:lnTo>
                <a:lnTo>
                  <a:pt x="14" y="27"/>
                </a:lnTo>
                <a:lnTo>
                  <a:pt x="0" y="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8" name="Freeform 715">
            <a:extLst>
              <a:ext uri="{FF2B5EF4-FFF2-40B4-BE49-F238E27FC236}">
                <a16:creationId xmlns:a16="http://schemas.microsoft.com/office/drawing/2014/main" id="{935541FC-B985-BB13-363F-067A9C6C3FE8}"/>
              </a:ext>
            </a:extLst>
          </p:cNvPr>
          <p:cNvSpPr>
            <a:spLocks/>
          </p:cNvSpPr>
          <p:nvPr/>
        </p:nvSpPr>
        <p:spPr bwMode="auto">
          <a:xfrm>
            <a:off x="2923034" y="6270541"/>
            <a:ext cx="18390" cy="8900"/>
          </a:xfrm>
          <a:custGeom>
            <a:avLst/>
            <a:gdLst>
              <a:gd name="T0" fmla="*/ 0 w 16"/>
              <a:gd name="T1" fmla="*/ 5 h 8"/>
              <a:gd name="T2" fmla="*/ 0 w 16"/>
              <a:gd name="T3" fmla="*/ 5 h 8"/>
              <a:gd name="T4" fmla="*/ 4 w 16"/>
              <a:gd name="T5" fmla="*/ 0 h 8"/>
              <a:gd name="T6" fmla="*/ 15 w 16"/>
              <a:gd name="T7" fmla="*/ 7 h 8"/>
              <a:gd name="T8" fmla="*/ 0 w 16"/>
              <a:gd name="T9" fmla="*/ 5 h 8"/>
              <a:gd name="T10" fmla="*/ 0 w 16"/>
              <a:gd name="T11" fmla="*/ 5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8"/>
              <a:gd name="T20" fmla="*/ 16 w 16"/>
              <a:gd name="T21" fmla="*/ 8 h 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8">
                <a:moveTo>
                  <a:pt x="0" y="5"/>
                </a:moveTo>
                <a:lnTo>
                  <a:pt x="0" y="5"/>
                </a:lnTo>
                <a:lnTo>
                  <a:pt x="4" y="0"/>
                </a:lnTo>
                <a:lnTo>
                  <a:pt x="15" y="7"/>
                </a:lnTo>
                <a:lnTo>
                  <a:pt x="0" y="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9" name="Freeform 716">
            <a:extLst>
              <a:ext uri="{FF2B5EF4-FFF2-40B4-BE49-F238E27FC236}">
                <a16:creationId xmlns:a16="http://schemas.microsoft.com/office/drawing/2014/main" id="{B204DF34-B4D7-0B75-2A18-49BE33B93BDA}"/>
              </a:ext>
            </a:extLst>
          </p:cNvPr>
          <p:cNvSpPr>
            <a:spLocks/>
          </p:cNvSpPr>
          <p:nvPr/>
        </p:nvSpPr>
        <p:spPr bwMode="auto">
          <a:xfrm>
            <a:off x="2934528" y="6244953"/>
            <a:ext cx="44827" cy="46726"/>
          </a:xfrm>
          <a:custGeom>
            <a:avLst/>
            <a:gdLst>
              <a:gd name="T0" fmla="*/ 0 w 39"/>
              <a:gd name="T1" fmla="*/ 34 h 42"/>
              <a:gd name="T2" fmla="*/ 0 w 39"/>
              <a:gd name="T3" fmla="*/ 34 h 42"/>
              <a:gd name="T4" fmla="*/ 6 w 39"/>
              <a:gd name="T5" fmla="*/ 27 h 42"/>
              <a:gd name="T6" fmla="*/ 26 w 39"/>
              <a:gd name="T7" fmla="*/ 31 h 42"/>
              <a:gd name="T8" fmla="*/ 17 w 39"/>
              <a:gd name="T9" fmla="*/ 21 h 42"/>
              <a:gd name="T10" fmla="*/ 27 w 39"/>
              <a:gd name="T11" fmla="*/ 14 h 42"/>
              <a:gd name="T12" fmla="*/ 12 w 39"/>
              <a:gd name="T13" fmla="*/ 12 h 42"/>
              <a:gd name="T14" fmla="*/ 12 w 39"/>
              <a:gd name="T15" fmla="*/ 2 h 42"/>
              <a:gd name="T16" fmla="*/ 36 w 39"/>
              <a:gd name="T17" fmla="*/ 0 h 42"/>
              <a:gd name="T18" fmla="*/ 38 w 39"/>
              <a:gd name="T19" fmla="*/ 41 h 42"/>
              <a:gd name="T20" fmla="*/ 0 w 39"/>
              <a:gd name="T21" fmla="*/ 34 h 42"/>
              <a:gd name="T22" fmla="*/ 0 w 39"/>
              <a:gd name="T23" fmla="*/ 34 h 4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9"/>
              <a:gd name="T37" fmla="*/ 0 h 42"/>
              <a:gd name="T38" fmla="*/ 39 w 39"/>
              <a:gd name="T39" fmla="*/ 42 h 4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9" h="42">
                <a:moveTo>
                  <a:pt x="0" y="34"/>
                </a:moveTo>
                <a:lnTo>
                  <a:pt x="0" y="34"/>
                </a:lnTo>
                <a:lnTo>
                  <a:pt x="6" y="27"/>
                </a:lnTo>
                <a:lnTo>
                  <a:pt x="26" y="31"/>
                </a:lnTo>
                <a:lnTo>
                  <a:pt x="17" y="21"/>
                </a:lnTo>
                <a:lnTo>
                  <a:pt x="27" y="14"/>
                </a:lnTo>
                <a:lnTo>
                  <a:pt x="12" y="12"/>
                </a:lnTo>
                <a:lnTo>
                  <a:pt x="12" y="2"/>
                </a:lnTo>
                <a:lnTo>
                  <a:pt x="36" y="0"/>
                </a:lnTo>
                <a:lnTo>
                  <a:pt x="38" y="41"/>
                </a:lnTo>
                <a:lnTo>
                  <a:pt x="0" y="3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0" name="Freeform 717">
            <a:extLst>
              <a:ext uri="{FF2B5EF4-FFF2-40B4-BE49-F238E27FC236}">
                <a16:creationId xmlns:a16="http://schemas.microsoft.com/office/drawing/2014/main" id="{E3101285-D8DD-DBAA-96F3-ADEA613202AD}"/>
              </a:ext>
            </a:extLst>
          </p:cNvPr>
          <p:cNvSpPr>
            <a:spLocks/>
          </p:cNvSpPr>
          <p:nvPr/>
        </p:nvSpPr>
        <p:spPr bwMode="auto">
          <a:xfrm>
            <a:off x="2817289" y="5181390"/>
            <a:ext cx="188503" cy="251428"/>
          </a:xfrm>
          <a:custGeom>
            <a:avLst/>
            <a:gdLst>
              <a:gd name="T0" fmla="*/ 0 w 164"/>
              <a:gd name="T1" fmla="*/ 150 h 226"/>
              <a:gd name="T2" fmla="*/ 0 w 164"/>
              <a:gd name="T3" fmla="*/ 150 h 226"/>
              <a:gd name="T4" fmla="*/ 20 w 164"/>
              <a:gd name="T5" fmla="*/ 166 h 226"/>
              <a:gd name="T6" fmla="*/ 49 w 164"/>
              <a:gd name="T7" fmla="*/ 170 h 226"/>
              <a:gd name="T8" fmla="*/ 78 w 164"/>
              <a:gd name="T9" fmla="*/ 200 h 226"/>
              <a:gd name="T10" fmla="*/ 117 w 164"/>
              <a:gd name="T11" fmla="*/ 203 h 226"/>
              <a:gd name="T12" fmla="*/ 111 w 164"/>
              <a:gd name="T13" fmla="*/ 219 h 226"/>
              <a:gd name="T14" fmla="*/ 121 w 164"/>
              <a:gd name="T15" fmla="*/ 225 h 226"/>
              <a:gd name="T16" fmla="*/ 127 w 164"/>
              <a:gd name="T17" fmla="*/ 186 h 226"/>
              <a:gd name="T18" fmla="*/ 120 w 164"/>
              <a:gd name="T19" fmla="*/ 162 h 226"/>
              <a:gd name="T20" fmla="*/ 133 w 164"/>
              <a:gd name="T21" fmla="*/ 160 h 226"/>
              <a:gd name="T22" fmla="*/ 123 w 164"/>
              <a:gd name="T23" fmla="*/ 146 h 226"/>
              <a:gd name="T24" fmla="*/ 155 w 164"/>
              <a:gd name="T25" fmla="*/ 141 h 226"/>
              <a:gd name="T26" fmla="*/ 163 w 164"/>
              <a:gd name="T27" fmla="*/ 151 h 226"/>
              <a:gd name="T28" fmla="*/ 151 w 164"/>
              <a:gd name="T29" fmla="*/ 131 h 226"/>
              <a:gd name="T30" fmla="*/ 155 w 164"/>
              <a:gd name="T31" fmla="*/ 84 h 226"/>
              <a:gd name="T32" fmla="*/ 128 w 164"/>
              <a:gd name="T33" fmla="*/ 86 h 226"/>
              <a:gd name="T34" fmla="*/ 120 w 164"/>
              <a:gd name="T35" fmla="*/ 74 h 226"/>
              <a:gd name="T36" fmla="*/ 93 w 164"/>
              <a:gd name="T37" fmla="*/ 71 h 226"/>
              <a:gd name="T38" fmla="*/ 76 w 164"/>
              <a:gd name="T39" fmla="*/ 44 h 226"/>
              <a:gd name="T40" fmla="*/ 102 w 164"/>
              <a:gd name="T41" fmla="*/ 8 h 226"/>
              <a:gd name="T42" fmla="*/ 98 w 164"/>
              <a:gd name="T43" fmla="*/ 0 h 226"/>
              <a:gd name="T44" fmla="*/ 52 w 164"/>
              <a:gd name="T45" fmla="*/ 20 h 226"/>
              <a:gd name="T46" fmla="*/ 27 w 164"/>
              <a:gd name="T47" fmla="*/ 60 h 226"/>
              <a:gd name="T48" fmla="*/ 19 w 164"/>
              <a:gd name="T49" fmla="*/ 50 h 226"/>
              <a:gd name="T50" fmla="*/ 13 w 164"/>
              <a:gd name="T51" fmla="*/ 70 h 226"/>
              <a:gd name="T52" fmla="*/ 19 w 164"/>
              <a:gd name="T53" fmla="*/ 115 h 226"/>
              <a:gd name="T54" fmla="*/ 25 w 164"/>
              <a:gd name="T55" fmla="*/ 115 h 226"/>
              <a:gd name="T56" fmla="*/ 0 w 164"/>
              <a:gd name="T57" fmla="*/ 150 h 226"/>
              <a:gd name="T58" fmla="*/ 0 w 164"/>
              <a:gd name="T59" fmla="*/ 150 h 22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64"/>
              <a:gd name="T91" fmla="*/ 0 h 226"/>
              <a:gd name="T92" fmla="*/ 164 w 164"/>
              <a:gd name="T93" fmla="*/ 226 h 22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64" h="226">
                <a:moveTo>
                  <a:pt x="0" y="150"/>
                </a:moveTo>
                <a:lnTo>
                  <a:pt x="0" y="150"/>
                </a:lnTo>
                <a:lnTo>
                  <a:pt x="20" y="166"/>
                </a:lnTo>
                <a:lnTo>
                  <a:pt x="49" y="170"/>
                </a:lnTo>
                <a:lnTo>
                  <a:pt x="78" y="200"/>
                </a:lnTo>
                <a:lnTo>
                  <a:pt x="117" y="203"/>
                </a:lnTo>
                <a:lnTo>
                  <a:pt x="111" y="219"/>
                </a:lnTo>
                <a:lnTo>
                  <a:pt x="121" y="225"/>
                </a:lnTo>
                <a:lnTo>
                  <a:pt x="127" y="186"/>
                </a:lnTo>
                <a:lnTo>
                  <a:pt x="120" y="162"/>
                </a:lnTo>
                <a:lnTo>
                  <a:pt x="133" y="160"/>
                </a:lnTo>
                <a:lnTo>
                  <a:pt x="123" y="146"/>
                </a:lnTo>
                <a:lnTo>
                  <a:pt x="155" y="141"/>
                </a:lnTo>
                <a:lnTo>
                  <a:pt x="163" y="151"/>
                </a:lnTo>
                <a:lnTo>
                  <a:pt x="151" y="131"/>
                </a:lnTo>
                <a:lnTo>
                  <a:pt x="155" y="84"/>
                </a:lnTo>
                <a:lnTo>
                  <a:pt x="128" y="86"/>
                </a:lnTo>
                <a:lnTo>
                  <a:pt x="120" y="74"/>
                </a:lnTo>
                <a:lnTo>
                  <a:pt x="93" y="71"/>
                </a:lnTo>
                <a:lnTo>
                  <a:pt x="76" y="44"/>
                </a:lnTo>
                <a:lnTo>
                  <a:pt x="102" y="8"/>
                </a:lnTo>
                <a:lnTo>
                  <a:pt x="98" y="0"/>
                </a:lnTo>
                <a:lnTo>
                  <a:pt x="52" y="20"/>
                </a:lnTo>
                <a:lnTo>
                  <a:pt x="27" y="60"/>
                </a:lnTo>
                <a:lnTo>
                  <a:pt x="19" y="50"/>
                </a:lnTo>
                <a:lnTo>
                  <a:pt x="13" y="70"/>
                </a:lnTo>
                <a:lnTo>
                  <a:pt x="19" y="115"/>
                </a:lnTo>
                <a:lnTo>
                  <a:pt x="25" y="115"/>
                </a:lnTo>
                <a:lnTo>
                  <a:pt x="0" y="15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1" name="Freeform 718">
            <a:extLst>
              <a:ext uri="{FF2B5EF4-FFF2-40B4-BE49-F238E27FC236}">
                <a16:creationId xmlns:a16="http://schemas.microsoft.com/office/drawing/2014/main" id="{3B302022-024E-0AB2-02F9-F6749FEBC720}"/>
              </a:ext>
            </a:extLst>
          </p:cNvPr>
          <p:cNvSpPr>
            <a:spLocks/>
          </p:cNvSpPr>
          <p:nvPr/>
        </p:nvSpPr>
        <p:spPr bwMode="auto">
          <a:xfrm>
            <a:off x="2709245" y="5202528"/>
            <a:ext cx="50574" cy="41163"/>
          </a:xfrm>
          <a:custGeom>
            <a:avLst/>
            <a:gdLst>
              <a:gd name="T0" fmla="*/ 0 w 44"/>
              <a:gd name="T1" fmla="*/ 0 h 37"/>
              <a:gd name="T2" fmla="*/ 0 w 44"/>
              <a:gd name="T3" fmla="*/ 0 h 37"/>
              <a:gd name="T4" fmla="*/ 1 w 44"/>
              <a:gd name="T5" fmla="*/ 14 h 37"/>
              <a:gd name="T6" fmla="*/ 10 w 44"/>
              <a:gd name="T7" fmla="*/ 12 h 37"/>
              <a:gd name="T8" fmla="*/ 37 w 44"/>
              <a:gd name="T9" fmla="*/ 36 h 37"/>
              <a:gd name="T10" fmla="*/ 43 w 44"/>
              <a:gd name="T11" fmla="*/ 18 h 37"/>
              <a:gd name="T12" fmla="*/ 28 w 44"/>
              <a:gd name="T13" fmla="*/ 1 h 37"/>
              <a:gd name="T14" fmla="*/ 0 w 44"/>
              <a:gd name="T15" fmla="*/ 0 h 37"/>
              <a:gd name="T16" fmla="*/ 0 w 44"/>
              <a:gd name="T17" fmla="*/ 0 h 3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4"/>
              <a:gd name="T28" fmla="*/ 0 h 37"/>
              <a:gd name="T29" fmla="*/ 44 w 44"/>
              <a:gd name="T30" fmla="*/ 37 h 3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4" h="37">
                <a:moveTo>
                  <a:pt x="0" y="0"/>
                </a:moveTo>
                <a:lnTo>
                  <a:pt x="0" y="0"/>
                </a:lnTo>
                <a:lnTo>
                  <a:pt x="1" y="14"/>
                </a:lnTo>
                <a:lnTo>
                  <a:pt x="10" y="12"/>
                </a:lnTo>
                <a:lnTo>
                  <a:pt x="37" y="36"/>
                </a:lnTo>
                <a:lnTo>
                  <a:pt x="43" y="18"/>
                </a:lnTo>
                <a:lnTo>
                  <a:pt x="28" y="1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2" name="Freeform 719">
            <a:extLst>
              <a:ext uri="{FF2B5EF4-FFF2-40B4-BE49-F238E27FC236}">
                <a16:creationId xmlns:a16="http://schemas.microsoft.com/office/drawing/2014/main" id="{DD7F6081-5B2C-762D-99DD-A4B236B95894}"/>
              </a:ext>
            </a:extLst>
          </p:cNvPr>
          <p:cNvSpPr>
            <a:spLocks/>
          </p:cNvSpPr>
          <p:nvPr/>
        </p:nvSpPr>
        <p:spPr bwMode="auto">
          <a:xfrm>
            <a:off x="2720739" y="5014513"/>
            <a:ext cx="170112" cy="52288"/>
          </a:xfrm>
          <a:custGeom>
            <a:avLst/>
            <a:gdLst>
              <a:gd name="T0" fmla="*/ 0 w 148"/>
              <a:gd name="T1" fmla="*/ 18 h 47"/>
              <a:gd name="T2" fmla="*/ 0 w 148"/>
              <a:gd name="T3" fmla="*/ 18 h 47"/>
              <a:gd name="T4" fmla="*/ 20 w 148"/>
              <a:gd name="T5" fmla="*/ 2 h 47"/>
              <a:gd name="T6" fmla="*/ 58 w 148"/>
              <a:gd name="T7" fmla="*/ 0 h 47"/>
              <a:gd name="T8" fmla="*/ 147 w 148"/>
              <a:gd name="T9" fmla="*/ 39 h 47"/>
              <a:gd name="T10" fmla="*/ 99 w 148"/>
              <a:gd name="T11" fmla="*/ 46 h 47"/>
              <a:gd name="T12" fmla="*/ 107 w 148"/>
              <a:gd name="T13" fmla="*/ 37 h 47"/>
              <a:gd name="T14" fmla="*/ 84 w 148"/>
              <a:gd name="T15" fmla="*/ 22 h 47"/>
              <a:gd name="T16" fmla="*/ 40 w 148"/>
              <a:gd name="T17" fmla="*/ 14 h 47"/>
              <a:gd name="T18" fmla="*/ 42 w 148"/>
              <a:gd name="T19" fmla="*/ 7 h 47"/>
              <a:gd name="T20" fmla="*/ 0 w 148"/>
              <a:gd name="T21" fmla="*/ 18 h 47"/>
              <a:gd name="T22" fmla="*/ 0 w 148"/>
              <a:gd name="T23" fmla="*/ 18 h 4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48"/>
              <a:gd name="T37" fmla="*/ 0 h 47"/>
              <a:gd name="T38" fmla="*/ 148 w 148"/>
              <a:gd name="T39" fmla="*/ 47 h 4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48" h="47">
                <a:moveTo>
                  <a:pt x="0" y="18"/>
                </a:moveTo>
                <a:lnTo>
                  <a:pt x="0" y="18"/>
                </a:lnTo>
                <a:lnTo>
                  <a:pt x="20" y="2"/>
                </a:lnTo>
                <a:lnTo>
                  <a:pt x="58" y="0"/>
                </a:lnTo>
                <a:lnTo>
                  <a:pt x="147" y="39"/>
                </a:lnTo>
                <a:lnTo>
                  <a:pt x="99" y="46"/>
                </a:lnTo>
                <a:lnTo>
                  <a:pt x="107" y="37"/>
                </a:lnTo>
                <a:lnTo>
                  <a:pt x="84" y="22"/>
                </a:lnTo>
                <a:lnTo>
                  <a:pt x="40" y="14"/>
                </a:lnTo>
                <a:lnTo>
                  <a:pt x="42" y="7"/>
                </a:lnTo>
                <a:lnTo>
                  <a:pt x="0" y="1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3" name="Freeform 720">
            <a:extLst>
              <a:ext uri="{FF2B5EF4-FFF2-40B4-BE49-F238E27FC236}">
                <a16:creationId xmlns:a16="http://schemas.microsoft.com/office/drawing/2014/main" id="{E5A62FF4-5DDE-157D-663D-159A7B407F8F}"/>
              </a:ext>
            </a:extLst>
          </p:cNvPr>
          <p:cNvSpPr>
            <a:spLocks/>
          </p:cNvSpPr>
          <p:nvPr/>
        </p:nvSpPr>
        <p:spPr bwMode="auto">
          <a:xfrm>
            <a:off x="2926483" y="5065689"/>
            <a:ext cx="54022" cy="30038"/>
          </a:xfrm>
          <a:custGeom>
            <a:avLst/>
            <a:gdLst>
              <a:gd name="T0" fmla="*/ 0 w 47"/>
              <a:gd name="T1" fmla="*/ 0 h 27"/>
              <a:gd name="T2" fmla="*/ 0 w 47"/>
              <a:gd name="T3" fmla="*/ 0 h 27"/>
              <a:gd name="T4" fmla="*/ 0 w 47"/>
              <a:gd name="T5" fmla="*/ 26 h 27"/>
              <a:gd name="T6" fmla="*/ 46 w 47"/>
              <a:gd name="T7" fmla="*/ 17 h 27"/>
              <a:gd name="T8" fmla="*/ 26 w 47"/>
              <a:gd name="T9" fmla="*/ 3 h 27"/>
              <a:gd name="T10" fmla="*/ 0 w 47"/>
              <a:gd name="T11" fmla="*/ 0 h 27"/>
              <a:gd name="T12" fmla="*/ 0 w 47"/>
              <a:gd name="T13" fmla="*/ 0 h 2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7"/>
              <a:gd name="T22" fmla="*/ 0 h 27"/>
              <a:gd name="T23" fmla="*/ 47 w 47"/>
              <a:gd name="T24" fmla="*/ 27 h 2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7" h="27">
                <a:moveTo>
                  <a:pt x="0" y="0"/>
                </a:moveTo>
                <a:lnTo>
                  <a:pt x="0" y="0"/>
                </a:lnTo>
                <a:lnTo>
                  <a:pt x="0" y="26"/>
                </a:lnTo>
                <a:lnTo>
                  <a:pt x="46" y="17"/>
                </a:lnTo>
                <a:lnTo>
                  <a:pt x="26" y="3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4" name="Freeform 721">
            <a:extLst>
              <a:ext uri="{FF2B5EF4-FFF2-40B4-BE49-F238E27FC236}">
                <a16:creationId xmlns:a16="http://schemas.microsoft.com/office/drawing/2014/main" id="{65A6EFAA-AF01-DDAC-21F5-3492DEE31CE3}"/>
              </a:ext>
            </a:extLst>
          </p:cNvPr>
          <p:cNvSpPr>
            <a:spLocks/>
          </p:cNvSpPr>
          <p:nvPr/>
        </p:nvSpPr>
        <p:spPr bwMode="auto">
          <a:xfrm>
            <a:off x="2786255" y="5348267"/>
            <a:ext cx="88504" cy="95676"/>
          </a:xfrm>
          <a:custGeom>
            <a:avLst/>
            <a:gdLst>
              <a:gd name="T0" fmla="*/ 0 w 77"/>
              <a:gd name="T1" fmla="*/ 32 h 86"/>
              <a:gd name="T2" fmla="*/ 0 w 77"/>
              <a:gd name="T3" fmla="*/ 32 h 86"/>
              <a:gd name="T4" fmla="*/ 1 w 77"/>
              <a:gd name="T5" fmla="*/ 49 h 86"/>
              <a:gd name="T6" fmla="*/ 14 w 77"/>
              <a:gd name="T7" fmla="*/ 53 h 86"/>
              <a:gd name="T8" fmla="*/ 7 w 77"/>
              <a:gd name="T9" fmla="*/ 67 h 86"/>
              <a:gd name="T10" fmla="*/ 4 w 77"/>
              <a:gd name="T11" fmla="*/ 81 h 86"/>
              <a:gd name="T12" fmla="*/ 22 w 77"/>
              <a:gd name="T13" fmla="*/ 85 h 86"/>
              <a:gd name="T14" fmla="*/ 38 w 77"/>
              <a:gd name="T15" fmla="*/ 61 h 86"/>
              <a:gd name="T16" fmla="*/ 69 w 77"/>
              <a:gd name="T17" fmla="*/ 42 h 86"/>
              <a:gd name="T18" fmla="*/ 76 w 77"/>
              <a:gd name="T19" fmla="*/ 20 h 86"/>
              <a:gd name="T20" fmla="*/ 47 w 77"/>
              <a:gd name="T21" fmla="*/ 16 h 86"/>
              <a:gd name="T22" fmla="*/ 27 w 77"/>
              <a:gd name="T23" fmla="*/ 0 h 86"/>
              <a:gd name="T24" fmla="*/ 9 w 77"/>
              <a:gd name="T25" fmla="*/ 8 h 86"/>
              <a:gd name="T26" fmla="*/ 0 w 77"/>
              <a:gd name="T27" fmla="*/ 32 h 86"/>
              <a:gd name="T28" fmla="*/ 0 w 77"/>
              <a:gd name="T29" fmla="*/ 32 h 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77"/>
              <a:gd name="T46" fmla="*/ 0 h 86"/>
              <a:gd name="T47" fmla="*/ 77 w 77"/>
              <a:gd name="T48" fmla="*/ 86 h 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77" h="86">
                <a:moveTo>
                  <a:pt x="0" y="32"/>
                </a:moveTo>
                <a:lnTo>
                  <a:pt x="0" y="32"/>
                </a:lnTo>
                <a:lnTo>
                  <a:pt x="1" y="49"/>
                </a:lnTo>
                <a:lnTo>
                  <a:pt x="14" y="53"/>
                </a:lnTo>
                <a:lnTo>
                  <a:pt x="7" y="67"/>
                </a:lnTo>
                <a:lnTo>
                  <a:pt x="4" y="81"/>
                </a:lnTo>
                <a:lnTo>
                  <a:pt x="22" y="85"/>
                </a:lnTo>
                <a:lnTo>
                  <a:pt x="38" y="61"/>
                </a:lnTo>
                <a:lnTo>
                  <a:pt x="69" y="42"/>
                </a:lnTo>
                <a:lnTo>
                  <a:pt x="76" y="20"/>
                </a:lnTo>
                <a:lnTo>
                  <a:pt x="47" y="16"/>
                </a:lnTo>
                <a:lnTo>
                  <a:pt x="27" y="0"/>
                </a:lnTo>
                <a:lnTo>
                  <a:pt x="9" y="8"/>
                </a:lnTo>
                <a:lnTo>
                  <a:pt x="0" y="3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5" name="Freeform 722">
            <a:extLst>
              <a:ext uri="{FF2B5EF4-FFF2-40B4-BE49-F238E27FC236}">
                <a16:creationId xmlns:a16="http://schemas.microsoft.com/office/drawing/2014/main" id="{6C103EE8-ADEC-5789-0D6A-444AD9542FF4}"/>
              </a:ext>
            </a:extLst>
          </p:cNvPr>
          <p:cNvSpPr>
            <a:spLocks/>
          </p:cNvSpPr>
          <p:nvPr/>
        </p:nvSpPr>
        <p:spPr bwMode="auto">
          <a:xfrm>
            <a:off x="2640280" y="5149128"/>
            <a:ext cx="37930" cy="16687"/>
          </a:xfrm>
          <a:custGeom>
            <a:avLst/>
            <a:gdLst>
              <a:gd name="T0" fmla="*/ 0 w 33"/>
              <a:gd name="T1" fmla="*/ 11 h 15"/>
              <a:gd name="T2" fmla="*/ 0 w 33"/>
              <a:gd name="T3" fmla="*/ 11 h 15"/>
              <a:gd name="T4" fmla="*/ 9 w 33"/>
              <a:gd name="T5" fmla="*/ 0 h 15"/>
              <a:gd name="T6" fmla="*/ 32 w 33"/>
              <a:gd name="T7" fmla="*/ 14 h 15"/>
              <a:gd name="T8" fmla="*/ 0 w 33"/>
              <a:gd name="T9" fmla="*/ 11 h 15"/>
              <a:gd name="T10" fmla="*/ 0 w 33"/>
              <a:gd name="T11" fmla="*/ 11 h 1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"/>
              <a:gd name="T19" fmla="*/ 0 h 15"/>
              <a:gd name="T20" fmla="*/ 33 w 33"/>
              <a:gd name="T21" fmla="*/ 15 h 1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" h="15">
                <a:moveTo>
                  <a:pt x="0" y="11"/>
                </a:moveTo>
                <a:lnTo>
                  <a:pt x="0" y="11"/>
                </a:lnTo>
                <a:lnTo>
                  <a:pt x="9" y="0"/>
                </a:lnTo>
                <a:lnTo>
                  <a:pt x="32" y="14"/>
                </a:lnTo>
                <a:lnTo>
                  <a:pt x="0" y="11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6" name="Freeform 723">
            <a:extLst>
              <a:ext uri="{FF2B5EF4-FFF2-40B4-BE49-F238E27FC236}">
                <a16:creationId xmlns:a16="http://schemas.microsoft.com/office/drawing/2014/main" id="{EEDF1D2F-A198-1BDB-F817-5B392D99BD52}"/>
              </a:ext>
            </a:extLst>
          </p:cNvPr>
          <p:cNvSpPr>
            <a:spLocks/>
          </p:cNvSpPr>
          <p:nvPr/>
        </p:nvSpPr>
        <p:spPr bwMode="auto">
          <a:xfrm>
            <a:off x="3098893" y="6219365"/>
            <a:ext cx="25287" cy="14463"/>
          </a:xfrm>
          <a:custGeom>
            <a:avLst/>
            <a:gdLst>
              <a:gd name="T0" fmla="*/ 0 w 22"/>
              <a:gd name="T1" fmla="*/ 12 h 13"/>
              <a:gd name="T2" fmla="*/ 0 w 22"/>
              <a:gd name="T3" fmla="*/ 12 h 13"/>
              <a:gd name="T4" fmla="*/ 12 w 22"/>
              <a:gd name="T5" fmla="*/ 5 h 13"/>
              <a:gd name="T6" fmla="*/ 6 w 22"/>
              <a:gd name="T7" fmla="*/ 0 h 13"/>
              <a:gd name="T8" fmla="*/ 21 w 22"/>
              <a:gd name="T9" fmla="*/ 1 h 13"/>
              <a:gd name="T10" fmla="*/ 0 w 22"/>
              <a:gd name="T11" fmla="*/ 12 h 13"/>
              <a:gd name="T12" fmla="*/ 0 w 22"/>
              <a:gd name="T13" fmla="*/ 12 h 1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2"/>
              <a:gd name="T22" fmla="*/ 0 h 13"/>
              <a:gd name="T23" fmla="*/ 22 w 22"/>
              <a:gd name="T24" fmla="*/ 13 h 1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2" h="13">
                <a:moveTo>
                  <a:pt x="0" y="12"/>
                </a:moveTo>
                <a:lnTo>
                  <a:pt x="0" y="12"/>
                </a:lnTo>
                <a:lnTo>
                  <a:pt x="12" y="5"/>
                </a:lnTo>
                <a:lnTo>
                  <a:pt x="6" y="0"/>
                </a:lnTo>
                <a:lnTo>
                  <a:pt x="21" y="1"/>
                </a:lnTo>
                <a:lnTo>
                  <a:pt x="0" y="1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7" name="Freeform 724">
            <a:extLst>
              <a:ext uri="{FF2B5EF4-FFF2-40B4-BE49-F238E27FC236}">
                <a16:creationId xmlns:a16="http://schemas.microsoft.com/office/drawing/2014/main" id="{3C23F008-A36D-C20A-7379-9B023D616660}"/>
              </a:ext>
            </a:extLst>
          </p:cNvPr>
          <p:cNvSpPr>
            <a:spLocks/>
          </p:cNvSpPr>
          <p:nvPr/>
        </p:nvSpPr>
        <p:spPr bwMode="auto">
          <a:xfrm>
            <a:off x="3118433" y="6217140"/>
            <a:ext cx="28735" cy="17800"/>
          </a:xfrm>
          <a:custGeom>
            <a:avLst/>
            <a:gdLst>
              <a:gd name="T0" fmla="*/ 0 w 25"/>
              <a:gd name="T1" fmla="*/ 15 h 16"/>
              <a:gd name="T2" fmla="*/ 0 w 25"/>
              <a:gd name="T3" fmla="*/ 15 h 16"/>
              <a:gd name="T4" fmla="*/ 11 w 25"/>
              <a:gd name="T5" fmla="*/ 0 h 16"/>
              <a:gd name="T6" fmla="*/ 24 w 25"/>
              <a:gd name="T7" fmla="*/ 5 h 16"/>
              <a:gd name="T8" fmla="*/ 0 w 25"/>
              <a:gd name="T9" fmla="*/ 15 h 16"/>
              <a:gd name="T10" fmla="*/ 0 w 25"/>
              <a:gd name="T11" fmla="*/ 15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"/>
              <a:gd name="T19" fmla="*/ 0 h 16"/>
              <a:gd name="T20" fmla="*/ 25 w 25"/>
              <a:gd name="T21" fmla="*/ 16 h 1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" h="16">
                <a:moveTo>
                  <a:pt x="0" y="15"/>
                </a:moveTo>
                <a:lnTo>
                  <a:pt x="0" y="15"/>
                </a:lnTo>
                <a:lnTo>
                  <a:pt x="11" y="0"/>
                </a:lnTo>
                <a:lnTo>
                  <a:pt x="24" y="5"/>
                </a:lnTo>
                <a:lnTo>
                  <a:pt x="0" y="1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8" name="Freeform 725">
            <a:extLst>
              <a:ext uri="{FF2B5EF4-FFF2-40B4-BE49-F238E27FC236}">
                <a16:creationId xmlns:a16="http://schemas.microsoft.com/office/drawing/2014/main" id="{8E8DFFDC-8DF1-1253-B58C-86AB5BBCFA96}"/>
              </a:ext>
            </a:extLst>
          </p:cNvPr>
          <p:cNvSpPr>
            <a:spLocks/>
          </p:cNvSpPr>
          <p:nvPr/>
        </p:nvSpPr>
        <p:spPr bwMode="auto">
          <a:xfrm>
            <a:off x="3200041" y="5284854"/>
            <a:ext cx="47126" cy="53401"/>
          </a:xfrm>
          <a:custGeom>
            <a:avLst/>
            <a:gdLst>
              <a:gd name="T0" fmla="*/ 0 w 41"/>
              <a:gd name="T1" fmla="*/ 45 h 48"/>
              <a:gd name="T2" fmla="*/ 0 w 41"/>
              <a:gd name="T3" fmla="*/ 45 h 48"/>
              <a:gd name="T4" fmla="*/ 6 w 41"/>
              <a:gd name="T5" fmla="*/ 0 h 48"/>
              <a:gd name="T6" fmla="*/ 40 w 41"/>
              <a:gd name="T7" fmla="*/ 21 h 48"/>
              <a:gd name="T8" fmla="*/ 20 w 41"/>
              <a:gd name="T9" fmla="*/ 47 h 48"/>
              <a:gd name="T10" fmla="*/ 0 w 41"/>
              <a:gd name="T11" fmla="*/ 45 h 48"/>
              <a:gd name="T12" fmla="*/ 0 w 41"/>
              <a:gd name="T13" fmla="*/ 45 h 4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48"/>
              <a:gd name="T23" fmla="*/ 41 w 41"/>
              <a:gd name="T24" fmla="*/ 48 h 4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48">
                <a:moveTo>
                  <a:pt x="0" y="45"/>
                </a:moveTo>
                <a:lnTo>
                  <a:pt x="0" y="45"/>
                </a:lnTo>
                <a:lnTo>
                  <a:pt x="6" y="0"/>
                </a:lnTo>
                <a:lnTo>
                  <a:pt x="40" y="21"/>
                </a:lnTo>
                <a:lnTo>
                  <a:pt x="20" y="47"/>
                </a:lnTo>
                <a:lnTo>
                  <a:pt x="0" y="4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9" name="Freeform 726">
            <a:extLst>
              <a:ext uri="{FF2B5EF4-FFF2-40B4-BE49-F238E27FC236}">
                <a16:creationId xmlns:a16="http://schemas.microsoft.com/office/drawing/2014/main" id="{2A77859A-C157-AC48-6E3C-BE297CF1FF25}"/>
              </a:ext>
            </a:extLst>
          </p:cNvPr>
          <p:cNvSpPr>
            <a:spLocks/>
          </p:cNvSpPr>
          <p:nvPr/>
        </p:nvSpPr>
        <p:spPr bwMode="auto">
          <a:xfrm>
            <a:off x="2605798" y="5095727"/>
            <a:ext cx="63217" cy="66751"/>
          </a:xfrm>
          <a:custGeom>
            <a:avLst/>
            <a:gdLst>
              <a:gd name="T0" fmla="*/ 0 w 55"/>
              <a:gd name="T1" fmla="*/ 47 h 60"/>
              <a:gd name="T2" fmla="*/ 0 w 55"/>
              <a:gd name="T3" fmla="*/ 47 h 60"/>
              <a:gd name="T4" fmla="*/ 11 w 55"/>
              <a:gd name="T5" fmla="*/ 26 h 60"/>
              <a:gd name="T6" fmla="*/ 25 w 55"/>
              <a:gd name="T7" fmla="*/ 25 h 60"/>
              <a:gd name="T8" fmla="*/ 11 w 55"/>
              <a:gd name="T9" fmla="*/ 7 h 60"/>
              <a:gd name="T10" fmla="*/ 42 w 55"/>
              <a:gd name="T11" fmla="*/ 0 h 60"/>
              <a:gd name="T12" fmla="*/ 47 w 55"/>
              <a:gd name="T13" fmla="*/ 28 h 60"/>
              <a:gd name="T14" fmla="*/ 54 w 55"/>
              <a:gd name="T15" fmla="*/ 30 h 60"/>
              <a:gd name="T16" fmla="*/ 39 w 55"/>
              <a:gd name="T17" fmla="*/ 48 h 60"/>
              <a:gd name="T18" fmla="*/ 30 w 55"/>
              <a:gd name="T19" fmla="*/ 59 h 60"/>
              <a:gd name="T20" fmla="*/ 0 w 55"/>
              <a:gd name="T21" fmla="*/ 47 h 60"/>
              <a:gd name="T22" fmla="*/ 0 w 55"/>
              <a:gd name="T23" fmla="*/ 47 h 6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5"/>
              <a:gd name="T37" fmla="*/ 0 h 60"/>
              <a:gd name="T38" fmla="*/ 55 w 55"/>
              <a:gd name="T39" fmla="*/ 60 h 6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5" h="60">
                <a:moveTo>
                  <a:pt x="0" y="47"/>
                </a:moveTo>
                <a:lnTo>
                  <a:pt x="0" y="47"/>
                </a:lnTo>
                <a:lnTo>
                  <a:pt x="11" y="26"/>
                </a:lnTo>
                <a:lnTo>
                  <a:pt x="25" y="25"/>
                </a:lnTo>
                <a:lnTo>
                  <a:pt x="11" y="7"/>
                </a:lnTo>
                <a:lnTo>
                  <a:pt x="42" y="0"/>
                </a:lnTo>
                <a:lnTo>
                  <a:pt x="47" y="28"/>
                </a:lnTo>
                <a:lnTo>
                  <a:pt x="54" y="30"/>
                </a:lnTo>
                <a:lnTo>
                  <a:pt x="39" y="48"/>
                </a:lnTo>
                <a:lnTo>
                  <a:pt x="30" y="59"/>
                </a:lnTo>
                <a:lnTo>
                  <a:pt x="0" y="4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0" name="Freeform 727">
            <a:extLst>
              <a:ext uri="{FF2B5EF4-FFF2-40B4-BE49-F238E27FC236}">
                <a16:creationId xmlns:a16="http://schemas.microsoft.com/office/drawing/2014/main" id="{BD97B3E1-5802-E98C-5765-52826C99422F}"/>
              </a:ext>
            </a:extLst>
          </p:cNvPr>
          <p:cNvSpPr>
            <a:spLocks/>
          </p:cNvSpPr>
          <p:nvPr/>
        </p:nvSpPr>
        <p:spPr bwMode="auto">
          <a:xfrm>
            <a:off x="3093146" y="5242579"/>
            <a:ext cx="75861" cy="104576"/>
          </a:xfrm>
          <a:custGeom>
            <a:avLst/>
            <a:gdLst>
              <a:gd name="T0" fmla="*/ 0 w 66"/>
              <a:gd name="T1" fmla="*/ 31 h 94"/>
              <a:gd name="T2" fmla="*/ 0 w 66"/>
              <a:gd name="T3" fmla="*/ 31 h 94"/>
              <a:gd name="T4" fmla="*/ 9 w 66"/>
              <a:gd name="T5" fmla="*/ 44 h 94"/>
              <a:gd name="T6" fmla="*/ 22 w 66"/>
              <a:gd name="T7" fmla="*/ 53 h 94"/>
              <a:gd name="T8" fmla="*/ 19 w 66"/>
              <a:gd name="T9" fmla="*/ 79 h 94"/>
              <a:gd name="T10" fmla="*/ 26 w 66"/>
              <a:gd name="T11" fmla="*/ 93 h 94"/>
              <a:gd name="T12" fmla="*/ 65 w 66"/>
              <a:gd name="T13" fmla="*/ 87 h 94"/>
              <a:gd name="T14" fmla="*/ 43 w 66"/>
              <a:gd name="T15" fmla="*/ 59 h 94"/>
              <a:gd name="T16" fmla="*/ 58 w 66"/>
              <a:gd name="T17" fmla="*/ 34 h 94"/>
              <a:gd name="T18" fmla="*/ 19 w 66"/>
              <a:gd name="T19" fmla="*/ 0 h 94"/>
              <a:gd name="T20" fmla="*/ 6 w 66"/>
              <a:gd name="T21" fmla="*/ 10 h 94"/>
              <a:gd name="T22" fmla="*/ 11 w 66"/>
              <a:gd name="T23" fmla="*/ 19 h 94"/>
              <a:gd name="T24" fmla="*/ 0 w 66"/>
              <a:gd name="T25" fmla="*/ 31 h 94"/>
              <a:gd name="T26" fmla="*/ 0 w 66"/>
              <a:gd name="T27" fmla="*/ 31 h 9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6"/>
              <a:gd name="T43" fmla="*/ 0 h 94"/>
              <a:gd name="T44" fmla="*/ 66 w 66"/>
              <a:gd name="T45" fmla="*/ 94 h 9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6" h="94">
                <a:moveTo>
                  <a:pt x="0" y="31"/>
                </a:moveTo>
                <a:lnTo>
                  <a:pt x="0" y="31"/>
                </a:lnTo>
                <a:lnTo>
                  <a:pt x="9" y="44"/>
                </a:lnTo>
                <a:lnTo>
                  <a:pt x="22" y="53"/>
                </a:lnTo>
                <a:lnTo>
                  <a:pt x="19" y="79"/>
                </a:lnTo>
                <a:lnTo>
                  <a:pt x="26" y="93"/>
                </a:lnTo>
                <a:lnTo>
                  <a:pt x="65" y="87"/>
                </a:lnTo>
                <a:lnTo>
                  <a:pt x="43" y="59"/>
                </a:lnTo>
                <a:lnTo>
                  <a:pt x="58" y="34"/>
                </a:lnTo>
                <a:lnTo>
                  <a:pt x="19" y="0"/>
                </a:lnTo>
                <a:lnTo>
                  <a:pt x="6" y="10"/>
                </a:lnTo>
                <a:lnTo>
                  <a:pt x="11" y="19"/>
                </a:lnTo>
                <a:lnTo>
                  <a:pt x="0" y="31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1" name="Freeform 728">
            <a:extLst>
              <a:ext uri="{FF2B5EF4-FFF2-40B4-BE49-F238E27FC236}">
                <a16:creationId xmlns:a16="http://schemas.microsoft.com/office/drawing/2014/main" id="{581E7917-DFF7-13C2-F2D4-D80C5DD7097B}"/>
              </a:ext>
            </a:extLst>
          </p:cNvPr>
          <p:cNvSpPr>
            <a:spLocks/>
          </p:cNvSpPr>
          <p:nvPr/>
        </p:nvSpPr>
        <p:spPr bwMode="auto">
          <a:xfrm>
            <a:off x="2886254" y="5065689"/>
            <a:ext cx="41378" cy="30038"/>
          </a:xfrm>
          <a:custGeom>
            <a:avLst/>
            <a:gdLst>
              <a:gd name="T0" fmla="*/ 0 w 36"/>
              <a:gd name="T1" fmla="*/ 19 h 27"/>
              <a:gd name="T2" fmla="*/ 0 w 36"/>
              <a:gd name="T3" fmla="*/ 19 h 27"/>
              <a:gd name="T4" fmla="*/ 27 w 36"/>
              <a:gd name="T5" fmla="*/ 19 h 27"/>
              <a:gd name="T6" fmla="*/ 14 w 36"/>
              <a:gd name="T7" fmla="*/ 2 h 27"/>
              <a:gd name="T8" fmla="*/ 35 w 36"/>
              <a:gd name="T9" fmla="*/ 0 h 27"/>
              <a:gd name="T10" fmla="*/ 35 w 36"/>
              <a:gd name="T11" fmla="*/ 26 h 27"/>
              <a:gd name="T12" fmla="*/ 0 w 36"/>
              <a:gd name="T13" fmla="*/ 19 h 27"/>
              <a:gd name="T14" fmla="*/ 0 w 36"/>
              <a:gd name="T15" fmla="*/ 19 h 2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6"/>
              <a:gd name="T25" fmla="*/ 0 h 27"/>
              <a:gd name="T26" fmla="*/ 36 w 36"/>
              <a:gd name="T27" fmla="*/ 27 h 2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6" h="27">
                <a:moveTo>
                  <a:pt x="0" y="19"/>
                </a:moveTo>
                <a:lnTo>
                  <a:pt x="0" y="19"/>
                </a:lnTo>
                <a:lnTo>
                  <a:pt x="27" y="19"/>
                </a:lnTo>
                <a:lnTo>
                  <a:pt x="14" y="2"/>
                </a:lnTo>
                <a:lnTo>
                  <a:pt x="35" y="0"/>
                </a:lnTo>
                <a:lnTo>
                  <a:pt x="35" y="26"/>
                </a:lnTo>
                <a:lnTo>
                  <a:pt x="0" y="1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2" name="Freeform 729">
            <a:extLst>
              <a:ext uri="{FF2B5EF4-FFF2-40B4-BE49-F238E27FC236}">
                <a16:creationId xmlns:a16="http://schemas.microsoft.com/office/drawing/2014/main" id="{6AEFD078-81B5-95D8-9C94-991FA9170CFD}"/>
              </a:ext>
            </a:extLst>
          </p:cNvPr>
          <p:cNvSpPr>
            <a:spLocks/>
          </p:cNvSpPr>
          <p:nvPr/>
        </p:nvSpPr>
        <p:spPr bwMode="auto">
          <a:xfrm>
            <a:off x="2650625" y="5126877"/>
            <a:ext cx="97700" cy="46726"/>
          </a:xfrm>
          <a:custGeom>
            <a:avLst/>
            <a:gdLst>
              <a:gd name="T0" fmla="*/ 0 w 85"/>
              <a:gd name="T1" fmla="*/ 20 h 42"/>
              <a:gd name="T2" fmla="*/ 0 w 85"/>
              <a:gd name="T3" fmla="*/ 20 h 42"/>
              <a:gd name="T4" fmla="*/ 15 w 85"/>
              <a:gd name="T5" fmla="*/ 2 h 42"/>
              <a:gd name="T6" fmla="*/ 60 w 85"/>
              <a:gd name="T7" fmla="*/ 0 h 42"/>
              <a:gd name="T8" fmla="*/ 84 w 85"/>
              <a:gd name="T9" fmla="*/ 13 h 42"/>
              <a:gd name="T10" fmla="*/ 64 w 85"/>
              <a:gd name="T11" fmla="*/ 15 h 42"/>
              <a:gd name="T12" fmla="*/ 29 w 85"/>
              <a:gd name="T13" fmla="*/ 41 h 42"/>
              <a:gd name="T14" fmla="*/ 23 w 85"/>
              <a:gd name="T15" fmla="*/ 34 h 42"/>
              <a:gd name="T16" fmla="*/ 0 w 85"/>
              <a:gd name="T17" fmla="*/ 20 h 42"/>
              <a:gd name="T18" fmla="*/ 0 w 85"/>
              <a:gd name="T19" fmla="*/ 2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5"/>
              <a:gd name="T31" fmla="*/ 0 h 42"/>
              <a:gd name="T32" fmla="*/ 85 w 85"/>
              <a:gd name="T33" fmla="*/ 42 h 4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5" h="42">
                <a:moveTo>
                  <a:pt x="0" y="20"/>
                </a:moveTo>
                <a:lnTo>
                  <a:pt x="0" y="20"/>
                </a:lnTo>
                <a:lnTo>
                  <a:pt x="15" y="2"/>
                </a:lnTo>
                <a:lnTo>
                  <a:pt x="60" y="0"/>
                </a:lnTo>
                <a:lnTo>
                  <a:pt x="84" y="13"/>
                </a:lnTo>
                <a:lnTo>
                  <a:pt x="64" y="15"/>
                </a:lnTo>
                <a:lnTo>
                  <a:pt x="29" y="41"/>
                </a:lnTo>
                <a:lnTo>
                  <a:pt x="23" y="34"/>
                </a:lnTo>
                <a:lnTo>
                  <a:pt x="0" y="2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3" name="Freeform 730">
            <a:extLst>
              <a:ext uri="{FF2B5EF4-FFF2-40B4-BE49-F238E27FC236}">
                <a16:creationId xmlns:a16="http://schemas.microsoft.com/office/drawing/2014/main" id="{26E4D31E-061A-090B-3B83-E0B95BE377CC}"/>
              </a:ext>
            </a:extLst>
          </p:cNvPr>
          <p:cNvSpPr>
            <a:spLocks/>
          </p:cNvSpPr>
          <p:nvPr/>
        </p:nvSpPr>
        <p:spPr bwMode="auto">
          <a:xfrm>
            <a:off x="2683958" y="5141340"/>
            <a:ext cx="64367" cy="63413"/>
          </a:xfrm>
          <a:custGeom>
            <a:avLst/>
            <a:gdLst>
              <a:gd name="T0" fmla="*/ 0 w 56"/>
              <a:gd name="T1" fmla="*/ 28 h 57"/>
              <a:gd name="T2" fmla="*/ 0 w 56"/>
              <a:gd name="T3" fmla="*/ 28 h 57"/>
              <a:gd name="T4" fmla="*/ 22 w 56"/>
              <a:gd name="T5" fmla="*/ 55 h 57"/>
              <a:gd name="T6" fmla="*/ 50 w 56"/>
              <a:gd name="T7" fmla="*/ 56 h 57"/>
              <a:gd name="T8" fmla="*/ 55 w 56"/>
              <a:gd name="T9" fmla="*/ 0 h 57"/>
              <a:gd name="T10" fmla="*/ 35 w 56"/>
              <a:gd name="T11" fmla="*/ 2 h 57"/>
              <a:gd name="T12" fmla="*/ 0 w 56"/>
              <a:gd name="T13" fmla="*/ 28 h 57"/>
              <a:gd name="T14" fmla="*/ 0 w 56"/>
              <a:gd name="T15" fmla="*/ 28 h 5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6"/>
              <a:gd name="T25" fmla="*/ 0 h 57"/>
              <a:gd name="T26" fmla="*/ 56 w 56"/>
              <a:gd name="T27" fmla="*/ 57 h 5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6" h="57">
                <a:moveTo>
                  <a:pt x="0" y="28"/>
                </a:moveTo>
                <a:lnTo>
                  <a:pt x="0" y="28"/>
                </a:lnTo>
                <a:lnTo>
                  <a:pt x="22" y="55"/>
                </a:lnTo>
                <a:lnTo>
                  <a:pt x="50" y="56"/>
                </a:lnTo>
                <a:lnTo>
                  <a:pt x="55" y="0"/>
                </a:lnTo>
                <a:lnTo>
                  <a:pt x="35" y="2"/>
                </a:lnTo>
                <a:lnTo>
                  <a:pt x="0" y="2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4" name="Freeform 731">
            <a:extLst>
              <a:ext uri="{FF2B5EF4-FFF2-40B4-BE49-F238E27FC236}">
                <a16:creationId xmlns:a16="http://schemas.microsoft.com/office/drawing/2014/main" id="{F087090F-BE05-A7F2-57E2-353DEBA8D76C}"/>
              </a:ext>
            </a:extLst>
          </p:cNvPr>
          <p:cNvSpPr>
            <a:spLocks/>
          </p:cNvSpPr>
          <p:nvPr/>
        </p:nvSpPr>
        <p:spPr bwMode="auto">
          <a:xfrm>
            <a:off x="2751773" y="5222553"/>
            <a:ext cx="88504" cy="38938"/>
          </a:xfrm>
          <a:custGeom>
            <a:avLst/>
            <a:gdLst>
              <a:gd name="T0" fmla="*/ 0 w 77"/>
              <a:gd name="T1" fmla="*/ 18 h 35"/>
              <a:gd name="T2" fmla="*/ 0 w 77"/>
              <a:gd name="T3" fmla="*/ 18 h 35"/>
              <a:gd name="T4" fmla="*/ 6 w 77"/>
              <a:gd name="T5" fmla="*/ 0 h 35"/>
              <a:gd name="T6" fmla="*/ 22 w 77"/>
              <a:gd name="T7" fmla="*/ 11 h 35"/>
              <a:gd name="T8" fmla="*/ 51 w 77"/>
              <a:gd name="T9" fmla="*/ 0 h 35"/>
              <a:gd name="T10" fmla="*/ 76 w 77"/>
              <a:gd name="T11" fmla="*/ 13 h 35"/>
              <a:gd name="T12" fmla="*/ 70 w 77"/>
              <a:gd name="T13" fmla="*/ 33 h 35"/>
              <a:gd name="T14" fmla="*/ 67 w 77"/>
              <a:gd name="T15" fmla="*/ 17 h 35"/>
              <a:gd name="T16" fmla="*/ 51 w 77"/>
              <a:gd name="T17" fmla="*/ 11 h 35"/>
              <a:gd name="T18" fmla="*/ 36 w 77"/>
              <a:gd name="T19" fmla="*/ 21 h 35"/>
              <a:gd name="T20" fmla="*/ 39 w 77"/>
              <a:gd name="T21" fmla="*/ 30 h 35"/>
              <a:gd name="T22" fmla="*/ 33 w 77"/>
              <a:gd name="T23" fmla="*/ 34 h 35"/>
              <a:gd name="T24" fmla="*/ 0 w 77"/>
              <a:gd name="T25" fmla="*/ 18 h 35"/>
              <a:gd name="T26" fmla="*/ 0 w 77"/>
              <a:gd name="T27" fmla="*/ 18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77"/>
              <a:gd name="T43" fmla="*/ 0 h 35"/>
              <a:gd name="T44" fmla="*/ 77 w 77"/>
              <a:gd name="T45" fmla="*/ 35 h 3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77" h="35">
                <a:moveTo>
                  <a:pt x="0" y="18"/>
                </a:moveTo>
                <a:lnTo>
                  <a:pt x="0" y="18"/>
                </a:lnTo>
                <a:lnTo>
                  <a:pt x="6" y="0"/>
                </a:lnTo>
                <a:lnTo>
                  <a:pt x="22" y="11"/>
                </a:lnTo>
                <a:lnTo>
                  <a:pt x="51" y="0"/>
                </a:lnTo>
                <a:lnTo>
                  <a:pt x="76" y="13"/>
                </a:lnTo>
                <a:lnTo>
                  <a:pt x="70" y="33"/>
                </a:lnTo>
                <a:lnTo>
                  <a:pt x="67" y="17"/>
                </a:lnTo>
                <a:lnTo>
                  <a:pt x="51" y="11"/>
                </a:lnTo>
                <a:lnTo>
                  <a:pt x="36" y="21"/>
                </a:lnTo>
                <a:lnTo>
                  <a:pt x="39" y="30"/>
                </a:lnTo>
                <a:lnTo>
                  <a:pt x="33" y="34"/>
                </a:lnTo>
                <a:lnTo>
                  <a:pt x="0" y="1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5" name="Freeform 732">
            <a:extLst>
              <a:ext uri="{FF2B5EF4-FFF2-40B4-BE49-F238E27FC236}">
                <a16:creationId xmlns:a16="http://schemas.microsoft.com/office/drawing/2014/main" id="{D3A699EB-E23D-E983-92A1-90E9F6E1FB13}"/>
              </a:ext>
            </a:extLst>
          </p:cNvPr>
          <p:cNvSpPr>
            <a:spLocks/>
          </p:cNvSpPr>
          <p:nvPr/>
        </p:nvSpPr>
        <p:spPr bwMode="auto">
          <a:xfrm>
            <a:off x="3071307" y="5588023"/>
            <a:ext cx="128733" cy="276999"/>
          </a:xfrm>
          <a:custGeom>
            <a:avLst/>
            <a:gdLst>
              <a:gd name="T0" fmla="*/ 0 w 112"/>
              <a:gd name="T1" fmla="*/ 43 h 116"/>
              <a:gd name="T2" fmla="*/ 0 w 112"/>
              <a:gd name="T3" fmla="*/ 43 h 116"/>
              <a:gd name="T4" fmla="*/ 9 w 112"/>
              <a:gd name="T5" fmla="*/ 6 h 116"/>
              <a:gd name="T6" fmla="*/ 48 w 112"/>
              <a:gd name="T7" fmla="*/ 0 h 116"/>
              <a:gd name="T8" fmla="*/ 62 w 112"/>
              <a:gd name="T9" fmla="*/ 12 h 116"/>
              <a:gd name="T10" fmla="*/ 65 w 112"/>
              <a:gd name="T11" fmla="*/ 39 h 116"/>
              <a:gd name="T12" fmla="*/ 93 w 112"/>
              <a:gd name="T13" fmla="*/ 44 h 116"/>
              <a:gd name="T14" fmla="*/ 97 w 112"/>
              <a:gd name="T15" fmla="*/ 63 h 116"/>
              <a:gd name="T16" fmla="*/ 111 w 112"/>
              <a:gd name="T17" fmla="*/ 66 h 116"/>
              <a:gd name="T18" fmla="*/ 109 w 112"/>
              <a:gd name="T19" fmla="*/ 91 h 116"/>
              <a:gd name="T20" fmla="*/ 95 w 112"/>
              <a:gd name="T21" fmla="*/ 115 h 116"/>
              <a:gd name="T22" fmla="*/ 58 w 112"/>
              <a:gd name="T23" fmla="*/ 114 h 116"/>
              <a:gd name="T24" fmla="*/ 66 w 112"/>
              <a:gd name="T25" fmla="*/ 86 h 116"/>
              <a:gd name="T26" fmla="*/ 0 w 112"/>
              <a:gd name="T27" fmla="*/ 43 h 116"/>
              <a:gd name="T28" fmla="*/ 0 w 112"/>
              <a:gd name="T29" fmla="*/ 43 h 11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12"/>
              <a:gd name="T46" fmla="*/ 0 h 116"/>
              <a:gd name="T47" fmla="*/ 112 w 112"/>
              <a:gd name="T48" fmla="*/ 116 h 11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12" h="116">
                <a:moveTo>
                  <a:pt x="0" y="43"/>
                </a:moveTo>
                <a:lnTo>
                  <a:pt x="0" y="43"/>
                </a:lnTo>
                <a:lnTo>
                  <a:pt x="9" y="6"/>
                </a:lnTo>
                <a:lnTo>
                  <a:pt x="48" y="0"/>
                </a:lnTo>
                <a:lnTo>
                  <a:pt x="62" y="12"/>
                </a:lnTo>
                <a:lnTo>
                  <a:pt x="65" y="39"/>
                </a:lnTo>
                <a:lnTo>
                  <a:pt x="93" y="44"/>
                </a:lnTo>
                <a:lnTo>
                  <a:pt x="97" y="63"/>
                </a:lnTo>
                <a:lnTo>
                  <a:pt x="111" y="66"/>
                </a:lnTo>
                <a:lnTo>
                  <a:pt x="109" y="91"/>
                </a:lnTo>
                <a:lnTo>
                  <a:pt x="95" y="115"/>
                </a:lnTo>
                <a:lnTo>
                  <a:pt x="58" y="114"/>
                </a:lnTo>
                <a:lnTo>
                  <a:pt x="66" y="86"/>
                </a:lnTo>
                <a:lnTo>
                  <a:pt x="0" y="4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36" name="Freeform 733">
            <a:extLst>
              <a:ext uri="{FF2B5EF4-FFF2-40B4-BE49-F238E27FC236}">
                <a16:creationId xmlns:a16="http://schemas.microsoft.com/office/drawing/2014/main" id="{DE639E82-1AF2-C30B-7F0E-5A90B0D8460E}"/>
              </a:ext>
            </a:extLst>
          </p:cNvPr>
          <p:cNvSpPr>
            <a:spLocks/>
          </p:cNvSpPr>
          <p:nvPr/>
        </p:nvSpPr>
        <p:spPr bwMode="auto">
          <a:xfrm>
            <a:off x="2778209" y="5370518"/>
            <a:ext cx="197698" cy="274791"/>
          </a:xfrm>
          <a:custGeom>
            <a:avLst/>
            <a:gdLst>
              <a:gd name="T0" fmla="*/ 0 w 172"/>
              <a:gd name="T1" fmla="*/ 58 h 247"/>
              <a:gd name="T2" fmla="*/ 0 w 172"/>
              <a:gd name="T3" fmla="*/ 58 h 247"/>
              <a:gd name="T4" fmla="*/ 3 w 172"/>
              <a:gd name="T5" fmla="*/ 78 h 247"/>
              <a:gd name="T6" fmla="*/ 34 w 172"/>
              <a:gd name="T7" fmla="*/ 112 h 247"/>
              <a:gd name="T8" fmla="*/ 68 w 172"/>
              <a:gd name="T9" fmla="*/ 193 h 247"/>
              <a:gd name="T10" fmla="*/ 146 w 172"/>
              <a:gd name="T11" fmla="*/ 246 h 247"/>
              <a:gd name="T12" fmla="*/ 159 w 172"/>
              <a:gd name="T13" fmla="*/ 237 h 247"/>
              <a:gd name="T14" fmla="*/ 167 w 172"/>
              <a:gd name="T15" fmla="*/ 220 h 247"/>
              <a:gd name="T16" fmla="*/ 155 w 172"/>
              <a:gd name="T17" fmla="*/ 213 h 247"/>
              <a:gd name="T18" fmla="*/ 162 w 172"/>
              <a:gd name="T19" fmla="*/ 209 h 247"/>
              <a:gd name="T20" fmla="*/ 171 w 172"/>
              <a:gd name="T21" fmla="*/ 167 h 247"/>
              <a:gd name="T22" fmla="*/ 158 w 172"/>
              <a:gd name="T23" fmla="*/ 147 h 247"/>
              <a:gd name="T24" fmla="*/ 147 w 172"/>
              <a:gd name="T25" fmla="*/ 147 h 247"/>
              <a:gd name="T26" fmla="*/ 147 w 172"/>
              <a:gd name="T27" fmla="*/ 125 h 247"/>
              <a:gd name="T28" fmla="*/ 132 w 172"/>
              <a:gd name="T29" fmla="*/ 134 h 247"/>
              <a:gd name="T30" fmla="*/ 113 w 172"/>
              <a:gd name="T31" fmla="*/ 126 h 247"/>
              <a:gd name="T32" fmla="*/ 102 w 172"/>
              <a:gd name="T33" fmla="*/ 101 h 247"/>
              <a:gd name="T34" fmla="*/ 121 w 172"/>
              <a:gd name="T35" fmla="*/ 69 h 247"/>
              <a:gd name="T36" fmla="*/ 155 w 172"/>
              <a:gd name="T37" fmla="*/ 55 h 247"/>
              <a:gd name="T38" fmla="*/ 145 w 172"/>
              <a:gd name="T39" fmla="*/ 49 h 247"/>
              <a:gd name="T40" fmla="*/ 151 w 172"/>
              <a:gd name="T41" fmla="*/ 33 h 247"/>
              <a:gd name="T42" fmla="*/ 112 w 172"/>
              <a:gd name="T43" fmla="*/ 30 h 247"/>
              <a:gd name="T44" fmla="*/ 83 w 172"/>
              <a:gd name="T45" fmla="*/ 0 h 247"/>
              <a:gd name="T46" fmla="*/ 76 w 172"/>
              <a:gd name="T47" fmla="*/ 22 h 247"/>
              <a:gd name="T48" fmla="*/ 45 w 172"/>
              <a:gd name="T49" fmla="*/ 41 h 247"/>
              <a:gd name="T50" fmla="*/ 29 w 172"/>
              <a:gd name="T51" fmla="*/ 65 h 247"/>
              <a:gd name="T52" fmla="*/ 11 w 172"/>
              <a:gd name="T53" fmla="*/ 61 h 247"/>
              <a:gd name="T54" fmla="*/ 14 w 172"/>
              <a:gd name="T55" fmla="*/ 47 h 247"/>
              <a:gd name="T56" fmla="*/ 0 w 172"/>
              <a:gd name="T57" fmla="*/ 58 h 247"/>
              <a:gd name="T58" fmla="*/ 0 w 172"/>
              <a:gd name="T59" fmla="*/ 58 h 24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72"/>
              <a:gd name="T91" fmla="*/ 0 h 247"/>
              <a:gd name="T92" fmla="*/ 172 w 172"/>
              <a:gd name="T93" fmla="*/ 247 h 247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72" h="247">
                <a:moveTo>
                  <a:pt x="0" y="58"/>
                </a:moveTo>
                <a:lnTo>
                  <a:pt x="0" y="58"/>
                </a:lnTo>
                <a:lnTo>
                  <a:pt x="3" y="78"/>
                </a:lnTo>
                <a:lnTo>
                  <a:pt x="34" y="112"/>
                </a:lnTo>
                <a:lnTo>
                  <a:pt x="68" y="193"/>
                </a:lnTo>
                <a:lnTo>
                  <a:pt x="146" y="246"/>
                </a:lnTo>
                <a:lnTo>
                  <a:pt x="159" y="237"/>
                </a:lnTo>
                <a:lnTo>
                  <a:pt x="167" y="220"/>
                </a:lnTo>
                <a:lnTo>
                  <a:pt x="155" y="213"/>
                </a:lnTo>
                <a:lnTo>
                  <a:pt x="162" y="209"/>
                </a:lnTo>
                <a:lnTo>
                  <a:pt x="171" y="167"/>
                </a:lnTo>
                <a:lnTo>
                  <a:pt x="158" y="147"/>
                </a:lnTo>
                <a:lnTo>
                  <a:pt x="147" y="147"/>
                </a:lnTo>
                <a:lnTo>
                  <a:pt x="147" y="125"/>
                </a:lnTo>
                <a:lnTo>
                  <a:pt x="132" y="134"/>
                </a:lnTo>
                <a:lnTo>
                  <a:pt x="113" y="126"/>
                </a:lnTo>
                <a:lnTo>
                  <a:pt x="102" y="101"/>
                </a:lnTo>
                <a:lnTo>
                  <a:pt x="121" y="69"/>
                </a:lnTo>
                <a:lnTo>
                  <a:pt x="155" y="55"/>
                </a:lnTo>
                <a:lnTo>
                  <a:pt x="145" y="49"/>
                </a:lnTo>
                <a:lnTo>
                  <a:pt x="151" y="33"/>
                </a:lnTo>
                <a:lnTo>
                  <a:pt x="112" y="30"/>
                </a:lnTo>
                <a:lnTo>
                  <a:pt x="83" y="0"/>
                </a:lnTo>
                <a:lnTo>
                  <a:pt x="76" y="22"/>
                </a:lnTo>
                <a:lnTo>
                  <a:pt x="45" y="41"/>
                </a:lnTo>
                <a:lnTo>
                  <a:pt x="29" y="65"/>
                </a:lnTo>
                <a:lnTo>
                  <a:pt x="11" y="61"/>
                </a:lnTo>
                <a:lnTo>
                  <a:pt x="14" y="47"/>
                </a:lnTo>
                <a:lnTo>
                  <a:pt x="0" y="5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7" name="Freeform 734">
            <a:extLst>
              <a:ext uri="{FF2B5EF4-FFF2-40B4-BE49-F238E27FC236}">
                <a16:creationId xmlns:a16="http://schemas.microsoft.com/office/drawing/2014/main" id="{7E9AF055-415A-A3A3-BCA6-B2C3AF3DA8BE}"/>
              </a:ext>
            </a:extLst>
          </p:cNvPr>
          <p:cNvSpPr>
            <a:spLocks/>
          </p:cNvSpPr>
          <p:nvPr/>
        </p:nvSpPr>
        <p:spPr bwMode="auto">
          <a:xfrm>
            <a:off x="3142571" y="5280404"/>
            <a:ext cx="65516" cy="60076"/>
          </a:xfrm>
          <a:custGeom>
            <a:avLst/>
            <a:gdLst>
              <a:gd name="T0" fmla="*/ 0 w 57"/>
              <a:gd name="T1" fmla="*/ 25 h 54"/>
              <a:gd name="T2" fmla="*/ 0 w 57"/>
              <a:gd name="T3" fmla="*/ 25 h 54"/>
              <a:gd name="T4" fmla="*/ 15 w 57"/>
              <a:gd name="T5" fmla="*/ 0 h 54"/>
              <a:gd name="T6" fmla="*/ 56 w 57"/>
              <a:gd name="T7" fmla="*/ 4 h 54"/>
              <a:gd name="T8" fmla="*/ 50 w 57"/>
              <a:gd name="T9" fmla="*/ 49 h 54"/>
              <a:gd name="T10" fmla="*/ 22 w 57"/>
              <a:gd name="T11" fmla="*/ 53 h 54"/>
              <a:gd name="T12" fmla="*/ 0 w 57"/>
              <a:gd name="T13" fmla="*/ 25 h 54"/>
              <a:gd name="T14" fmla="*/ 0 w 57"/>
              <a:gd name="T15" fmla="*/ 25 h 5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"/>
              <a:gd name="T25" fmla="*/ 0 h 54"/>
              <a:gd name="T26" fmla="*/ 57 w 57"/>
              <a:gd name="T27" fmla="*/ 54 h 5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" h="54">
                <a:moveTo>
                  <a:pt x="0" y="25"/>
                </a:moveTo>
                <a:lnTo>
                  <a:pt x="0" y="25"/>
                </a:lnTo>
                <a:lnTo>
                  <a:pt x="15" y="0"/>
                </a:lnTo>
                <a:lnTo>
                  <a:pt x="56" y="4"/>
                </a:lnTo>
                <a:lnTo>
                  <a:pt x="50" y="49"/>
                </a:lnTo>
                <a:lnTo>
                  <a:pt x="22" y="53"/>
                </a:lnTo>
                <a:lnTo>
                  <a:pt x="0" y="2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8" name="Freeform 735">
            <a:extLst>
              <a:ext uri="{FF2B5EF4-FFF2-40B4-BE49-F238E27FC236}">
                <a16:creationId xmlns:a16="http://schemas.microsoft.com/office/drawing/2014/main" id="{22046AD9-4A2C-399F-E008-8B185E6E72A2}"/>
              </a:ext>
            </a:extLst>
          </p:cNvPr>
          <p:cNvSpPr>
            <a:spLocks/>
          </p:cNvSpPr>
          <p:nvPr/>
        </p:nvSpPr>
        <p:spPr bwMode="auto">
          <a:xfrm>
            <a:off x="3081652" y="5205866"/>
            <a:ext cx="16091" cy="12238"/>
          </a:xfrm>
          <a:custGeom>
            <a:avLst/>
            <a:gdLst>
              <a:gd name="T0" fmla="*/ 0 w 14"/>
              <a:gd name="T1" fmla="*/ 10 h 11"/>
              <a:gd name="T2" fmla="*/ 0 w 14"/>
              <a:gd name="T3" fmla="*/ 10 h 11"/>
              <a:gd name="T4" fmla="*/ 12 w 14"/>
              <a:gd name="T5" fmla="*/ 8 h 11"/>
              <a:gd name="T6" fmla="*/ 13 w 14"/>
              <a:gd name="T7" fmla="*/ 0 h 11"/>
              <a:gd name="T8" fmla="*/ 0 w 14"/>
              <a:gd name="T9" fmla="*/ 10 h 11"/>
              <a:gd name="T10" fmla="*/ 0 w 14"/>
              <a:gd name="T11" fmla="*/ 1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"/>
              <a:gd name="T19" fmla="*/ 0 h 11"/>
              <a:gd name="T20" fmla="*/ 14 w 14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" h="11">
                <a:moveTo>
                  <a:pt x="0" y="10"/>
                </a:moveTo>
                <a:lnTo>
                  <a:pt x="0" y="10"/>
                </a:lnTo>
                <a:lnTo>
                  <a:pt x="12" y="8"/>
                </a:lnTo>
                <a:lnTo>
                  <a:pt x="13" y="0"/>
                </a:lnTo>
                <a:lnTo>
                  <a:pt x="0" y="1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9" name="Freeform 736">
            <a:extLst>
              <a:ext uri="{FF2B5EF4-FFF2-40B4-BE49-F238E27FC236}">
                <a16:creationId xmlns:a16="http://schemas.microsoft.com/office/drawing/2014/main" id="{2DE28119-EE20-00F5-EBBF-79AB724C3978}"/>
              </a:ext>
            </a:extLst>
          </p:cNvPr>
          <p:cNvSpPr>
            <a:spLocks/>
          </p:cNvSpPr>
          <p:nvPr/>
        </p:nvSpPr>
        <p:spPr bwMode="auto">
          <a:xfrm>
            <a:off x="3136824" y="5834436"/>
            <a:ext cx="82757" cy="82326"/>
          </a:xfrm>
          <a:custGeom>
            <a:avLst/>
            <a:gdLst>
              <a:gd name="T0" fmla="*/ 0 w 72"/>
              <a:gd name="T1" fmla="*/ 59 h 74"/>
              <a:gd name="T2" fmla="*/ 0 w 72"/>
              <a:gd name="T3" fmla="*/ 59 h 74"/>
              <a:gd name="T4" fmla="*/ 12 w 72"/>
              <a:gd name="T5" fmla="*/ 3 h 74"/>
              <a:gd name="T6" fmla="*/ 22 w 72"/>
              <a:gd name="T7" fmla="*/ 0 h 74"/>
              <a:gd name="T8" fmla="*/ 63 w 72"/>
              <a:gd name="T9" fmla="*/ 29 h 74"/>
              <a:gd name="T10" fmla="*/ 71 w 72"/>
              <a:gd name="T11" fmla="*/ 41 h 74"/>
              <a:gd name="T12" fmla="*/ 68 w 72"/>
              <a:gd name="T13" fmla="*/ 55 h 74"/>
              <a:gd name="T14" fmla="*/ 49 w 72"/>
              <a:gd name="T15" fmla="*/ 73 h 74"/>
              <a:gd name="T16" fmla="*/ 0 w 72"/>
              <a:gd name="T17" fmla="*/ 59 h 74"/>
              <a:gd name="T18" fmla="*/ 0 w 72"/>
              <a:gd name="T19" fmla="*/ 59 h 7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72"/>
              <a:gd name="T31" fmla="*/ 0 h 74"/>
              <a:gd name="T32" fmla="*/ 72 w 72"/>
              <a:gd name="T33" fmla="*/ 74 h 7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72" h="74">
                <a:moveTo>
                  <a:pt x="0" y="59"/>
                </a:moveTo>
                <a:lnTo>
                  <a:pt x="0" y="59"/>
                </a:lnTo>
                <a:lnTo>
                  <a:pt x="12" y="3"/>
                </a:lnTo>
                <a:lnTo>
                  <a:pt x="22" y="0"/>
                </a:lnTo>
                <a:lnTo>
                  <a:pt x="63" y="29"/>
                </a:lnTo>
                <a:lnTo>
                  <a:pt x="71" y="41"/>
                </a:lnTo>
                <a:lnTo>
                  <a:pt x="68" y="55"/>
                </a:lnTo>
                <a:lnTo>
                  <a:pt x="49" y="73"/>
                </a:lnTo>
                <a:lnTo>
                  <a:pt x="0" y="5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40" name="Freeform 737">
            <a:extLst>
              <a:ext uri="{FF2B5EF4-FFF2-40B4-BE49-F238E27FC236}">
                <a16:creationId xmlns:a16="http://schemas.microsoft.com/office/drawing/2014/main" id="{721900BE-30AE-B6A6-97B3-7A10D574E7F7}"/>
              </a:ext>
            </a:extLst>
          </p:cNvPr>
          <p:cNvSpPr>
            <a:spLocks/>
          </p:cNvSpPr>
          <p:nvPr/>
        </p:nvSpPr>
        <p:spPr bwMode="auto">
          <a:xfrm>
            <a:off x="2904644" y="5183616"/>
            <a:ext cx="211491" cy="174664"/>
          </a:xfrm>
          <a:custGeom>
            <a:avLst/>
            <a:gdLst>
              <a:gd name="T0" fmla="*/ 0 w 184"/>
              <a:gd name="T1" fmla="*/ 42 h 157"/>
              <a:gd name="T2" fmla="*/ 0 w 184"/>
              <a:gd name="T3" fmla="*/ 42 h 157"/>
              <a:gd name="T4" fmla="*/ 17 w 184"/>
              <a:gd name="T5" fmla="*/ 69 h 157"/>
              <a:gd name="T6" fmla="*/ 44 w 184"/>
              <a:gd name="T7" fmla="*/ 72 h 157"/>
              <a:gd name="T8" fmla="*/ 52 w 184"/>
              <a:gd name="T9" fmla="*/ 84 h 157"/>
              <a:gd name="T10" fmla="*/ 79 w 184"/>
              <a:gd name="T11" fmla="*/ 82 h 157"/>
              <a:gd name="T12" fmla="*/ 75 w 184"/>
              <a:gd name="T13" fmla="*/ 129 h 157"/>
              <a:gd name="T14" fmla="*/ 87 w 184"/>
              <a:gd name="T15" fmla="*/ 149 h 157"/>
              <a:gd name="T16" fmla="*/ 103 w 184"/>
              <a:gd name="T17" fmla="*/ 156 h 157"/>
              <a:gd name="T18" fmla="*/ 136 w 184"/>
              <a:gd name="T19" fmla="*/ 137 h 157"/>
              <a:gd name="T20" fmla="*/ 123 w 184"/>
              <a:gd name="T21" fmla="*/ 134 h 157"/>
              <a:gd name="T22" fmla="*/ 116 w 184"/>
              <a:gd name="T23" fmla="*/ 108 h 157"/>
              <a:gd name="T24" fmla="*/ 139 w 184"/>
              <a:gd name="T25" fmla="*/ 113 h 157"/>
              <a:gd name="T26" fmla="*/ 173 w 184"/>
              <a:gd name="T27" fmla="*/ 97 h 157"/>
              <a:gd name="T28" fmla="*/ 164 w 184"/>
              <a:gd name="T29" fmla="*/ 84 h 157"/>
              <a:gd name="T30" fmla="*/ 175 w 184"/>
              <a:gd name="T31" fmla="*/ 72 h 157"/>
              <a:gd name="T32" fmla="*/ 170 w 184"/>
              <a:gd name="T33" fmla="*/ 63 h 157"/>
              <a:gd name="T34" fmla="*/ 183 w 184"/>
              <a:gd name="T35" fmla="*/ 53 h 157"/>
              <a:gd name="T36" fmla="*/ 167 w 184"/>
              <a:gd name="T37" fmla="*/ 51 h 157"/>
              <a:gd name="T38" fmla="*/ 167 w 184"/>
              <a:gd name="T39" fmla="*/ 39 h 157"/>
              <a:gd name="T40" fmla="*/ 141 w 184"/>
              <a:gd name="T41" fmla="*/ 25 h 157"/>
              <a:gd name="T42" fmla="*/ 152 w 184"/>
              <a:gd name="T43" fmla="*/ 21 h 157"/>
              <a:gd name="T44" fmla="*/ 72 w 184"/>
              <a:gd name="T45" fmla="*/ 24 h 157"/>
              <a:gd name="T46" fmla="*/ 46 w 184"/>
              <a:gd name="T47" fmla="*/ 0 h 157"/>
              <a:gd name="T48" fmla="*/ 47 w 184"/>
              <a:gd name="T49" fmla="*/ 11 h 157"/>
              <a:gd name="T50" fmla="*/ 24 w 184"/>
              <a:gd name="T51" fmla="*/ 20 h 157"/>
              <a:gd name="T52" fmla="*/ 31 w 184"/>
              <a:gd name="T53" fmla="*/ 39 h 157"/>
              <a:gd name="T54" fmla="*/ 22 w 184"/>
              <a:gd name="T55" fmla="*/ 46 h 157"/>
              <a:gd name="T56" fmla="*/ 17 w 184"/>
              <a:gd name="T57" fmla="*/ 29 h 157"/>
              <a:gd name="T58" fmla="*/ 26 w 184"/>
              <a:gd name="T59" fmla="*/ 6 h 157"/>
              <a:gd name="T60" fmla="*/ 0 w 184"/>
              <a:gd name="T61" fmla="*/ 42 h 157"/>
              <a:gd name="T62" fmla="*/ 0 w 184"/>
              <a:gd name="T63" fmla="*/ 42 h 15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84"/>
              <a:gd name="T97" fmla="*/ 0 h 157"/>
              <a:gd name="T98" fmla="*/ 184 w 184"/>
              <a:gd name="T99" fmla="*/ 157 h 15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84" h="157">
                <a:moveTo>
                  <a:pt x="0" y="42"/>
                </a:moveTo>
                <a:lnTo>
                  <a:pt x="0" y="42"/>
                </a:lnTo>
                <a:lnTo>
                  <a:pt x="17" y="69"/>
                </a:lnTo>
                <a:lnTo>
                  <a:pt x="44" y="72"/>
                </a:lnTo>
                <a:lnTo>
                  <a:pt x="52" y="84"/>
                </a:lnTo>
                <a:lnTo>
                  <a:pt x="79" y="82"/>
                </a:lnTo>
                <a:lnTo>
                  <a:pt x="75" y="129"/>
                </a:lnTo>
                <a:lnTo>
                  <a:pt x="87" y="149"/>
                </a:lnTo>
                <a:lnTo>
                  <a:pt x="103" y="156"/>
                </a:lnTo>
                <a:lnTo>
                  <a:pt x="136" y="137"/>
                </a:lnTo>
                <a:lnTo>
                  <a:pt x="123" y="134"/>
                </a:lnTo>
                <a:lnTo>
                  <a:pt x="116" y="108"/>
                </a:lnTo>
                <a:lnTo>
                  <a:pt x="139" y="113"/>
                </a:lnTo>
                <a:lnTo>
                  <a:pt x="173" y="97"/>
                </a:lnTo>
                <a:lnTo>
                  <a:pt x="164" y="84"/>
                </a:lnTo>
                <a:lnTo>
                  <a:pt x="175" y="72"/>
                </a:lnTo>
                <a:lnTo>
                  <a:pt x="170" y="63"/>
                </a:lnTo>
                <a:lnTo>
                  <a:pt x="183" y="53"/>
                </a:lnTo>
                <a:lnTo>
                  <a:pt x="167" y="51"/>
                </a:lnTo>
                <a:lnTo>
                  <a:pt x="167" y="39"/>
                </a:lnTo>
                <a:lnTo>
                  <a:pt x="141" y="25"/>
                </a:lnTo>
                <a:lnTo>
                  <a:pt x="152" y="21"/>
                </a:lnTo>
                <a:lnTo>
                  <a:pt x="72" y="24"/>
                </a:lnTo>
                <a:lnTo>
                  <a:pt x="46" y="0"/>
                </a:lnTo>
                <a:lnTo>
                  <a:pt x="47" y="11"/>
                </a:lnTo>
                <a:lnTo>
                  <a:pt x="24" y="20"/>
                </a:lnTo>
                <a:lnTo>
                  <a:pt x="31" y="39"/>
                </a:lnTo>
                <a:lnTo>
                  <a:pt x="22" y="46"/>
                </a:lnTo>
                <a:lnTo>
                  <a:pt x="17" y="29"/>
                </a:lnTo>
                <a:lnTo>
                  <a:pt x="26" y="6"/>
                </a:lnTo>
                <a:lnTo>
                  <a:pt x="0" y="4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41" name="Freeform 738">
            <a:extLst>
              <a:ext uri="{FF2B5EF4-FFF2-40B4-BE49-F238E27FC236}">
                <a16:creationId xmlns:a16="http://schemas.microsoft.com/office/drawing/2014/main" id="{D6B63F8C-EA66-37B7-BC73-1F80934072F4}"/>
              </a:ext>
            </a:extLst>
          </p:cNvPr>
          <p:cNvSpPr>
            <a:spLocks/>
          </p:cNvSpPr>
          <p:nvPr/>
        </p:nvSpPr>
        <p:spPr bwMode="auto">
          <a:xfrm>
            <a:off x="5649937" y="5014686"/>
            <a:ext cx="109500" cy="225795"/>
          </a:xfrm>
          <a:custGeom>
            <a:avLst/>
            <a:gdLst>
              <a:gd name="T0" fmla="*/ 0 w 95"/>
              <a:gd name="T1" fmla="*/ 17056038 h 203"/>
              <a:gd name="T2" fmla="*/ 0 w 95"/>
              <a:gd name="T3" fmla="*/ 17056038 h 203"/>
              <a:gd name="T4" fmla="*/ 21990127 w 95"/>
              <a:gd name="T5" fmla="*/ 52872417 h 203"/>
              <a:gd name="T6" fmla="*/ 50262967 w 95"/>
              <a:gd name="T7" fmla="*/ 68222847 h 203"/>
              <a:gd name="T8" fmla="*/ 36127169 w 95"/>
              <a:gd name="T9" fmla="*/ 93806917 h 203"/>
              <a:gd name="T10" fmla="*/ 87960510 w 95"/>
              <a:gd name="T11" fmla="*/ 139856901 h 203"/>
              <a:gd name="T12" fmla="*/ 111520992 w 95"/>
              <a:gd name="T13" fmla="*/ 202962959 h 203"/>
              <a:gd name="T14" fmla="*/ 114662975 w 95"/>
              <a:gd name="T15" fmla="*/ 255835356 h 203"/>
              <a:gd name="T16" fmla="*/ 50262967 w 95"/>
              <a:gd name="T17" fmla="*/ 301886645 h 203"/>
              <a:gd name="T18" fmla="*/ 59687661 w 95"/>
              <a:gd name="T19" fmla="*/ 344525504 h 203"/>
              <a:gd name="T20" fmla="*/ 80106161 w 95"/>
              <a:gd name="T21" fmla="*/ 315530166 h 203"/>
              <a:gd name="T22" fmla="*/ 92672857 w 95"/>
              <a:gd name="T23" fmla="*/ 324058182 h 203"/>
              <a:gd name="T24" fmla="*/ 97385204 w 95"/>
              <a:gd name="T25" fmla="*/ 303592249 h 203"/>
              <a:gd name="T26" fmla="*/ 147648151 w 95"/>
              <a:gd name="T27" fmla="*/ 272891389 h 203"/>
              <a:gd name="T28" fmla="*/ 141365440 w 95"/>
              <a:gd name="T29" fmla="*/ 185906926 h 203"/>
              <a:gd name="T30" fmla="*/ 72253084 w 95"/>
              <a:gd name="T31" fmla="*/ 105744835 h 203"/>
              <a:gd name="T32" fmla="*/ 80106161 w 95"/>
              <a:gd name="T33" fmla="*/ 78456467 h 203"/>
              <a:gd name="T34" fmla="*/ 120945686 w 95"/>
              <a:gd name="T35" fmla="*/ 39227581 h 203"/>
              <a:gd name="T36" fmla="*/ 62828390 w 95"/>
              <a:gd name="T37" fmla="*/ 0 h 203"/>
              <a:gd name="T38" fmla="*/ 0 w 95"/>
              <a:gd name="T39" fmla="*/ 17056038 h 203"/>
              <a:gd name="T40" fmla="*/ 0 w 95"/>
              <a:gd name="T41" fmla="*/ 17056038 h 20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95"/>
              <a:gd name="T64" fmla="*/ 0 h 203"/>
              <a:gd name="T65" fmla="*/ 95 w 95"/>
              <a:gd name="T66" fmla="*/ 203 h 20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95" h="203">
                <a:moveTo>
                  <a:pt x="0" y="10"/>
                </a:moveTo>
                <a:lnTo>
                  <a:pt x="0" y="10"/>
                </a:lnTo>
                <a:lnTo>
                  <a:pt x="14" y="31"/>
                </a:lnTo>
                <a:lnTo>
                  <a:pt x="32" y="40"/>
                </a:lnTo>
                <a:lnTo>
                  <a:pt x="23" y="55"/>
                </a:lnTo>
                <a:lnTo>
                  <a:pt x="56" y="82"/>
                </a:lnTo>
                <a:lnTo>
                  <a:pt x="71" y="119"/>
                </a:lnTo>
                <a:lnTo>
                  <a:pt x="73" y="150"/>
                </a:lnTo>
                <a:lnTo>
                  <a:pt x="32" y="177"/>
                </a:lnTo>
                <a:lnTo>
                  <a:pt x="38" y="202"/>
                </a:lnTo>
                <a:lnTo>
                  <a:pt x="51" y="185"/>
                </a:lnTo>
                <a:lnTo>
                  <a:pt x="59" y="190"/>
                </a:lnTo>
                <a:lnTo>
                  <a:pt x="62" y="178"/>
                </a:lnTo>
                <a:lnTo>
                  <a:pt x="94" y="160"/>
                </a:lnTo>
                <a:lnTo>
                  <a:pt x="90" y="109"/>
                </a:lnTo>
                <a:lnTo>
                  <a:pt x="46" y="62"/>
                </a:lnTo>
                <a:lnTo>
                  <a:pt x="51" y="46"/>
                </a:lnTo>
                <a:lnTo>
                  <a:pt x="77" y="23"/>
                </a:lnTo>
                <a:lnTo>
                  <a:pt x="40" y="0"/>
                </a:lnTo>
                <a:lnTo>
                  <a:pt x="0" y="1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42" name="Freeform 739">
            <a:extLst>
              <a:ext uri="{FF2B5EF4-FFF2-40B4-BE49-F238E27FC236}">
                <a16:creationId xmlns:a16="http://schemas.microsoft.com/office/drawing/2014/main" id="{9B725DA7-3E3E-1808-7D9D-BF23EF2A61D2}"/>
              </a:ext>
            </a:extLst>
          </p:cNvPr>
          <p:cNvSpPr>
            <a:spLocks/>
          </p:cNvSpPr>
          <p:nvPr/>
        </p:nvSpPr>
        <p:spPr bwMode="auto">
          <a:xfrm>
            <a:off x="4658588" y="4653688"/>
            <a:ext cx="116801" cy="51378"/>
          </a:xfrm>
          <a:custGeom>
            <a:avLst/>
            <a:gdLst>
              <a:gd name="T0" fmla="*/ 0 w 102"/>
              <a:gd name="T1" fmla="*/ 3439837 h 46"/>
              <a:gd name="T2" fmla="*/ 37206018 w 102"/>
              <a:gd name="T3" fmla="*/ 0 h 46"/>
              <a:gd name="T4" fmla="*/ 72863135 w 102"/>
              <a:gd name="T5" fmla="*/ 15478608 h 46"/>
              <a:gd name="T6" fmla="*/ 86814474 w 102"/>
              <a:gd name="T7" fmla="*/ 32676478 h 46"/>
              <a:gd name="T8" fmla="*/ 105418723 w 102"/>
              <a:gd name="T9" fmla="*/ 32676478 h 46"/>
              <a:gd name="T10" fmla="*/ 119371288 w 102"/>
              <a:gd name="T11" fmla="*/ 24077546 h 46"/>
              <a:gd name="T12" fmla="*/ 128672167 w 102"/>
              <a:gd name="T13" fmla="*/ 22356972 h 46"/>
              <a:gd name="T14" fmla="*/ 137974292 w 102"/>
              <a:gd name="T15" fmla="*/ 39556149 h 46"/>
              <a:gd name="T16" fmla="*/ 155027149 w 102"/>
              <a:gd name="T17" fmla="*/ 44715256 h 46"/>
              <a:gd name="T18" fmla="*/ 150376710 w 102"/>
              <a:gd name="T19" fmla="*/ 51593615 h 46"/>
              <a:gd name="T20" fmla="*/ 156577296 w 102"/>
              <a:gd name="T21" fmla="*/ 65352956 h 46"/>
              <a:gd name="T22" fmla="*/ 155027149 w 102"/>
              <a:gd name="T23" fmla="*/ 75671151 h 46"/>
              <a:gd name="T24" fmla="*/ 137974292 w 102"/>
              <a:gd name="T25" fmla="*/ 60192548 h 46"/>
              <a:gd name="T26" fmla="*/ 128672167 w 102"/>
              <a:gd name="T27" fmla="*/ 55033451 h 46"/>
              <a:gd name="T28" fmla="*/ 119371288 w 102"/>
              <a:gd name="T29" fmla="*/ 55033451 h 46"/>
              <a:gd name="T30" fmla="*/ 114719603 w 102"/>
              <a:gd name="T31" fmla="*/ 72231316 h 46"/>
              <a:gd name="T32" fmla="*/ 103868576 w 102"/>
              <a:gd name="T33" fmla="*/ 67072218 h 46"/>
              <a:gd name="T34" fmla="*/ 83714181 w 102"/>
              <a:gd name="T35" fmla="*/ 77391724 h 46"/>
              <a:gd name="T36" fmla="*/ 58910570 w 102"/>
              <a:gd name="T37" fmla="*/ 75671151 h 46"/>
              <a:gd name="T38" fmla="*/ 58910570 w 102"/>
              <a:gd name="T39" fmla="*/ 44715256 h 46"/>
              <a:gd name="T40" fmla="*/ 20153156 w 102"/>
              <a:gd name="T41" fmla="*/ 17197870 h 46"/>
              <a:gd name="T42" fmla="*/ 0 w 102"/>
              <a:gd name="T43" fmla="*/ 3439837 h 46"/>
              <a:gd name="T44" fmla="*/ 0 w 102"/>
              <a:gd name="T45" fmla="*/ 3439837 h 4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02"/>
              <a:gd name="T70" fmla="*/ 0 h 46"/>
              <a:gd name="T71" fmla="*/ 102 w 102"/>
              <a:gd name="T72" fmla="*/ 46 h 4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02" h="46">
                <a:moveTo>
                  <a:pt x="0" y="2"/>
                </a:moveTo>
                <a:lnTo>
                  <a:pt x="24" y="0"/>
                </a:lnTo>
                <a:lnTo>
                  <a:pt x="47" y="9"/>
                </a:lnTo>
                <a:lnTo>
                  <a:pt x="56" y="19"/>
                </a:lnTo>
                <a:lnTo>
                  <a:pt x="68" y="19"/>
                </a:lnTo>
                <a:lnTo>
                  <a:pt x="77" y="14"/>
                </a:lnTo>
                <a:lnTo>
                  <a:pt x="83" y="13"/>
                </a:lnTo>
                <a:lnTo>
                  <a:pt x="89" y="23"/>
                </a:lnTo>
                <a:lnTo>
                  <a:pt x="100" y="26"/>
                </a:lnTo>
                <a:lnTo>
                  <a:pt x="97" y="30"/>
                </a:lnTo>
                <a:lnTo>
                  <a:pt x="101" y="38"/>
                </a:lnTo>
                <a:lnTo>
                  <a:pt x="100" y="44"/>
                </a:lnTo>
                <a:lnTo>
                  <a:pt x="89" y="35"/>
                </a:lnTo>
                <a:lnTo>
                  <a:pt x="83" y="32"/>
                </a:lnTo>
                <a:lnTo>
                  <a:pt x="77" y="32"/>
                </a:lnTo>
                <a:lnTo>
                  <a:pt x="74" y="42"/>
                </a:lnTo>
                <a:lnTo>
                  <a:pt x="67" y="39"/>
                </a:lnTo>
                <a:lnTo>
                  <a:pt x="54" y="45"/>
                </a:lnTo>
                <a:lnTo>
                  <a:pt x="38" y="44"/>
                </a:lnTo>
                <a:lnTo>
                  <a:pt x="38" y="26"/>
                </a:lnTo>
                <a:lnTo>
                  <a:pt x="13" y="10"/>
                </a:lnTo>
                <a:lnTo>
                  <a:pt x="0" y="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43" name="Freeform 740">
            <a:extLst>
              <a:ext uri="{FF2B5EF4-FFF2-40B4-BE49-F238E27FC236}">
                <a16:creationId xmlns:a16="http://schemas.microsoft.com/office/drawing/2014/main" id="{505E5557-70F8-246D-BDBA-59A1DBA8FEFA}"/>
              </a:ext>
            </a:extLst>
          </p:cNvPr>
          <p:cNvSpPr>
            <a:spLocks/>
          </p:cNvSpPr>
          <p:nvPr/>
        </p:nvSpPr>
        <p:spPr bwMode="auto">
          <a:xfrm>
            <a:off x="4741810" y="4682080"/>
            <a:ext cx="96360" cy="77068"/>
          </a:xfrm>
          <a:custGeom>
            <a:avLst/>
            <a:gdLst>
              <a:gd name="T0" fmla="*/ 48621765 w 85"/>
              <a:gd name="T1" fmla="*/ 3439855 h 69"/>
              <a:gd name="T2" fmla="*/ 54698713 w 85"/>
              <a:gd name="T3" fmla="*/ 3439855 h 69"/>
              <a:gd name="T4" fmla="*/ 74451875 w 85"/>
              <a:gd name="T5" fmla="*/ 10319564 h 69"/>
              <a:gd name="T6" fmla="*/ 92683970 w 85"/>
              <a:gd name="T7" fmla="*/ 25796947 h 69"/>
              <a:gd name="T8" fmla="*/ 103320478 w 85"/>
              <a:gd name="T9" fmla="*/ 44715498 h 69"/>
              <a:gd name="T10" fmla="*/ 127630734 w 85"/>
              <a:gd name="T11" fmla="*/ 65353310 h 69"/>
              <a:gd name="T12" fmla="*/ 115475606 w 85"/>
              <a:gd name="T13" fmla="*/ 70512435 h 69"/>
              <a:gd name="T14" fmla="*/ 106358952 w 85"/>
              <a:gd name="T15" fmla="*/ 84271851 h 69"/>
              <a:gd name="T16" fmla="*/ 104840331 w 85"/>
              <a:gd name="T17" fmla="*/ 91150268 h 69"/>
              <a:gd name="T18" fmla="*/ 100282004 w 85"/>
              <a:gd name="T19" fmla="*/ 116948516 h 69"/>
              <a:gd name="T20" fmla="*/ 82048695 w 85"/>
              <a:gd name="T21" fmla="*/ 110068809 h 69"/>
              <a:gd name="T22" fmla="*/ 79010202 w 85"/>
              <a:gd name="T23" fmla="*/ 87710414 h 69"/>
              <a:gd name="T24" fmla="*/ 60776893 w 85"/>
              <a:gd name="T25" fmla="*/ 96310704 h 69"/>
              <a:gd name="T26" fmla="*/ 44063438 w 85"/>
              <a:gd name="T27" fmla="*/ 108348226 h 69"/>
              <a:gd name="T28" fmla="*/ 33426921 w 85"/>
              <a:gd name="T29" fmla="*/ 106628955 h 69"/>
              <a:gd name="T30" fmla="*/ 24310266 w 85"/>
              <a:gd name="T31" fmla="*/ 94590122 h 69"/>
              <a:gd name="T32" fmla="*/ 18233314 w 85"/>
              <a:gd name="T33" fmla="*/ 84271851 h 69"/>
              <a:gd name="T34" fmla="*/ 25830119 w 85"/>
              <a:gd name="T35" fmla="*/ 73952289 h 69"/>
              <a:gd name="T36" fmla="*/ 30388447 w 85"/>
              <a:gd name="T37" fmla="*/ 82551268 h 69"/>
              <a:gd name="T38" fmla="*/ 53180092 w 85"/>
              <a:gd name="T39" fmla="*/ 94590122 h 69"/>
              <a:gd name="T40" fmla="*/ 57738419 w 85"/>
              <a:gd name="T41" fmla="*/ 84271851 h 69"/>
              <a:gd name="T42" fmla="*/ 36466627 w 85"/>
              <a:gd name="T43" fmla="*/ 65353310 h 69"/>
              <a:gd name="T44" fmla="*/ 30388447 w 85"/>
              <a:gd name="T45" fmla="*/ 49874623 h 69"/>
              <a:gd name="T46" fmla="*/ 22791646 w 85"/>
              <a:gd name="T47" fmla="*/ 44715498 h 69"/>
              <a:gd name="T48" fmla="*/ 22791646 w 85"/>
              <a:gd name="T49" fmla="*/ 34395926 h 69"/>
              <a:gd name="T50" fmla="*/ 13674986 w 85"/>
              <a:gd name="T51" fmla="*/ 30957384 h 69"/>
              <a:gd name="T52" fmla="*/ 0 w 85"/>
              <a:gd name="T53" fmla="*/ 29236801 h 69"/>
              <a:gd name="T54" fmla="*/ 4558328 w 85"/>
              <a:gd name="T55" fmla="*/ 17197963 h 69"/>
              <a:gd name="T56" fmla="*/ 6078183 w 85"/>
              <a:gd name="T57" fmla="*/ 10319564 h 69"/>
              <a:gd name="T58" fmla="*/ 16713460 w 85"/>
              <a:gd name="T59" fmla="*/ 10319564 h 69"/>
              <a:gd name="T60" fmla="*/ 22791646 w 85"/>
              <a:gd name="T61" fmla="*/ 15478692 h 69"/>
              <a:gd name="T62" fmla="*/ 39505101 w 85"/>
              <a:gd name="T63" fmla="*/ 30957384 h 69"/>
              <a:gd name="T64" fmla="*/ 41023731 w 85"/>
              <a:gd name="T65" fmla="*/ 20637817 h 69"/>
              <a:gd name="T66" fmla="*/ 34946774 w 85"/>
              <a:gd name="T67" fmla="*/ 8598982 h 69"/>
              <a:gd name="T68" fmla="*/ 39505101 w 85"/>
              <a:gd name="T69" fmla="*/ 0 h 69"/>
              <a:gd name="T70" fmla="*/ 48621765 w 85"/>
              <a:gd name="T71" fmla="*/ 3439855 h 69"/>
              <a:gd name="T72" fmla="*/ 48621765 w 85"/>
              <a:gd name="T73" fmla="*/ 3439855 h 6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85"/>
              <a:gd name="T112" fmla="*/ 0 h 69"/>
              <a:gd name="T113" fmla="*/ 85 w 85"/>
              <a:gd name="T114" fmla="*/ 69 h 6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85" h="69">
                <a:moveTo>
                  <a:pt x="32" y="2"/>
                </a:moveTo>
                <a:lnTo>
                  <a:pt x="36" y="2"/>
                </a:lnTo>
                <a:lnTo>
                  <a:pt x="49" y="6"/>
                </a:lnTo>
                <a:lnTo>
                  <a:pt x="61" y="15"/>
                </a:lnTo>
                <a:lnTo>
                  <a:pt x="68" y="26"/>
                </a:lnTo>
                <a:lnTo>
                  <a:pt x="84" y="38"/>
                </a:lnTo>
                <a:lnTo>
                  <a:pt x="76" y="41"/>
                </a:lnTo>
                <a:lnTo>
                  <a:pt x="70" y="49"/>
                </a:lnTo>
                <a:lnTo>
                  <a:pt x="69" y="53"/>
                </a:lnTo>
                <a:lnTo>
                  <a:pt x="66" y="68"/>
                </a:lnTo>
                <a:lnTo>
                  <a:pt x="54" y="64"/>
                </a:lnTo>
                <a:lnTo>
                  <a:pt x="52" y="51"/>
                </a:lnTo>
                <a:lnTo>
                  <a:pt x="40" y="56"/>
                </a:lnTo>
                <a:lnTo>
                  <a:pt x="29" y="63"/>
                </a:lnTo>
                <a:lnTo>
                  <a:pt x="22" y="62"/>
                </a:lnTo>
                <a:lnTo>
                  <a:pt x="16" y="55"/>
                </a:lnTo>
                <a:lnTo>
                  <a:pt x="12" y="49"/>
                </a:lnTo>
                <a:lnTo>
                  <a:pt x="17" y="43"/>
                </a:lnTo>
                <a:lnTo>
                  <a:pt x="20" y="48"/>
                </a:lnTo>
                <a:lnTo>
                  <a:pt x="35" y="55"/>
                </a:lnTo>
                <a:lnTo>
                  <a:pt x="38" y="49"/>
                </a:lnTo>
                <a:lnTo>
                  <a:pt x="24" y="38"/>
                </a:lnTo>
                <a:lnTo>
                  <a:pt x="20" y="29"/>
                </a:lnTo>
                <a:lnTo>
                  <a:pt x="15" y="26"/>
                </a:lnTo>
                <a:lnTo>
                  <a:pt x="15" y="20"/>
                </a:lnTo>
                <a:lnTo>
                  <a:pt x="9" y="18"/>
                </a:lnTo>
                <a:lnTo>
                  <a:pt x="0" y="17"/>
                </a:lnTo>
                <a:lnTo>
                  <a:pt x="3" y="10"/>
                </a:lnTo>
                <a:lnTo>
                  <a:pt x="4" y="6"/>
                </a:lnTo>
                <a:lnTo>
                  <a:pt x="11" y="6"/>
                </a:lnTo>
                <a:lnTo>
                  <a:pt x="15" y="9"/>
                </a:lnTo>
                <a:lnTo>
                  <a:pt x="26" y="18"/>
                </a:lnTo>
                <a:lnTo>
                  <a:pt x="27" y="12"/>
                </a:lnTo>
                <a:lnTo>
                  <a:pt x="23" y="5"/>
                </a:lnTo>
                <a:lnTo>
                  <a:pt x="26" y="0"/>
                </a:lnTo>
                <a:lnTo>
                  <a:pt x="32" y="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44" name="Freeform 741">
            <a:extLst>
              <a:ext uri="{FF2B5EF4-FFF2-40B4-BE49-F238E27FC236}">
                <a16:creationId xmlns:a16="http://schemas.microsoft.com/office/drawing/2014/main" id="{7654F90E-7443-736C-17E0-FAD04231CF36}"/>
              </a:ext>
            </a:extLst>
          </p:cNvPr>
          <p:cNvSpPr>
            <a:spLocks/>
          </p:cNvSpPr>
          <p:nvPr/>
        </p:nvSpPr>
        <p:spPr bwMode="auto">
          <a:xfrm>
            <a:off x="4719909" y="4696953"/>
            <a:ext cx="68622" cy="47322"/>
          </a:xfrm>
          <a:custGeom>
            <a:avLst/>
            <a:gdLst>
              <a:gd name="T0" fmla="*/ 0 w 57"/>
              <a:gd name="T1" fmla="*/ 10017957 h 43"/>
              <a:gd name="T2" fmla="*/ 11994369 w 57"/>
              <a:gd name="T3" fmla="*/ 21705362 h 43"/>
              <a:gd name="T4" fmla="*/ 25702218 w 57"/>
              <a:gd name="T5" fmla="*/ 38401091 h 43"/>
              <a:gd name="T6" fmla="*/ 47977476 w 57"/>
              <a:gd name="T7" fmla="*/ 61775897 h 43"/>
              <a:gd name="T8" fmla="*/ 61685320 w 57"/>
              <a:gd name="T9" fmla="*/ 48419056 h 43"/>
              <a:gd name="T10" fmla="*/ 63398800 w 57"/>
              <a:gd name="T11" fmla="*/ 60106454 h 43"/>
              <a:gd name="T12" fmla="*/ 73679684 w 57"/>
              <a:gd name="T13" fmla="*/ 61775897 h 43"/>
              <a:gd name="T14" fmla="*/ 89101029 w 57"/>
              <a:gd name="T15" fmla="*/ 70124408 h 43"/>
              <a:gd name="T16" fmla="*/ 95954951 w 57"/>
              <a:gd name="T17" fmla="*/ 60106454 h 43"/>
              <a:gd name="T18" fmla="*/ 71966203 w 57"/>
              <a:gd name="T19" fmla="*/ 41739979 h 43"/>
              <a:gd name="T20" fmla="*/ 66825762 w 57"/>
              <a:gd name="T21" fmla="*/ 26713693 h 43"/>
              <a:gd name="T22" fmla="*/ 56544878 w 57"/>
              <a:gd name="T23" fmla="*/ 21705362 h 43"/>
              <a:gd name="T24" fmla="*/ 56544878 w 57"/>
              <a:gd name="T25" fmla="*/ 11687403 h 43"/>
              <a:gd name="T26" fmla="*/ 46263995 w 57"/>
              <a:gd name="T27" fmla="*/ 8348513 h 43"/>
              <a:gd name="T28" fmla="*/ 30842660 w 57"/>
              <a:gd name="T29" fmla="*/ 5008332 h 43"/>
              <a:gd name="T30" fmla="*/ 17134811 w 57"/>
              <a:gd name="T31" fmla="*/ 0 h 43"/>
              <a:gd name="T32" fmla="*/ 5140443 w 57"/>
              <a:gd name="T33" fmla="*/ 1669444 h 43"/>
              <a:gd name="T34" fmla="*/ 0 w 57"/>
              <a:gd name="T35" fmla="*/ 10017957 h 43"/>
              <a:gd name="T36" fmla="*/ 0 w 57"/>
              <a:gd name="T37" fmla="*/ 10017957 h 43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57"/>
              <a:gd name="T58" fmla="*/ 0 h 43"/>
              <a:gd name="T59" fmla="*/ 57 w 57"/>
              <a:gd name="T60" fmla="*/ 43 h 43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57" h="43">
                <a:moveTo>
                  <a:pt x="0" y="6"/>
                </a:moveTo>
                <a:lnTo>
                  <a:pt x="7" y="13"/>
                </a:lnTo>
                <a:lnTo>
                  <a:pt x="15" y="23"/>
                </a:lnTo>
                <a:lnTo>
                  <a:pt x="28" y="37"/>
                </a:lnTo>
                <a:lnTo>
                  <a:pt x="36" y="29"/>
                </a:lnTo>
                <a:lnTo>
                  <a:pt x="37" y="36"/>
                </a:lnTo>
                <a:lnTo>
                  <a:pt x="43" y="37"/>
                </a:lnTo>
                <a:lnTo>
                  <a:pt x="52" y="42"/>
                </a:lnTo>
                <a:lnTo>
                  <a:pt x="56" y="36"/>
                </a:lnTo>
                <a:lnTo>
                  <a:pt x="42" y="25"/>
                </a:lnTo>
                <a:lnTo>
                  <a:pt x="39" y="16"/>
                </a:lnTo>
                <a:lnTo>
                  <a:pt x="33" y="13"/>
                </a:lnTo>
                <a:lnTo>
                  <a:pt x="33" y="7"/>
                </a:lnTo>
                <a:lnTo>
                  <a:pt x="27" y="5"/>
                </a:lnTo>
                <a:lnTo>
                  <a:pt x="18" y="3"/>
                </a:lnTo>
                <a:lnTo>
                  <a:pt x="10" y="0"/>
                </a:lnTo>
                <a:lnTo>
                  <a:pt x="3" y="1"/>
                </a:lnTo>
                <a:lnTo>
                  <a:pt x="0" y="6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45" name="Freeform 742">
            <a:extLst>
              <a:ext uri="{FF2B5EF4-FFF2-40B4-BE49-F238E27FC236}">
                <a16:creationId xmlns:a16="http://schemas.microsoft.com/office/drawing/2014/main" id="{8F7052F2-CA4D-B8D5-5B72-342F6EE8243E}"/>
              </a:ext>
            </a:extLst>
          </p:cNvPr>
          <p:cNvSpPr>
            <a:spLocks/>
          </p:cNvSpPr>
          <p:nvPr/>
        </p:nvSpPr>
        <p:spPr bwMode="auto">
          <a:xfrm>
            <a:off x="4757870" y="4436007"/>
            <a:ext cx="654085" cy="274468"/>
          </a:xfrm>
          <a:custGeom>
            <a:avLst/>
            <a:gdLst>
              <a:gd name="T0" fmla="*/ 837896752 w 572"/>
              <a:gd name="T1" fmla="*/ 173329062 h 246"/>
              <a:gd name="T2" fmla="*/ 749778861 w 572"/>
              <a:gd name="T3" fmla="*/ 163032328 h 246"/>
              <a:gd name="T4" fmla="*/ 717313589 w 572"/>
              <a:gd name="T5" fmla="*/ 130426133 h 246"/>
              <a:gd name="T6" fmla="*/ 675574125 w 572"/>
              <a:gd name="T7" fmla="*/ 135574479 h 246"/>
              <a:gd name="T8" fmla="*/ 635379996 w 572"/>
              <a:gd name="T9" fmla="*/ 121845555 h 246"/>
              <a:gd name="T10" fmla="*/ 562720752 w 572"/>
              <a:gd name="T11" fmla="*/ 70362068 h 246"/>
              <a:gd name="T12" fmla="*/ 471510634 w 572"/>
              <a:gd name="T13" fmla="*/ 51483487 h 246"/>
              <a:gd name="T14" fmla="*/ 408126826 w 572"/>
              <a:gd name="T15" fmla="*/ 30890090 h 246"/>
              <a:gd name="T16" fmla="*/ 344743018 w 572"/>
              <a:gd name="T17" fmla="*/ 17161161 h 246"/>
              <a:gd name="T18" fmla="*/ 284452602 w 572"/>
              <a:gd name="T19" fmla="*/ 36038437 h 246"/>
              <a:gd name="T20" fmla="*/ 216431076 w 572"/>
              <a:gd name="T21" fmla="*/ 36038437 h 246"/>
              <a:gd name="T22" fmla="*/ 216431076 w 572"/>
              <a:gd name="T23" fmla="*/ 84090992 h 246"/>
              <a:gd name="T24" fmla="*/ 242711894 w 572"/>
              <a:gd name="T25" fmla="*/ 106400515 h 246"/>
              <a:gd name="T26" fmla="*/ 242711894 w 572"/>
              <a:gd name="T27" fmla="*/ 139006710 h 246"/>
              <a:gd name="T28" fmla="*/ 216431076 w 572"/>
              <a:gd name="T29" fmla="*/ 140722826 h 246"/>
              <a:gd name="T30" fmla="*/ 177782595 w 572"/>
              <a:gd name="T31" fmla="*/ 123561671 h 246"/>
              <a:gd name="T32" fmla="*/ 151501738 w 572"/>
              <a:gd name="T33" fmla="*/ 130426133 h 246"/>
              <a:gd name="T34" fmla="*/ 120583201 w 572"/>
              <a:gd name="T35" fmla="*/ 118413324 h 246"/>
              <a:gd name="T36" fmla="*/ 46378446 w 572"/>
              <a:gd name="T37" fmla="*/ 116697208 h 246"/>
              <a:gd name="T38" fmla="*/ 30918546 w 572"/>
              <a:gd name="T39" fmla="*/ 133858364 h 246"/>
              <a:gd name="T40" fmla="*/ 27826320 w 572"/>
              <a:gd name="T41" fmla="*/ 156167866 h 246"/>
              <a:gd name="T42" fmla="*/ 4637720 w 572"/>
              <a:gd name="T43" fmla="*/ 145871173 h 246"/>
              <a:gd name="T44" fmla="*/ 0 w 572"/>
              <a:gd name="T45" fmla="*/ 192206333 h 246"/>
              <a:gd name="T46" fmla="*/ 12367668 w 572"/>
              <a:gd name="T47" fmla="*/ 224813839 h 246"/>
              <a:gd name="T48" fmla="*/ 40193983 w 572"/>
              <a:gd name="T49" fmla="*/ 223097723 h 246"/>
              <a:gd name="T50" fmla="*/ 66474811 w 572"/>
              <a:gd name="T51" fmla="*/ 269432843 h 246"/>
              <a:gd name="T52" fmla="*/ 160777174 w 572"/>
              <a:gd name="T53" fmla="*/ 252271688 h 246"/>
              <a:gd name="T54" fmla="*/ 153047229 w 572"/>
              <a:gd name="T55" fmla="*/ 302039039 h 246"/>
              <a:gd name="T56" fmla="*/ 105123311 w 572"/>
              <a:gd name="T57" fmla="*/ 327780772 h 246"/>
              <a:gd name="T58" fmla="*/ 157684948 w 572"/>
              <a:gd name="T59" fmla="*/ 375833399 h 246"/>
              <a:gd name="T60" fmla="*/ 194787976 w 572"/>
              <a:gd name="T61" fmla="*/ 380981746 h 246"/>
              <a:gd name="T62" fmla="*/ 222614286 w 572"/>
              <a:gd name="T63" fmla="*/ 387846208 h 246"/>
              <a:gd name="T64" fmla="*/ 222614286 w 572"/>
              <a:gd name="T65" fmla="*/ 293458461 h 246"/>
              <a:gd name="T66" fmla="*/ 259717276 w 572"/>
              <a:gd name="T67" fmla="*/ 264284497 h 246"/>
              <a:gd name="T68" fmla="*/ 272084939 w 572"/>
              <a:gd name="T69" fmla="*/ 252271688 h 246"/>
              <a:gd name="T70" fmla="*/ 290635812 w 572"/>
              <a:gd name="T71" fmla="*/ 260852265 h 246"/>
              <a:gd name="T72" fmla="*/ 299911249 w 572"/>
              <a:gd name="T73" fmla="*/ 267716728 h 246"/>
              <a:gd name="T74" fmla="*/ 323101084 w 572"/>
              <a:gd name="T75" fmla="*/ 307187385 h 246"/>
              <a:gd name="T76" fmla="*/ 343197526 w 572"/>
              <a:gd name="T77" fmla="*/ 332929119 h 246"/>
              <a:gd name="T78" fmla="*/ 394213671 w 572"/>
              <a:gd name="T79" fmla="*/ 332929119 h 246"/>
              <a:gd name="T80" fmla="*/ 414311279 w 572"/>
              <a:gd name="T81" fmla="*/ 398142901 h 246"/>
              <a:gd name="T82" fmla="*/ 435954379 w 572"/>
              <a:gd name="T83" fmla="*/ 420452403 h 246"/>
              <a:gd name="T84" fmla="*/ 486969280 w 572"/>
              <a:gd name="T85" fmla="*/ 410155710 h 246"/>
              <a:gd name="T86" fmla="*/ 547260862 w 572"/>
              <a:gd name="T87" fmla="*/ 410155710 h 246"/>
              <a:gd name="T88" fmla="*/ 544169878 w 572"/>
              <a:gd name="T89" fmla="*/ 382697861 h 246"/>
              <a:gd name="T90" fmla="*/ 554990807 w 572"/>
              <a:gd name="T91" fmla="*/ 368968937 h 246"/>
              <a:gd name="T92" fmla="*/ 592093796 w 572"/>
              <a:gd name="T93" fmla="*/ 374117284 h 246"/>
              <a:gd name="T94" fmla="*/ 644655433 w 572"/>
              <a:gd name="T95" fmla="*/ 360388359 h 246"/>
              <a:gd name="T96" fmla="*/ 732773479 w 572"/>
              <a:gd name="T97" fmla="*/ 379265630 h 246"/>
              <a:gd name="T98" fmla="*/ 732773479 w 572"/>
              <a:gd name="T99" fmla="*/ 319200194 h 246"/>
              <a:gd name="T100" fmla="*/ 799248270 w 572"/>
              <a:gd name="T101" fmla="*/ 252271688 h 246"/>
              <a:gd name="T102" fmla="*/ 861086587 w 572"/>
              <a:gd name="T103" fmla="*/ 216233261 h 24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72"/>
              <a:gd name="T157" fmla="*/ 0 h 246"/>
              <a:gd name="T158" fmla="*/ 572 w 572"/>
              <a:gd name="T159" fmla="*/ 246 h 24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72" h="246">
                <a:moveTo>
                  <a:pt x="557" y="126"/>
                </a:moveTo>
                <a:lnTo>
                  <a:pt x="571" y="121"/>
                </a:lnTo>
                <a:lnTo>
                  <a:pt x="542" y="101"/>
                </a:lnTo>
                <a:lnTo>
                  <a:pt x="524" y="109"/>
                </a:lnTo>
                <a:lnTo>
                  <a:pt x="497" y="102"/>
                </a:lnTo>
                <a:lnTo>
                  <a:pt x="485" y="95"/>
                </a:lnTo>
                <a:lnTo>
                  <a:pt x="474" y="95"/>
                </a:lnTo>
                <a:lnTo>
                  <a:pt x="467" y="84"/>
                </a:lnTo>
                <a:lnTo>
                  <a:pt x="464" y="76"/>
                </a:lnTo>
                <a:lnTo>
                  <a:pt x="454" y="76"/>
                </a:lnTo>
                <a:lnTo>
                  <a:pt x="446" y="76"/>
                </a:lnTo>
                <a:lnTo>
                  <a:pt x="437" y="79"/>
                </a:lnTo>
                <a:lnTo>
                  <a:pt x="424" y="66"/>
                </a:lnTo>
                <a:lnTo>
                  <a:pt x="418" y="68"/>
                </a:lnTo>
                <a:lnTo>
                  <a:pt x="411" y="71"/>
                </a:lnTo>
                <a:lnTo>
                  <a:pt x="404" y="73"/>
                </a:lnTo>
                <a:lnTo>
                  <a:pt x="392" y="63"/>
                </a:lnTo>
                <a:lnTo>
                  <a:pt x="364" y="41"/>
                </a:lnTo>
                <a:lnTo>
                  <a:pt x="342" y="27"/>
                </a:lnTo>
                <a:lnTo>
                  <a:pt x="328" y="15"/>
                </a:lnTo>
                <a:lnTo>
                  <a:pt x="305" y="30"/>
                </a:lnTo>
                <a:lnTo>
                  <a:pt x="301" y="19"/>
                </a:lnTo>
                <a:lnTo>
                  <a:pt x="268" y="18"/>
                </a:lnTo>
                <a:lnTo>
                  <a:pt x="264" y="18"/>
                </a:lnTo>
                <a:lnTo>
                  <a:pt x="249" y="0"/>
                </a:lnTo>
                <a:lnTo>
                  <a:pt x="233" y="2"/>
                </a:lnTo>
                <a:lnTo>
                  <a:pt x="223" y="10"/>
                </a:lnTo>
                <a:lnTo>
                  <a:pt x="202" y="14"/>
                </a:lnTo>
                <a:lnTo>
                  <a:pt x="195" y="10"/>
                </a:lnTo>
                <a:lnTo>
                  <a:pt x="184" y="21"/>
                </a:lnTo>
                <a:lnTo>
                  <a:pt x="176" y="19"/>
                </a:lnTo>
                <a:lnTo>
                  <a:pt x="146" y="22"/>
                </a:lnTo>
                <a:lnTo>
                  <a:pt x="140" y="21"/>
                </a:lnTo>
                <a:lnTo>
                  <a:pt x="136" y="23"/>
                </a:lnTo>
                <a:lnTo>
                  <a:pt x="148" y="36"/>
                </a:lnTo>
                <a:lnTo>
                  <a:pt x="140" y="49"/>
                </a:lnTo>
                <a:lnTo>
                  <a:pt x="141" y="58"/>
                </a:lnTo>
                <a:lnTo>
                  <a:pt x="141" y="62"/>
                </a:lnTo>
                <a:lnTo>
                  <a:pt x="157" y="62"/>
                </a:lnTo>
                <a:lnTo>
                  <a:pt x="162" y="71"/>
                </a:lnTo>
                <a:lnTo>
                  <a:pt x="162" y="79"/>
                </a:lnTo>
                <a:lnTo>
                  <a:pt x="157" y="81"/>
                </a:lnTo>
                <a:lnTo>
                  <a:pt x="151" y="76"/>
                </a:lnTo>
                <a:lnTo>
                  <a:pt x="144" y="79"/>
                </a:lnTo>
                <a:lnTo>
                  <a:pt x="140" y="82"/>
                </a:lnTo>
                <a:lnTo>
                  <a:pt x="129" y="76"/>
                </a:lnTo>
                <a:lnTo>
                  <a:pt x="125" y="69"/>
                </a:lnTo>
                <a:lnTo>
                  <a:pt x="115" y="72"/>
                </a:lnTo>
                <a:lnTo>
                  <a:pt x="115" y="75"/>
                </a:lnTo>
                <a:lnTo>
                  <a:pt x="108" y="69"/>
                </a:lnTo>
                <a:lnTo>
                  <a:pt x="98" y="76"/>
                </a:lnTo>
                <a:lnTo>
                  <a:pt x="86" y="79"/>
                </a:lnTo>
                <a:lnTo>
                  <a:pt x="82" y="76"/>
                </a:lnTo>
                <a:lnTo>
                  <a:pt x="78" y="69"/>
                </a:lnTo>
                <a:lnTo>
                  <a:pt x="63" y="68"/>
                </a:lnTo>
                <a:lnTo>
                  <a:pt x="36" y="66"/>
                </a:lnTo>
                <a:lnTo>
                  <a:pt x="30" y="68"/>
                </a:lnTo>
                <a:lnTo>
                  <a:pt x="28" y="72"/>
                </a:lnTo>
                <a:lnTo>
                  <a:pt x="24" y="71"/>
                </a:lnTo>
                <a:lnTo>
                  <a:pt x="20" y="78"/>
                </a:lnTo>
                <a:lnTo>
                  <a:pt x="16" y="84"/>
                </a:lnTo>
                <a:lnTo>
                  <a:pt x="16" y="86"/>
                </a:lnTo>
                <a:lnTo>
                  <a:pt x="18" y="91"/>
                </a:lnTo>
                <a:lnTo>
                  <a:pt x="14" y="93"/>
                </a:lnTo>
                <a:lnTo>
                  <a:pt x="9" y="84"/>
                </a:lnTo>
                <a:lnTo>
                  <a:pt x="3" y="85"/>
                </a:lnTo>
                <a:lnTo>
                  <a:pt x="0" y="98"/>
                </a:lnTo>
                <a:lnTo>
                  <a:pt x="0" y="105"/>
                </a:lnTo>
                <a:lnTo>
                  <a:pt x="0" y="112"/>
                </a:lnTo>
                <a:lnTo>
                  <a:pt x="4" y="118"/>
                </a:lnTo>
                <a:lnTo>
                  <a:pt x="8" y="123"/>
                </a:lnTo>
                <a:lnTo>
                  <a:pt x="8" y="131"/>
                </a:lnTo>
                <a:lnTo>
                  <a:pt x="14" y="130"/>
                </a:lnTo>
                <a:lnTo>
                  <a:pt x="22" y="124"/>
                </a:lnTo>
                <a:lnTo>
                  <a:pt x="26" y="130"/>
                </a:lnTo>
                <a:lnTo>
                  <a:pt x="32" y="137"/>
                </a:lnTo>
                <a:lnTo>
                  <a:pt x="37" y="144"/>
                </a:lnTo>
                <a:lnTo>
                  <a:pt x="43" y="157"/>
                </a:lnTo>
                <a:lnTo>
                  <a:pt x="55" y="154"/>
                </a:lnTo>
                <a:lnTo>
                  <a:pt x="74" y="150"/>
                </a:lnTo>
                <a:lnTo>
                  <a:pt x="104" y="147"/>
                </a:lnTo>
                <a:lnTo>
                  <a:pt x="111" y="156"/>
                </a:lnTo>
                <a:lnTo>
                  <a:pt x="112" y="172"/>
                </a:lnTo>
                <a:lnTo>
                  <a:pt x="99" y="176"/>
                </a:lnTo>
                <a:lnTo>
                  <a:pt x="86" y="179"/>
                </a:lnTo>
                <a:lnTo>
                  <a:pt x="87" y="191"/>
                </a:lnTo>
                <a:lnTo>
                  <a:pt x="68" y="191"/>
                </a:lnTo>
                <a:lnTo>
                  <a:pt x="86" y="215"/>
                </a:lnTo>
                <a:lnTo>
                  <a:pt x="94" y="217"/>
                </a:lnTo>
                <a:lnTo>
                  <a:pt x="102" y="219"/>
                </a:lnTo>
                <a:lnTo>
                  <a:pt x="106" y="229"/>
                </a:lnTo>
                <a:lnTo>
                  <a:pt x="110" y="225"/>
                </a:lnTo>
                <a:lnTo>
                  <a:pt x="126" y="222"/>
                </a:lnTo>
                <a:lnTo>
                  <a:pt x="134" y="226"/>
                </a:lnTo>
                <a:lnTo>
                  <a:pt x="140" y="231"/>
                </a:lnTo>
                <a:lnTo>
                  <a:pt x="144" y="226"/>
                </a:lnTo>
                <a:lnTo>
                  <a:pt x="155" y="228"/>
                </a:lnTo>
                <a:lnTo>
                  <a:pt x="137" y="174"/>
                </a:lnTo>
                <a:lnTo>
                  <a:pt x="144" y="171"/>
                </a:lnTo>
                <a:lnTo>
                  <a:pt x="167" y="159"/>
                </a:lnTo>
                <a:lnTo>
                  <a:pt x="171" y="158"/>
                </a:lnTo>
                <a:lnTo>
                  <a:pt x="168" y="154"/>
                </a:lnTo>
                <a:lnTo>
                  <a:pt x="173" y="156"/>
                </a:lnTo>
                <a:lnTo>
                  <a:pt x="173" y="150"/>
                </a:lnTo>
                <a:lnTo>
                  <a:pt x="176" y="147"/>
                </a:lnTo>
                <a:lnTo>
                  <a:pt x="178" y="148"/>
                </a:lnTo>
                <a:lnTo>
                  <a:pt x="183" y="148"/>
                </a:lnTo>
                <a:lnTo>
                  <a:pt x="188" y="152"/>
                </a:lnTo>
                <a:lnTo>
                  <a:pt x="195" y="145"/>
                </a:lnTo>
                <a:lnTo>
                  <a:pt x="198" y="147"/>
                </a:lnTo>
                <a:lnTo>
                  <a:pt x="194" y="156"/>
                </a:lnTo>
                <a:lnTo>
                  <a:pt x="197" y="169"/>
                </a:lnTo>
                <a:lnTo>
                  <a:pt x="209" y="176"/>
                </a:lnTo>
                <a:lnTo>
                  <a:pt x="209" y="179"/>
                </a:lnTo>
                <a:lnTo>
                  <a:pt x="205" y="185"/>
                </a:lnTo>
                <a:lnTo>
                  <a:pt x="207" y="188"/>
                </a:lnTo>
                <a:lnTo>
                  <a:pt x="222" y="194"/>
                </a:lnTo>
                <a:lnTo>
                  <a:pt x="226" y="202"/>
                </a:lnTo>
                <a:lnTo>
                  <a:pt x="240" y="197"/>
                </a:lnTo>
                <a:lnTo>
                  <a:pt x="255" y="194"/>
                </a:lnTo>
                <a:lnTo>
                  <a:pt x="268" y="218"/>
                </a:lnTo>
                <a:lnTo>
                  <a:pt x="272" y="229"/>
                </a:lnTo>
                <a:lnTo>
                  <a:pt x="268" y="232"/>
                </a:lnTo>
                <a:lnTo>
                  <a:pt x="266" y="236"/>
                </a:lnTo>
                <a:lnTo>
                  <a:pt x="278" y="240"/>
                </a:lnTo>
                <a:lnTo>
                  <a:pt x="282" y="245"/>
                </a:lnTo>
                <a:lnTo>
                  <a:pt x="298" y="240"/>
                </a:lnTo>
                <a:lnTo>
                  <a:pt x="304" y="245"/>
                </a:lnTo>
                <a:lnTo>
                  <a:pt x="315" y="239"/>
                </a:lnTo>
                <a:lnTo>
                  <a:pt x="323" y="238"/>
                </a:lnTo>
                <a:lnTo>
                  <a:pt x="333" y="239"/>
                </a:lnTo>
                <a:lnTo>
                  <a:pt x="354" y="239"/>
                </a:lnTo>
                <a:lnTo>
                  <a:pt x="349" y="235"/>
                </a:lnTo>
                <a:lnTo>
                  <a:pt x="349" y="228"/>
                </a:lnTo>
                <a:lnTo>
                  <a:pt x="352" y="223"/>
                </a:lnTo>
                <a:lnTo>
                  <a:pt x="352" y="219"/>
                </a:lnTo>
                <a:lnTo>
                  <a:pt x="345" y="216"/>
                </a:lnTo>
                <a:lnTo>
                  <a:pt x="359" y="215"/>
                </a:lnTo>
                <a:lnTo>
                  <a:pt x="371" y="216"/>
                </a:lnTo>
                <a:lnTo>
                  <a:pt x="373" y="219"/>
                </a:lnTo>
                <a:lnTo>
                  <a:pt x="383" y="218"/>
                </a:lnTo>
                <a:lnTo>
                  <a:pt x="376" y="207"/>
                </a:lnTo>
                <a:lnTo>
                  <a:pt x="383" y="206"/>
                </a:lnTo>
                <a:lnTo>
                  <a:pt x="417" y="210"/>
                </a:lnTo>
                <a:lnTo>
                  <a:pt x="444" y="212"/>
                </a:lnTo>
                <a:lnTo>
                  <a:pt x="464" y="221"/>
                </a:lnTo>
                <a:lnTo>
                  <a:pt x="474" y="221"/>
                </a:lnTo>
                <a:lnTo>
                  <a:pt x="478" y="231"/>
                </a:lnTo>
                <a:lnTo>
                  <a:pt x="485" y="210"/>
                </a:lnTo>
                <a:lnTo>
                  <a:pt x="474" y="186"/>
                </a:lnTo>
                <a:lnTo>
                  <a:pt x="508" y="179"/>
                </a:lnTo>
                <a:lnTo>
                  <a:pt x="512" y="166"/>
                </a:lnTo>
                <a:lnTo>
                  <a:pt x="517" y="147"/>
                </a:lnTo>
                <a:lnTo>
                  <a:pt x="552" y="148"/>
                </a:lnTo>
                <a:lnTo>
                  <a:pt x="557" y="126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46" name="Freeform 743">
            <a:extLst>
              <a:ext uri="{FF2B5EF4-FFF2-40B4-BE49-F238E27FC236}">
                <a16:creationId xmlns:a16="http://schemas.microsoft.com/office/drawing/2014/main" id="{A0FDC1FF-F90F-21A3-02DC-D37D9DD71679}"/>
              </a:ext>
            </a:extLst>
          </p:cNvPr>
          <p:cNvSpPr>
            <a:spLocks/>
          </p:cNvSpPr>
          <p:nvPr/>
        </p:nvSpPr>
        <p:spPr bwMode="auto">
          <a:xfrm>
            <a:off x="4915550" y="4614477"/>
            <a:ext cx="287623" cy="169007"/>
          </a:xfrm>
          <a:custGeom>
            <a:avLst/>
            <a:gdLst>
              <a:gd name="T0" fmla="*/ 37557332 w 250"/>
              <a:gd name="T1" fmla="*/ 114387181 h 153"/>
              <a:gd name="T2" fmla="*/ 43817105 w 250"/>
              <a:gd name="T3" fmla="*/ 95883169 h 153"/>
              <a:gd name="T4" fmla="*/ 53205497 w 250"/>
              <a:gd name="T5" fmla="*/ 87472254 h 153"/>
              <a:gd name="T6" fmla="*/ 70419843 w 250"/>
              <a:gd name="T7" fmla="*/ 90836620 h 153"/>
              <a:gd name="T8" fmla="*/ 89197899 w 250"/>
              <a:gd name="T9" fmla="*/ 97565352 h 153"/>
              <a:gd name="T10" fmla="*/ 93892720 w 250"/>
              <a:gd name="T11" fmla="*/ 102611900 h 153"/>
              <a:gd name="T12" fmla="*/ 106412245 w 250"/>
              <a:gd name="T13" fmla="*/ 114387181 h 153"/>
              <a:gd name="T14" fmla="*/ 115800637 w 250"/>
              <a:gd name="T15" fmla="*/ 144665176 h 153"/>
              <a:gd name="T16" fmla="*/ 129885103 w 250"/>
              <a:gd name="T17" fmla="*/ 141300810 h 153"/>
              <a:gd name="T18" fmla="*/ 151793020 w 250"/>
              <a:gd name="T19" fmla="*/ 144665176 h 153"/>
              <a:gd name="T20" fmla="*/ 183090619 w 250"/>
              <a:gd name="T21" fmla="*/ 178308874 h 153"/>
              <a:gd name="T22" fmla="*/ 215953120 w 250"/>
              <a:gd name="T23" fmla="*/ 198495069 h 153"/>
              <a:gd name="T24" fmla="*/ 247250681 w 250"/>
              <a:gd name="T25" fmla="*/ 220362150 h 153"/>
              <a:gd name="T26" fmla="*/ 259770205 w 250"/>
              <a:gd name="T27" fmla="*/ 255687991 h 153"/>
              <a:gd name="T28" fmla="*/ 278548241 w 250"/>
              <a:gd name="T29" fmla="*/ 227090881 h 153"/>
              <a:gd name="T30" fmla="*/ 281678122 w 250"/>
              <a:gd name="T31" fmla="*/ 201859435 h 153"/>
              <a:gd name="T32" fmla="*/ 269159849 w 250"/>
              <a:gd name="T33" fmla="*/ 163169188 h 153"/>
              <a:gd name="T34" fmla="*/ 295762587 w 250"/>
              <a:gd name="T35" fmla="*/ 154758273 h 153"/>
              <a:gd name="T36" fmla="*/ 328625167 w 250"/>
              <a:gd name="T37" fmla="*/ 163169188 h 153"/>
              <a:gd name="T38" fmla="*/ 381830644 w 250"/>
              <a:gd name="T39" fmla="*/ 158122639 h 153"/>
              <a:gd name="T40" fmla="*/ 381830644 w 250"/>
              <a:gd name="T41" fmla="*/ 136254261 h 153"/>
              <a:gd name="T42" fmla="*/ 317670504 w 250"/>
              <a:gd name="T43" fmla="*/ 136254261 h 153"/>
              <a:gd name="T44" fmla="*/ 286372944 w 250"/>
              <a:gd name="T45" fmla="*/ 132889895 h 153"/>
              <a:gd name="T46" fmla="*/ 258205265 w 250"/>
              <a:gd name="T47" fmla="*/ 144665176 h 153"/>
              <a:gd name="T48" fmla="*/ 239427229 w 250"/>
              <a:gd name="T49" fmla="*/ 141300810 h 153"/>
              <a:gd name="T50" fmla="*/ 223777823 w 250"/>
              <a:gd name="T51" fmla="*/ 142982993 h 153"/>
              <a:gd name="T52" fmla="*/ 204999787 w 250"/>
              <a:gd name="T53" fmla="*/ 132889895 h 153"/>
              <a:gd name="T54" fmla="*/ 204999787 w 250"/>
              <a:gd name="T55" fmla="*/ 124480278 h 153"/>
              <a:gd name="T56" fmla="*/ 201869906 w 250"/>
              <a:gd name="T57" fmla="*/ 95883169 h 153"/>
              <a:gd name="T58" fmla="*/ 140839687 w 250"/>
              <a:gd name="T59" fmla="*/ 72332588 h 153"/>
              <a:gd name="T60" fmla="*/ 109542126 w 250"/>
              <a:gd name="T61" fmla="*/ 50464210 h 153"/>
              <a:gd name="T62" fmla="*/ 70419843 w 250"/>
              <a:gd name="T63" fmla="*/ 60557308 h 153"/>
              <a:gd name="T64" fmla="*/ 45382045 w 250"/>
              <a:gd name="T65" fmla="*/ 26914936 h 153"/>
              <a:gd name="T66" fmla="*/ 46946986 w 250"/>
              <a:gd name="T67" fmla="*/ 0 h 153"/>
              <a:gd name="T68" fmla="*/ 28167689 w 250"/>
              <a:gd name="T69" fmla="*/ 117751546 h 153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50"/>
              <a:gd name="T106" fmla="*/ 0 h 153"/>
              <a:gd name="T107" fmla="*/ 250 w 250"/>
              <a:gd name="T108" fmla="*/ 153 h 153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50" h="153">
                <a:moveTo>
                  <a:pt x="18" y="70"/>
                </a:moveTo>
                <a:lnTo>
                  <a:pt x="24" y="68"/>
                </a:lnTo>
                <a:lnTo>
                  <a:pt x="26" y="62"/>
                </a:lnTo>
                <a:lnTo>
                  <a:pt x="28" y="57"/>
                </a:lnTo>
                <a:lnTo>
                  <a:pt x="36" y="60"/>
                </a:lnTo>
                <a:lnTo>
                  <a:pt x="34" y="52"/>
                </a:lnTo>
                <a:lnTo>
                  <a:pt x="41" y="49"/>
                </a:lnTo>
                <a:lnTo>
                  <a:pt x="45" y="54"/>
                </a:lnTo>
                <a:lnTo>
                  <a:pt x="51" y="54"/>
                </a:lnTo>
                <a:lnTo>
                  <a:pt x="57" y="58"/>
                </a:lnTo>
                <a:lnTo>
                  <a:pt x="60" y="60"/>
                </a:lnTo>
                <a:lnTo>
                  <a:pt x="60" y="61"/>
                </a:lnTo>
                <a:lnTo>
                  <a:pt x="61" y="66"/>
                </a:lnTo>
                <a:lnTo>
                  <a:pt x="68" y="68"/>
                </a:lnTo>
                <a:lnTo>
                  <a:pt x="68" y="75"/>
                </a:lnTo>
                <a:lnTo>
                  <a:pt x="74" y="86"/>
                </a:lnTo>
                <a:lnTo>
                  <a:pt x="81" y="87"/>
                </a:lnTo>
                <a:lnTo>
                  <a:pt x="83" y="84"/>
                </a:lnTo>
                <a:lnTo>
                  <a:pt x="91" y="80"/>
                </a:lnTo>
                <a:lnTo>
                  <a:pt x="97" y="86"/>
                </a:lnTo>
                <a:lnTo>
                  <a:pt x="105" y="94"/>
                </a:lnTo>
                <a:lnTo>
                  <a:pt x="117" y="106"/>
                </a:lnTo>
                <a:lnTo>
                  <a:pt x="137" y="111"/>
                </a:lnTo>
                <a:lnTo>
                  <a:pt x="138" y="118"/>
                </a:lnTo>
                <a:lnTo>
                  <a:pt x="151" y="124"/>
                </a:lnTo>
                <a:lnTo>
                  <a:pt x="158" y="131"/>
                </a:lnTo>
                <a:lnTo>
                  <a:pt x="153" y="152"/>
                </a:lnTo>
                <a:lnTo>
                  <a:pt x="166" y="152"/>
                </a:lnTo>
                <a:lnTo>
                  <a:pt x="173" y="141"/>
                </a:lnTo>
                <a:lnTo>
                  <a:pt x="178" y="135"/>
                </a:lnTo>
                <a:lnTo>
                  <a:pt x="182" y="130"/>
                </a:lnTo>
                <a:lnTo>
                  <a:pt x="180" y="120"/>
                </a:lnTo>
                <a:lnTo>
                  <a:pt x="170" y="116"/>
                </a:lnTo>
                <a:lnTo>
                  <a:pt x="172" y="97"/>
                </a:lnTo>
                <a:lnTo>
                  <a:pt x="181" y="90"/>
                </a:lnTo>
                <a:lnTo>
                  <a:pt x="189" y="92"/>
                </a:lnTo>
                <a:lnTo>
                  <a:pt x="207" y="89"/>
                </a:lnTo>
                <a:lnTo>
                  <a:pt x="210" y="97"/>
                </a:lnTo>
                <a:lnTo>
                  <a:pt x="221" y="96"/>
                </a:lnTo>
                <a:lnTo>
                  <a:pt x="244" y="94"/>
                </a:lnTo>
                <a:lnTo>
                  <a:pt x="249" y="86"/>
                </a:lnTo>
                <a:lnTo>
                  <a:pt x="244" y="81"/>
                </a:lnTo>
                <a:lnTo>
                  <a:pt x="229" y="81"/>
                </a:lnTo>
                <a:lnTo>
                  <a:pt x="203" y="81"/>
                </a:lnTo>
                <a:lnTo>
                  <a:pt x="193" y="81"/>
                </a:lnTo>
                <a:lnTo>
                  <a:pt x="183" y="79"/>
                </a:lnTo>
                <a:lnTo>
                  <a:pt x="167" y="87"/>
                </a:lnTo>
                <a:lnTo>
                  <a:pt x="165" y="86"/>
                </a:lnTo>
                <a:lnTo>
                  <a:pt x="161" y="82"/>
                </a:lnTo>
                <a:lnTo>
                  <a:pt x="153" y="84"/>
                </a:lnTo>
                <a:lnTo>
                  <a:pt x="145" y="87"/>
                </a:lnTo>
                <a:lnTo>
                  <a:pt x="143" y="85"/>
                </a:lnTo>
                <a:lnTo>
                  <a:pt x="141" y="82"/>
                </a:lnTo>
                <a:lnTo>
                  <a:pt x="131" y="79"/>
                </a:lnTo>
                <a:lnTo>
                  <a:pt x="129" y="78"/>
                </a:lnTo>
                <a:lnTo>
                  <a:pt x="131" y="74"/>
                </a:lnTo>
                <a:lnTo>
                  <a:pt x="136" y="71"/>
                </a:lnTo>
                <a:lnTo>
                  <a:pt x="129" y="57"/>
                </a:lnTo>
                <a:lnTo>
                  <a:pt x="118" y="36"/>
                </a:lnTo>
                <a:lnTo>
                  <a:pt x="90" y="43"/>
                </a:lnTo>
                <a:lnTo>
                  <a:pt x="83" y="36"/>
                </a:lnTo>
                <a:lnTo>
                  <a:pt x="70" y="30"/>
                </a:lnTo>
                <a:lnTo>
                  <a:pt x="58" y="39"/>
                </a:lnTo>
                <a:lnTo>
                  <a:pt x="45" y="36"/>
                </a:lnTo>
                <a:lnTo>
                  <a:pt x="32" y="27"/>
                </a:lnTo>
                <a:lnTo>
                  <a:pt x="29" y="16"/>
                </a:lnTo>
                <a:lnTo>
                  <a:pt x="31" y="8"/>
                </a:lnTo>
                <a:lnTo>
                  <a:pt x="30" y="0"/>
                </a:lnTo>
                <a:lnTo>
                  <a:pt x="0" y="16"/>
                </a:lnTo>
                <a:lnTo>
                  <a:pt x="18" y="7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47" name="Freeform 744">
            <a:extLst>
              <a:ext uri="{FF2B5EF4-FFF2-40B4-BE49-F238E27FC236}">
                <a16:creationId xmlns:a16="http://schemas.microsoft.com/office/drawing/2014/main" id="{AA4AC2F0-E5CD-403F-DDF0-25455E8F1BCD}"/>
              </a:ext>
            </a:extLst>
          </p:cNvPr>
          <p:cNvSpPr>
            <a:spLocks/>
          </p:cNvSpPr>
          <p:nvPr/>
        </p:nvSpPr>
        <p:spPr bwMode="auto">
          <a:xfrm>
            <a:off x="4876131" y="4667208"/>
            <a:ext cx="220462" cy="150078"/>
          </a:xfrm>
          <a:custGeom>
            <a:avLst/>
            <a:gdLst>
              <a:gd name="T0" fmla="*/ 0 w 191"/>
              <a:gd name="T1" fmla="*/ 32855643 h 134"/>
              <a:gd name="T2" fmla="*/ 1575071 w 191"/>
              <a:gd name="T3" fmla="*/ 63983358 h 134"/>
              <a:gd name="T4" fmla="*/ 17325780 w 191"/>
              <a:gd name="T5" fmla="*/ 44960360 h 134"/>
              <a:gd name="T6" fmla="*/ 39378027 w 191"/>
              <a:gd name="T7" fmla="*/ 69171089 h 134"/>
              <a:gd name="T8" fmla="*/ 29927604 w 191"/>
              <a:gd name="T9" fmla="*/ 83005040 h 134"/>
              <a:gd name="T10" fmla="*/ 3150142 w 191"/>
              <a:gd name="T11" fmla="*/ 69171089 h 134"/>
              <a:gd name="T12" fmla="*/ 0 w 191"/>
              <a:gd name="T13" fmla="*/ 89922036 h 134"/>
              <a:gd name="T14" fmla="*/ 3150142 w 191"/>
              <a:gd name="T15" fmla="*/ 102026743 h 134"/>
              <a:gd name="T16" fmla="*/ 17325780 w 191"/>
              <a:gd name="T17" fmla="*/ 103755986 h 134"/>
              <a:gd name="T18" fmla="*/ 11025498 w 191"/>
              <a:gd name="T19" fmla="*/ 117589937 h 134"/>
              <a:gd name="T20" fmla="*/ 23627322 w 191"/>
              <a:gd name="T21" fmla="*/ 126236156 h 134"/>
              <a:gd name="T22" fmla="*/ 23627322 w 191"/>
              <a:gd name="T23" fmla="*/ 167738009 h 134"/>
              <a:gd name="T24" fmla="*/ 64580420 w 191"/>
              <a:gd name="T25" fmla="*/ 155633302 h 134"/>
              <a:gd name="T26" fmla="*/ 88206497 w 191"/>
              <a:gd name="T27" fmla="*/ 143528595 h 134"/>
              <a:gd name="T28" fmla="*/ 141760149 w 191"/>
              <a:gd name="T29" fmla="*/ 171196496 h 134"/>
              <a:gd name="T30" fmla="*/ 173262853 w 191"/>
              <a:gd name="T31" fmla="*/ 186761047 h 134"/>
              <a:gd name="T32" fmla="*/ 181138205 w 191"/>
              <a:gd name="T33" fmla="*/ 195407266 h 134"/>
              <a:gd name="T34" fmla="*/ 184288346 w 191"/>
              <a:gd name="T35" fmla="*/ 214428948 h 134"/>
              <a:gd name="T36" fmla="*/ 215791011 w 191"/>
              <a:gd name="T37" fmla="*/ 229992143 h 134"/>
              <a:gd name="T38" fmla="*/ 261469310 w 191"/>
              <a:gd name="T39" fmla="*/ 174655025 h 134"/>
              <a:gd name="T40" fmla="*/ 291396905 w 191"/>
              <a:gd name="T41" fmla="*/ 174655025 h 134"/>
              <a:gd name="T42" fmla="*/ 296122116 w 191"/>
              <a:gd name="T43" fmla="*/ 152174814 h 134"/>
              <a:gd name="T44" fmla="*/ 299272257 w 191"/>
              <a:gd name="T45" fmla="*/ 141799351 h 134"/>
              <a:gd name="T46" fmla="*/ 289821834 w 191"/>
              <a:gd name="T47" fmla="*/ 127965400 h 134"/>
              <a:gd name="T48" fmla="*/ 267769592 w 191"/>
              <a:gd name="T49" fmla="*/ 119319181 h 134"/>
              <a:gd name="T50" fmla="*/ 266194522 w 191"/>
              <a:gd name="T51" fmla="*/ 107214474 h 134"/>
              <a:gd name="T52" fmla="*/ 234691857 w 191"/>
              <a:gd name="T53" fmla="*/ 98568255 h 134"/>
              <a:gd name="T54" fmla="*/ 215791011 w 191"/>
              <a:gd name="T55" fmla="*/ 77817308 h 134"/>
              <a:gd name="T56" fmla="*/ 207915658 w 191"/>
              <a:gd name="T57" fmla="*/ 65712601 h 134"/>
              <a:gd name="T58" fmla="*/ 193738769 w 191"/>
              <a:gd name="T59" fmla="*/ 53606580 h 134"/>
              <a:gd name="T60" fmla="*/ 184288346 w 191"/>
              <a:gd name="T61" fmla="*/ 60524870 h 134"/>
              <a:gd name="T62" fmla="*/ 177988064 w 191"/>
              <a:gd name="T63" fmla="*/ 65712601 h 134"/>
              <a:gd name="T64" fmla="*/ 166962571 w 191"/>
              <a:gd name="T65" fmla="*/ 63983358 h 134"/>
              <a:gd name="T66" fmla="*/ 157512109 w 191"/>
              <a:gd name="T67" fmla="*/ 44960360 h 134"/>
              <a:gd name="T68" fmla="*/ 157512109 w 191"/>
              <a:gd name="T69" fmla="*/ 32855643 h 134"/>
              <a:gd name="T70" fmla="*/ 146485360 w 191"/>
              <a:gd name="T71" fmla="*/ 29397156 h 134"/>
              <a:gd name="T72" fmla="*/ 143335219 w 191"/>
              <a:gd name="T73" fmla="*/ 19021687 h 134"/>
              <a:gd name="T74" fmla="*/ 130734655 w 191"/>
              <a:gd name="T75" fmla="*/ 8646222 h 134"/>
              <a:gd name="T76" fmla="*/ 121284232 w 191"/>
              <a:gd name="T77" fmla="*/ 8646222 h 134"/>
              <a:gd name="T78" fmla="*/ 114983950 w 191"/>
              <a:gd name="T79" fmla="*/ 0 h 134"/>
              <a:gd name="T80" fmla="*/ 103957202 w 191"/>
              <a:gd name="T81" fmla="*/ 5187733 h 134"/>
              <a:gd name="T82" fmla="*/ 107108598 w 191"/>
              <a:gd name="T83" fmla="*/ 19021687 h 134"/>
              <a:gd name="T84" fmla="*/ 102382131 w 191"/>
              <a:gd name="T85" fmla="*/ 15563200 h 134"/>
              <a:gd name="T86" fmla="*/ 94506779 w 191"/>
              <a:gd name="T87" fmla="*/ 13833956 h 134"/>
              <a:gd name="T88" fmla="*/ 88206497 w 191"/>
              <a:gd name="T89" fmla="*/ 32855643 h 134"/>
              <a:gd name="T90" fmla="*/ 75605913 w 191"/>
              <a:gd name="T91" fmla="*/ 36314131 h 134"/>
              <a:gd name="T92" fmla="*/ 64580420 w 191"/>
              <a:gd name="T93" fmla="*/ 32855643 h 134"/>
              <a:gd name="T94" fmla="*/ 55128742 w 191"/>
              <a:gd name="T95" fmla="*/ 41501862 h 134"/>
              <a:gd name="T96" fmla="*/ 45678319 w 191"/>
              <a:gd name="T97" fmla="*/ 32855643 h 134"/>
              <a:gd name="T98" fmla="*/ 31502675 w 191"/>
              <a:gd name="T99" fmla="*/ 24209424 h 134"/>
              <a:gd name="T100" fmla="*/ 0 w 191"/>
              <a:gd name="T101" fmla="*/ 32855643 h 134"/>
              <a:gd name="T102" fmla="*/ 0 w 191"/>
              <a:gd name="T103" fmla="*/ 32855643 h 13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91"/>
              <a:gd name="T157" fmla="*/ 0 h 134"/>
              <a:gd name="T158" fmla="*/ 191 w 191"/>
              <a:gd name="T159" fmla="*/ 134 h 134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91" h="134">
                <a:moveTo>
                  <a:pt x="0" y="19"/>
                </a:moveTo>
                <a:lnTo>
                  <a:pt x="1" y="37"/>
                </a:lnTo>
                <a:lnTo>
                  <a:pt x="11" y="26"/>
                </a:lnTo>
                <a:lnTo>
                  <a:pt x="25" y="40"/>
                </a:lnTo>
                <a:lnTo>
                  <a:pt x="19" y="48"/>
                </a:lnTo>
                <a:lnTo>
                  <a:pt x="2" y="40"/>
                </a:lnTo>
                <a:lnTo>
                  <a:pt x="0" y="52"/>
                </a:lnTo>
                <a:lnTo>
                  <a:pt x="2" y="59"/>
                </a:lnTo>
                <a:lnTo>
                  <a:pt x="11" y="60"/>
                </a:lnTo>
                <a:lnTo>
                  <a:pt x="7" y="68"/>
                </a:lnTo>
                <a:lnTo>
                  <a:pt x="15" y="73"/>
                </a:lnTo>
                <a:lnTo>
                  <a:pt x="15" y="97"/>
                </a:lnTo>
                <a:lnTo>
                  <a:pt x="41" y="90"/>
                </a:lnTo>
                <a:lnTo>
                  <a:pt x="56" y="83"/>
                </a:lnTo>
                <a:lnTo>
                  <a:pt x="90" y="99"/>
                </a:lnTo>
                <a:lnTo>
                  <a:pt x="110" y="108"/>
                </a:lnTo>
                <a:lnTo>
                  <a:pt x="115" y="113"/>
                </a:lnTo>
                <a:lnTo>
                  <a:pt x="117" y="124"/>
                </a:lnTo>
                <a:lnTo>
                  <a:pt x="137" y="133"/>
                </a:lnTo>
                <a:lnTo>
                  <a:pt x="166" y="101"/>
                </a:lnTo>
                <a:lnTo>
                  <a:pt x="185" y="101"/>
                </a:lnTo>
                <a:lnTo>
                  <a:pt x="188" y="88"/>
                </a:lnTo>
                <a:lnTo>
                  <a:pt x="190" y="82"/>
                </a:lnTo>
                <a:lnTo>
                  <a:pt x="184" y="74"/>
                </a:lnTo>
                <a:lnTo>
                  <a:pt x="170" y="69"/>
                </a:lnTo>
                <a:lnTo>
                  <a:pt x="169" y="62"/>
                </a:lnTo>
                <a:lnTo>
                  <a:pt x="149" y="57"/>
                </a:lnTo>
                <a:lnTo>
                  <a:pt x="137" y="45"/>
                </a:lnTo>
                <a:lnTo>
                  <a:pt x="132" y="38"/>
                </a:lnTo>
                <a:lnTo>
                  <a:pt x="123" y="31"/>
                </a:lnTo>
                <a:lnTo>
                  <a:pt x="117" y="35"/>
                </a:lnTo>
                <a:lnTo>
                  <a:pt x="113" y="38"/>
                </a:lnTo>
                <a:lnTo>
                  <a:pt x="106" y="37"/>
                </a:lnTo>
                <a:lnTo>
                  <a:pt x="100" y="26"/>
                </a:lnTo>
                <a:lnTo>
                  <a:pt x="100" y="19"/>
                </a:lnTo>
                <a:lnTo>
                  <a:pt x="93" y="17"/>
                </a:lnTo>
                <a:lnTo>
                  <a:pt x="91" y="11"/>
                </a:lnTo>
                <a:lnTo>
                  <a:pt x="83" y="5"/>
                </a:lnTo>
                <a:lnTo>
                  <a:pt x="77" y="5"/>
                </a:lnTo>
                <a:lnTo>
                  <a:pt x="73" y="0"/>
                </a:lnTo>
                <a:lnTo>
                  <a:pt x="66" y="3"/>
                </a:lnTo>
                <a:lnTo>
                  <a:pt x="68" y="11"/>
                </a:lnTo>
                <a:lnTo>
                  <a:pt x="65" y="9"/>
                </a:lnTo>
                <a:lnTo>
                  <a:pt x="60" y="8"/>
                </a:lnTo>
                <a:lnTo>
                  <a:pt x="56" y="19"/>
                </a:lnTo>
                <a:lnTo>
                  <a:pt x="48" y="21"/>
                </a:lnTo>
                <a:lnTo>
                  <a:pt x="41" y="19"/>
                </a:lnTo>
                <a:lnTo>
                  <a:pt x="35" y="24"/>
                </a:lnTo>
                <a:lnTo>
                  <a:pt x="29" y="19"/>
                </a:lnTo>
                <a:lnTo>
                  <a:pt x="20" y="14"/>
                </a:lnTo>
                <a:lnTo>
                  <a:pt x="0" y="1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48" name="Freeform 745">
            <a:extLst>
              <a:ext uri="{FF2B5EF4-FFF2-40B4-BE49-F238E27FC236}">
                <a16:creationId xmlns:a16="http://schemas.microsoft.com/office/drawing/2014/main" id="{36BD077B-86D8-7FA9-DF0B-025039769FAF}"/>
              </a:ext>
            </a:extLst>
          </p:cNvPr>
          <p:cNvSpPr>
            <a:spLocks/>
          </p:cNvSpPr>
          <p:nvPr/>
        </p:nvSpPr>
        <p:spPr bwMode="auto">
          <a:xfrm>
            <a:off x="5124332" y="4665855"/>
            <a:ext cx="181042" cy="77068"/>
          </a:xfrm>
          <a:custGeom>
            <a:avLst/>
            <a:gdLst>
              <a:gd name="T0" fmla="*/ 62060649 w 160"/>
              <a:gd name="T1" fmla="*/ 82551268 h 69"/>
              <a:gd name="T2" fmla="*/ 43896322 w 160"/>
              <a:gd name="T3" fmla="*/ 82551268 h 69"/>
              <a:gd name="T4" fmla="*/ 9082166 w 160"/>
              <a:gd name="T5" fmla="*/ 87710414 h 69"/>
              <a:gd name="T6" fmla="*/ 0 w 160"/>
              <a:gd name="T7" fmla="*/ 99749247 h 69"/>
              <a:gd name="T8" fmla="*/ 9082166 w 160"/>
              <a:gd name="T9" fmla="*/ 104909684 h 69"/>
              <a:gd name="T10" fmla="*/ 16649818 w 160"/>
              <a:gd name="T11" fmla="*/ 110068809 h 69"/>
              <a:gd name="T12" fmla="*/ 65087217 w 160"/>
              <a:gd name="T13" fmla="*/ 108348226 h 69"/>
              <a:gd name="T14" fmla="*/ 96874808 w 160"/>
              <a:gd name="T15" fmla="*/ 108348226 h 69"/>
              <a:gd name="T16" fmla="*/ 112011337 w 160"/>
              <a:gd name="T17" fmla="*/ 116948516 h 69"/>
              <a:gd name="T18" fmla="*/ 116552418 w 160"/>
              <a:gd name="T19" fmla="*/ 101469830 h 69"/>
              <a:gd name="T20" fmla="*/ 130175663 w 160"/>
              <a:gd name="T21" fmla="*/ 99749247 h 69"/>
              <a:gd name="T22" fmla="*/ 149853274 w 160"/>
              <a:gd name="T23" fmla="*/ 94590122 h 69"/>
              <a:gd name="T24" fmla="*/ 166503125 w 160"/>
              <a:gd name="T25" fmla="*/ 91150268 h 69"/>
              <a:gd name="T26" fmla="*/ 196777413 w 160"/>
              <a:gd name="T27" fmla="*/ 72233018 h 69"/>
              <a:gd name="T28" fmla="*/ 230078269 w 160"/>
              <a:gd name="T29" fmla="*/ 53314477 h 69"/>
              <a:gd name="T30" fmla="*/ 240673716 w 160"/>
              <a:gd name="T31" fmla="*/ 42996227 h 69"/>
              <a:gd name="T32" fmla="*/ 236132635 w 160"/>
              <a:gd name="T33" fmla="*/ 25796947 h 69"/>
              <a:gd name="T34" fmla="*/ 220996106 w 160"/>
              <a:gd name="T35" fmla="*/ 25796947 h 69"/>
              <a:gd name="T36" fmla="*/ 205859577 w 160"/>
              <a:gd name="T37" fmla="*/ 17197963 h 69"/>
              <a:gd name="T38" fmla="*/ 189208534 w 160"/>
              <a:gd name="T39" fmla="*/ 10319564 h 69"/>
              <a:gd name="T40" fmla="*/ 149853274 w 160"/>
              <a:gd name="T41" fmla="*/ 6879710 h 69"/>
              <a:gd name="T42" fmla="*/ 98388092 w 160"/>
              <a:gd name="T43" fmla="*/ 0 h 69"/>
              <a:gd name="T44" fmla="*/ 89305928 w 160"/>
              <a:gd name="T45" fmla="*/ 1719272 h 69"/>
              <a:gd name="T46" fmla="*/ 92333726 w 160"/>
              <a:gd name="T47" fmla="*/ 10319564 h 69"/>
              <a:gd name="T48" fmla="*/ 98388092 w 160"/>
              <a:gd name="T49" fmla="*/ 20637817 h 69"/>
              <a:gd name="T50" fmla="*/ 83251563 w 160"/>
              <a:gd name="T51" fmla="*/ 22357093 h 69"/>
              <a:gd name="T52" fmla="*/ 80224976 w 160"/>
              <a:gd name="T53" fmla="*/ 17197963 h 69"/>
              <a:gd name="T54" fmla="*/ 63573933 w 160"/>
              <a:gd name="T55" fmla="*/ 15478692 h 69"/>
              <a:gd name="T56" fmla="*/ 40868524 w 160"/>
              <a:gd name="T57" fmla="*/ 17197963 h 69"/>
              <a:gd name="T58" fmla="*/ 51465202 w 160"/>
              <a:gd name="T59" fmla="*/ 22357093 h 69"/>
              <a:gd name="T60" fmla="*/ 52978486 w 160"/>
              <a:gd name="T61" fmla="*/ 29236801 h 69"/>
              <a:gd name="T62" fmla="*/ 46924120 w 160"/>
              <a:gd name="T63" fmla="*/ 37835780 h 69"/>
              <a:gd name="T64" fmla="*/ 46924120 w 160"/>
              <a:gd name="T65" fmla="*/ 49874623 h 69"/>
              <a:gd name="T66" fmla="*/ 54491769 w 160"/>
              <a:gd name="T67" fmla="*/ 56754331 h 69"/>
              <a:gd name="T68" fmla="*/ 83251563 w 160"/>
              <a:gd name="T69" fmla="*/ 56754331 h 69"/>
              <a:gd name="T70" fmla="*/ 93847010 w 160"/>
              <a:gd name="T71" fmla="*/ 56754331 h 69"/>
              <a:gd name="T72" fmla="*/ 102929173 w 160"/>
              <a:gd name="T73" fmla="*/ 67072582 h 69"/>
              <a:gd name="T74" fmla="*/ 93847010 w 160"/>
              <a:gd name="T75" fmla="*/ 80831997 h 69"/>
              <a:gd name="T76" fmla="*/ 83251563 w 160"/>
              <a:gd name="T77" fmla="*/ 80831997 h 69"/>
              <a:gd name="T78" fmla="*/ 72656096 w 160"/>
              <a:gd name="T79" fmla="*/ 79111414 h 69"/>
              <a:gd name="T80" fmla="*/ 68115014 w 160"/>
              <a:gd name="T81" fmla="*/ 80831997 h 69"/>
              <a:gd name="T82" fmla="*/ 62060649 w 160"/>
              <a:gd name="T83" fmla="*/ 82551268 h 69"/>
              <a:gd name="T84" fmla="*/ 62060649 w 160"/>
              <a:gd name="T85" fmla="*/ 82551268 h 6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60"/>
              <a:gd name="T130" fmla="*/ 0 h 69"/>
              <a:gd name="T131" fmla="*/ 160 w 160"/>
              <a:gd name="T132" fmla="*/ 69 h 69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60" h="69">
                <a:moveTo>
                  <a:pt x="41" y="48"/>
                </a:moveTo>
                <a:lnTo>
                  <a:pt x="29" y="48"/>
                </a:lnTo>
                <a:lnTo>
                  <a:pt x="6" y="51"/>
                </a:lnTo>
                <a:lnTo>
                  <a:pt x="0" y="58"/>
                </a:lnTo>
                <a:lnTo>
                  <a:pt x="6" y="61"/>
                </a:lnTo>
                <a:lnTo>
                  <a:pt x="11" y="64"/>
                </a:lnTo>
                <a:lnTo>
                  <a:pt x="43" y="63"/>
                </a:lnTo>
                <a:lnTo>
                  <a:pt x="64" y="63"/>
                </a:lnTo>
                <a:lnTo>
                  <a:pt x="74" y="68"/>
                </a:lnTo>
                <a:lnTo>
                  <a:pt x="77" y="59"/>
                </a:lnTo>
                <a:lnTo>
                  <a:pt x="86" y="58"/>
                </a:lnTo>
                <a:lnTo>
                  <a:pt x="99" y="55"/>
                </a:lnTo>
                <a:lnTo>
                  <a:pt x="110" y="53"/>
                </a:lnTo>
                <a:lnTo>
                  <a:pt x="130" y="42"/>
                </a:lnTo>
                <a:lnTo>
                  <a:pt x="152" y="31"/>
                </a:lnTo>
                <a:lnTo>
                  <a:pt x="159" y="25"/>
                </a:lnTo>
                <a:lnTo>
                  <a:pt x="156" y="15"/>
                </a:lnTo>
                <a:lnTo>
                  <a:pt x="146" y="15"/>
                </a:lnTo>
                <a:lnTo>
                  <a:pt x="136" y="10"/>
                </a:lnTo>
                <a:lnTo>
                  <a:pt x="125" y="6"/>
                </a:lnTo>
                <a:lnTo>
                  <a:pt x="99" y="4"/>
                </a:lnTo>
                <a:lnTo>
                  <a:pt x="65" y="0"/>
                </a:lnTo>
                <a:lnTo>
                  <a:pt x="59" y="1"/>
                </a:lnTo>
                <a:lnTo>
                  <a:pt x="61" y="6"/>
                </a:lnTo>
                <a:lnTo>
                  <a:pt x="65" y="12"/>
                </a:lnTo>
                <a:lnTo>
                  <a:pt x="55" y="13"/>
                </a:lnTo>
                <a:lnTo>
                  <a:pt x="53" y="10"/>
                </a:lnTo>
                <a:lnTo>
                  <a:pt x="42" y="9"/>
                </a:lnTo>
                <a:lnTo>
                  <a:pt x="27" y="10"/>
                </a:lnTo>
                <a:lnTo>
                  <a:pt x="34" y="13"/>
                </a:lnTo>
                <a:lnTo>
                  <a:pt x="35" y="17"/>
                </a:lnTo>
                <a:lnTo>
                  <a:pt x="31" y="22"/>
                </a:lnTo>
                <a:lnTo>
                  <a:pt x="31" y="29"/>
                </a:lnTo>
                <a:lnTo>
                  <a:pt x="36" y="33"/>
                </a:lnTo>
                <a:lnTo>
                  <a:pt x="55" y="33"/>
                </a:lnTo>
                <a:lnTo>
                  <a:pt x="62" y="33"/>
                </a:lnTo>
                <a:lnTo>
                  <a:pt x="68" y="39"/>
                </a:lnTo>
                <a:lnTo>
                  <a:pt x="62" y="47"/>
                </a:lnTo>
                <a:lnTo>
                  <a:pt x="55" y="47"/>
                </a:lnTo>
                <a:lnTo>
                  <a:pt x="48" y="46"/>
                </a:lnTo>
                <a:lnTo>
                  <a:pt x="45" y="47"/>
                </a:lnTo>
                <a:lnTo>
                  <a:pt x="41" y="4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49" name="Freeform 746">
            <a:extLst>
              <a:ext uri="{FF2B5EF4-FFF2-40B4-BE49-F238E27FC236}">
                <a16:creationId xmlns:a16="http://schemas.microsoft.com/office/drawing/2014/main" id="{61DE6529-19E9-C1EB-AFE0-8590E2B5AB90}"/>
              </a:ext>
            </a:extLst>
          </p:cNvPr>
          <p:cNvSpPr>
            <a:spLocks/>
          </p:cNvSpPr>
          <p:nvPr/>
        </p:nvSpPr>
        <p:spPr bwMode="auto">
          <a:xfrm>
            <a:off x="5106812" y="4713178"/>
            <a:ext cx="116801" cy="79771"/>
          </a:xfrm>
          <a:custGeom>
            <a:avLst/>
            <a:gdLst>
              <a:gd name="T0" fmla="*/ 0 w 102"/>
              <a:gd name="T1" fmla="*/ 102674656 h 71"/>
              <a:gd name="T2" fmla="*/ 1550147 w 102"/>
              <a:gd name="T3" fmla="*/ 107894661 h 71"/>
              <a:gd name="T4" fmla="*/ 12402423 w 102"/>
              <a:gd name="T5" fmla="*/ 109635982 h 71"/>
              <a:gd name="T6" fmla="*/ 40307556 w 102"/>
              <a:gd name="T7" fmla="*/ 111375984 h 71"/>
              <a:gd name="T8" fmla="*/ 72863135 w 102"/>
              <a:gd name="T9" fmla="*/ 73090648 h 71"/>
              <a:gd name="T10" fmla="*/ 82164034 w 102"/>
              <a:gd name="T11" fmla="*/ 97453332 h 71"/>
              <a:gd name="T12" fmla="*/ 91466159 w 102"/>
              <a:gd name="T13" fmla="*/ 121817314 h 71"/>
              <a:gd name="T14" fmla="*/ 111619309 w 102"/>
              <a:gd name="T15" fmla="*/ 111375984 h 71"/>
              <a:gd name="T16" fmla="*/ 133322607 w 102"/>
              <a:gd name="T17" fmla="*/ 102674656 h 71"/>
              <a:gd name="T18" fmla="*/ 155027149 w 102"/>
              <a:gd name="T19" fmla="*/ 109635982 h 71"/>
              <a:gd name="T20" fmla="*/ 156577296 w 102"/>
              <a:gd name="T21" fmla="*/ 73090648 h 71"/>
              <a:gd name="T22" fmla="*/ 141074585 w 102"/>
              <a:gd name="T23" fmla="*/ 66129322 h 71"/>
              <a:gd name="T24" fmla="*/ 131772460 w 102"/>
              <a:gd name="T25" fmla="*/ 67869323 h 71"/>
              <a:gd name="T26" fmla="*/ 137974292 w 102"/>
              <a:gd name="T27" fmla="*/ 45246662 h 71"/>
              <a:gd name="T28" fmla="*/ 119371288 w 102"/>
              <a:gd name="T29" fmla="*/ 40025327 h 71"/>
              <a:gd name="T30" fmla="*/ 103868576 w 102"/>
              <a:gd name="T31" fmla="*/ 38285326 h 71"/>
              <a:gd name="T32" fmla="*/ 82164034 w 102"/>
              <a:gd name="T33" fmla="*/ 38285326 h 71"/>
              <a:gd name="T34" fmla="*/ 65111157 w 102"/>
              <a:gd name="T35" fmla="*/ 38285326 h 71"/>
              <a:gd name="T36" fmla="*/ 43407859 w 102"/>
              <a:gd name="T37" fmla="*/ 38285326 h 71"/>
              <a:gd name="T38" fmla="*/ 26354992 w 102"/>
              <a:gd name="T39" fmla="*/ 34805322 h 71"/>
              <a:gd name="T40" fmla="*/ 23253454 w 102"/>
              <a:gd name="T41" fmla="*/ 31324000 h 71"/>
              <a:gd name="T42" fmla="*/ 26354992 w 102"/>
              <a:gd name="T43" fmla="*/ 22622672 h 71"/>
              <a:gd name="T44" fmla="*/ 34105725 w 102"/>
              <a:gd name="T45" fmla="*/ 17402661 h 71"/>
              <a:gd name="T46" fmla="*/ 63561010 w 102"/>
              <a:gd name="T47" fmla="*/ 10441332 h 71"/>
              <a:gd name="T48" fmla="*/ 62010864 w 102"/>
              <a:gd name="T49" fmla="*/ 0 h 71"/>
              <a:gd name="T50" fmla="*/ 40307556 w 102"/>
              <a:gd name="T51" fmla="*/ 3480005 h 71"/>
              <a:gd name="T52" fmla="*/ 20153156 w 102"/>
              <a:gd name="T53" fmla="*/ 1740002 h 71"/>
              <a:gd name="T54" fmla="*/ 7750735 w 102"/>
              <a:gd name="T55" fmla="*/ 13921338 h 71"/>
              <a:gd name="T56" fmla="*/ 3100294 w 102"/>
              <a:gd name="T57" fmla="*/ 38285326 h 71"/>
              <a:gd name="T58" fmla="*/ 4650441 w 102"/>
              <a:gd name="T59" fmla="*/ 45246662 h 71"/>
              <a:gd name="T60" fmla="*/ 3100294 w 102"/>
              <a:gd name="T61" fmla="*/ 46986664 h 71"/>
              <a:gd name="T62" fmla="*/ 17052863 w 102"/>
              <a:gd name="T63" fmla="*/ 50466668 h 71"/>
              <a:gd name="T64" fmla="*/ 23253454 w 102"/>
              <a:gd name="T65" fmla="*/ 64389320 h 71"/>
              <a:gd name="T66" fmla="*/ 20153156 w 102"/>
              <a:gd name="T67" fmla="*/ 80050655 h 71"/>
              <a:gd name="T68" fmla="*/ 15502716 w 102"/>
              <a:gd name="T69" fmla="*/ 81791976 h 71"/>
              <a:gd name="T70" fmla="*/ 10852276 w 102"/>
              <a:gd name="T71" fmla="*/ 88752004 h 71"/>
              <a:gd name="T72" fmla="*/ 0 w 102"/>
              <a:gd name="T73" fmla="*/ 102674656 h 71"/>
              <a:gd name="T74" fmla="*/ 0 w 102"/>
              <a:gd name="T75" fmla="*/ 102674656 h 7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02"/>
              <a:gd name="T115" fmla="*/ 0 h 71"/>
              <a:gd name="T116" fmla="*/ 102 w 102"/>
              <a:gd name="T117" fmla="*/ 71 h 7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02" h="71">
                <a:moveTo>
                  <a:pt x="0" y="59"/>
                </a:moveTo>
                <a:lnTo>
                  <a:pt x="1" y="62"/>
                </a:lnTo>
                <a:lnTo>
                  <a:pt x="8" y="63"/>
                </a:lnTo>
                <a:lnTo>
                  <a:pt x="26" y="64"/>
                </a:lnTo>
                <a:lnTo>
                  <a:pt x="47" y="42"/>
                </a:lnTo>
                <a:lnTo>
                  <a:pt x="53" y="56"/>
                </a:lnTo>
                <a:lnTo>
                  <a:pt x="59" y="70"/>
                </a:lnTo>
                <a:lnTo>
                  <a:pt x="72" y="64"/>
                </a:lnTo>
                <a:lnTo>
                  <a:pt x="86" y="59"/>
                </a:lnTo>
                <a:lnTo>
                  <a:pt x="100" y="63"/>
                </a:lnTo>
                <a:lnTo>
                  <a:pt x="101" y="42"/>
                </a:lnTo>
                <a:lnTo>
                  <a:pt x="91" y="38"/>
                </a:lnTo>
                <a:lnTo>
                  <a:pt x="85" y="39"/>
                </a:lnTo>
                <a:lnTo>
                  <a:pt x="89" y="26"/>
                </a:lnTo>
                <a:lnTo>
                  <a:pt x="77" y="23"/>
                </a:lnTo>
                <a:lnTo>
                  <a:pt x="67" y="22"/>
                </a:lnTo>
                <a:lnTo>
                  <a:pt x="53" y="22"/>
                </a:lnTo>
                <a:lnTo>
                  <a:pt x="42" y="22"/>
                </a:lnTo>
                <a:lnTo>
                  <a:pt x="28" y="22"/>
                </a:lnTo>
                <a:lnTo>
                  <a:pt x="17" y="20"/>
                </a:lnTo>
                <a:lnTo>
                  <a:pt x="15" y="18"/>
                </a:lnTo>
                <a:lnTo>
                  <a:pt x="17" y="13"/>
                </a:lnTo>
                <a:lnTo>
                  <a:pt x="22" y="10"/>
                </a:lnTo>
                <a:lnTo>
                  <a:pt x="41" y="6"/>
                </a:lnTo>
                <a:lnTo>
                  <a:pt x="40" y="0"/>
                </a:lnTo>
                <a:lnTo>
                  <a:pt x="26" y="2"/>
                </a:lnTo>
                <a:lnTo>
                  <a:pt x="13" y="1"/>
                </a:lnTo>
                <a:lnTo>
                  <a:pt x="5" y="8"/>
                </a:lnTo>
                <a:lnTo>
                  <a:pt x="2" y="22"/>
                </a:lnTo>
                <a:lnTo>
                  <a:pt x="3" y="26"/>
                </a:lnTo>
                <a:lnTo>
                  <a:pt x="2" y="27"/>
                </a:lnTo>
                <a:lnTo>
                  <a:pt x="11" y="29"/>
                </a:lnTo>
                <a:lnTo>
                  <a:pt x="15" y="37"/>
                </a:lnTo>
                <a:lnTo>
                  <a:pt x="13" y="46"/>
                </a:lnTo>
                <a:lnTo>
                  <a:pt x="10" y="47"/>
                </a:lnTo>
                <a:lnTo>
                  <a:pt x="7" y="51"/>
                </a:lnTo>
                <a:lnTo>
                  <a:pt x="0" y="5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50" name="Freeform 747">
            <a:extLst>
              <a:ext uri="{FF2B5EF4-FFF2-40B4-BE49-F238E27FC236}">
                <a16:creationId xmlns:a16="http://schemas.microsoft.com/office/drawing/2014/main" id="{93A14D62-A248-01F3-1557-1392CA73B023}"/>
              </a:ext>
            </a:extLst>
          </p:cNvPr>
          <p:cNvSpPr>
            <a:spLocks/>
          </p:cNvSpPr>
          <p:nvPr/>
        </p:nvSpPr>
        <p:spPr bwMode="auto">
          <a:xfrm>
            <a:off x="4322785" y="4638814"/>
            <a:ext cx="56941" cy="54083"/>
          </a:xfrm>
          <a:custGeom>
            <a:avLst/>
            <a:gdLst>
              <a:gd name="T0" fmla="*/ 0 w 48"/>
              <a:gd name="T1" fmla="*/ 20152825 h 49"/>
              <a:gd name="T2" fmla="*/ 46584378 w 48"/>
              <a:gd name="T3" fmla="*/ 18473316 h 49"/>
              <a:gd name="T4" fmla="*/ 51574823 w 48"/>
              <a:gd name="T5" fmla="*/ 0 h 49"/>
              <a:gd name="T6" fmla="*/ 78194824 w 48"/>
              <a:gd name="T7" fmla="*/ 48703209 h 49"/>
              <a:gd name="T8" fmla="*/ 71540469 w 48"/>
              <a:gd name="T9" fmla="*/ 75572772 h 49"/>
              <a:gd name="T10" fmla="*/ 29946545 w 48"/>
              <a:gd name="T11" fmla="*/ 80611301 h 49"/>
              <a:gd name="T12" fmla="*/ 14973917 w 48"/>
              <a:gd name="T13" fmla="*/ 75572772 h 49"/>
              <a:gd name="T14" fmla="*/ 13310006 w 48"/>
              <a:gd name="T15" fmla="*/ 48703209 h 49"/>
              <a:gd name="T16" fmla="*/ 0 w 48"/>
              <a:gd name="T17" fmla="*/ 21832340 h 49"/>
              <a:gd name="T18" fmla="*/ 0 w 48"/>
              <a:gd name="T19" fmla="*/ 20152825 h 49"/>
              <a:gd name="T20" fmla="*/ 0 w 48"/>
              <a:gd name="T21" fmla="*/ 20152825 h 4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8"/>
              <a:gd name="T34" fmla="*/ 0 h 49"/>
              <a:gd name="T35" fmla="*/ 48 w 48"/>
              <a:gd name="T36" fmla="*/ 49 h 4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8" h="49">
                <a:moveTo>
                  <a:pt x="0" y="12"/>
                </a:moveTo>
                <a:lnTo>
                  <a:pt x="28" y="11"/>
                </a:lnTo>
                <a:lnTo>
                  <a:pt x="31" y="0"/>
                </a:lnTo>
                <a:lnTo>
                  <a:pt x="47" y="29"/>
                </a:lnTo>
                <a:lnTo>
                  <a:pt x="43" y="45"/>
                </a:lnTo>
                <a:lnTo>
                  <a:pt x="18" y="48"/>
                </a:lnTo>
                <a:lnTo>
                  <a:pt x="9" y="45"/>
                </a:lnTo>
                <a:lnTo>
                  <a:pt x="8" y="29"/>
                </a:lnTo>
                <a:lnTo>
                  <a:pt x="0" y="13"/>
                </a:lnTo>
                <a:lnTo>
                  <a:pt x="0" y="1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51" name="Freeform 748">
            <a:extLst>
              <a:ext uri="{FF2B5EF4-FFF2-40B4-BE49-F238E27FC236}">
                <a16:creationId xmlns:a16="http://schemas.microsoft.com/office/drawing/2014/main" id="{22D47485-45E8-4C30-1FBC-1C929D91C708}"/>
              </a:ext>
            </a:extLst>
          </p:cNvPr>
          <p:cNvSpPr>
            <a:spLocks/>
          </p:cNvSpPr>
          <p:nvPr/>
        </p:nvSpPr>
        <p:spPr bwMode="auto">
          <a:xfrm>
            <a:off x="4351985" y="4686137"/>
            <a:ext cx="29201" cy="52729"/>
          </a:xfrm>
          <a:custGeom>
            <a:avLst/>
            <a:gdLst>
              <a:gd name="T0" fmla="*/ 0 w 25"/>
              <a:gd name="T1" fmla="*/ 60733038 h 47"/>
              <a:gd name="T2" fmla="*/ 0 w 25"/>
              <a:gd name="T3" fmla="*/ 60733038 h 47"/>
              <a:gd name="T4" fmla="*/ 1612900 w 25"/>
              <a:gd name="T5" fmla="*/ 19087337 h 47"/>
              <a:gd name="T6" fmla="*/ 19354799 w 25"/>
              <a:gd name="T7" fmla="*/ 0 h 47"/>
              <a:gd name="T8" fmla="*/ 38709598 w 25"/>
              <a:gd name="T9" fmla="*/ 46850265 h 47"/>
              <a:gd name="T10" fmla="*/ 20967704 w 25"/>
              <a:gd name="T11" fmla="*/ 79820370 h 47"/>
              <a:gd name="T12" fmla="*/ 0 w 25"/>
              <a:gd name="T13" fmla="*/ 60733038 h 47"/>
              <a:gd name="T14" fmla="*/ 0 w 25"/>
              <a:gd name="T15" fmla="*/ 60733038 h 4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5"/>
              <a:gd name="T25" fmla="*/ 0 h 47"/>
              <a:gd name="T26" fmla="*/ 25 w 25"/>
              <a:gd name="T27" fmla="*/ 47 h 4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5" h="47">
                <a:moveTo>
                  <a:pt x="0" y="35"/>
                </a:moveTo>
                <a:lnTo>
                  <a:pt x="0" y="35"/>
                </a:lnTo>
                <a:lnTo>
                  <a:pt x="1" y="11"/>
                </a:lnTo>
                <a:lnTo>
                  <a:pt x="12" y="0"/>
                </a:lnTo>
                <a:lnTo>
                  <a:pt x="24" y="27"/>
                </a:lnTo>
                <a:lnTo>
                  <a:pt x="13" y="46"/>
                </a:lnTo>
                <a:lnTo>
                  <a:pt x="0" y="3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52" name="Freeform 749">
            <a:extLst>
              <a:ext uri="{FF2B5EF4-FFF2-40B4-BE49-F238E27FC236}">
                <a16:creationId xmlns:a16="http://schemas.microsoft.com/office/drawing/2014/main" id="{821BD926-180B-D786-AD20-AB64B287F1DE}"/>
              </a:ext>
            </a:extLst>
          </p:cNvPr>
          <p:cNvSpPr>
            <a:spLocks/>
          </p:cNvSpPr>
          <p:nvPr/>
        </p:nvSpPr>
        <p:spPr bwMode="auto">
          <a:xfrm>
            <a:off x="4198685" y="4567156"/>
            <a:ext cx="119721" cy="47322"/>
          </a:xfrm>
          <a:custGeom>
            <a:avLst/>
            <a:gdLst>
              <a:gd name="T0" fmla="*/ 0 w 105"/>
              <a:gd name="T1" fmla="*/ 42239311 h 41"/>
              <a:gd name="T2" fmla="*/ 0 w 105"/>
              <a:gd name="T3" fmla="*/ 42239311 h 41"/>
              <a:gd name="T4" fmla="*/ 1537305 w 105"/>
              <a:gd name="T5" fmla="*/ 45911833 h 41"/>
              <a:gd name="T6" fmla="*/ 3074610 w 105"/>
              <a:gd name="T7" fmla="*/ 58766978 h 41"/>
              <a:gd name="T8" fmla="*/ 19981242 w 105"/>
              <a:gd name="T9" fmla="*/ 62440845 h 41"/>
              <a:gd name="T10" fmla="*/ 53795752 w 105"/>
              <a:gd name="T11" fmla="*/ 55094467 h 41"/>
              <a:gd name="T12" fmla="*/ 89146332 w 105"/>
              <a:gd name="T13" fmla="*/ 73459734 h 41"/>
              <a:gd name="T14" fmla="*/ 138331392 w 105"/>
              <a:gd name="T15" fmla="*/ 60604589 h 41"/>
              <a:gd name="T16" fmla="*/ 159848693 w 105"/>
              <a:gd name="T17" fmla="*/ 23874044 h 41"/>
              <a:gd name="T18" fmla="*/ 152163412 w 105"/>
              <a:gd name="T19" fmla="*/ 0 h 41"/>
              <a:gd name="T20" fmla="*/ 89146332 w 105"/>
              <a:gd name="T21" fmla="*/ 1836256 h 41"/>
              <a:gd name="T22" fmla="*/ 70702380 w 105"/>
              <a:gd name="T23" fmla="*/ 40403056 h 41"/>
              <a:gd name="T24" fmla="*/ 0 w 105"/>
              <a:gd name="T25" fmla="*/ 42239311 h 41"/>
              <a:gd name="T26" fmla="*/ 0 w 105"/>
              <a:gd name="T27" fmla="*/ 42239311 h 4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05"/>
              <a:gd name="T43" fmla="*/ 0 h 41"/>
              <a:gd name="T44" fmla="*/ 105 w 105"/>
              <a:gd name="T45" fmla="*/ 41 h 41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05" h="41">
                <a:moveTo>
                  <a:pt x="0" y="23"/>
                </a:moveTo>
                <a:lnTo>
                  <a:pt x="0" y="23"/>
                </a:lnTo>
                <a:lnTo>
                  <a:pt x="1" y="25"/>
                </a:lnTo>
                <a:lnTo>
                  <a:pt x="2" y="32"/>
                </a:lnTo>
                <a:lnTo>
                  <a:pt x="13" y="34"/>
                </a:lnTo>
                <a:lnTo>
                  <a:pt x="35" y="30"/>
                </a:lnTo>
                <a:lnTo>
                  <a:pt x="58" y="40"/>
                </a:lnTo>
                <a:lnTo>
                  <a:pt x="90" y="33"/>
                </a:lnTo>
                <a:lnTo>
                  <a:pt x="104" y="13"/>
                </a:lnTo>
                <a:lnTo>
                  <a:pt x="99" y="0"/>
                </a:lnTo>
                <a:lnTo>
                  <a:pt x="58" y="1"/>
                </a:lnTo>
                <a:lnTo>
                  <a:pt x="46" y="22"/>
                </a:lnTo>
                <a:lnTo>
                  <a:pt x="0" y="2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53" name="Freeform 750">
            <a:extLst>
              <a:ext uri="{FF2B5EF4-FFF2-40B4-BE49-F238E27FC236}">
                <a16:creationId xmlns:a16="http://schemas.microsoft.com/office/drawing/2014/main" id="{03FA292F-3625-69BF-2DCE-D0C7DFDC470A}"/>
              </a:ext>
            </a:extLst>
          </p:cNvPr>
          <p:cNvSpPr>
            <a:spLocks/>
          </p:cNvSpPr>
          <p:nvPr/>
        </p:nvSpPr>
        <p:spPr bwMode="auto">
          <a:xfrm>
            <a:off x="4096484" y="4515778"/>
            <a:ext cx="52561" cy="39209"/>
          </a:xfrm>
          <a:custGeom>
            <a:avLst/>
            <a:gdLst>
              <a:gd name="T0" fmla="*/ 0 w 45"/>
              <a:gd name="T1" fmla="*/ 11676657 h 33"/>
              <a:gd name="T2" fmla="*/ 0 w 45"/>
              <a:gd name="T3" fmla="*/ 11676657 h 33"/>
              <a:gd name="T4" fmla="*/ 16128999 w 45"/>
              <a:gd name="T5" fmla="*/ 1946109 h 33"/>
              <a:gd name="T6" fmla="*/ 48387003 w 45"/>
              <a:gd name="T7" fmla="*/ 0 h 33"/>
              <a:gd name="T8" fmla="*/ 69354696 w 45"/>
              <a:gd name="T9" fmla="*/ 25300818 h 33"/>
              <a:gd name="T10" fmla="*/ 70967596 w 45"/>
              <a:gd name="T11" fmla="*/ 44761905 h 33"/>
              <a:gd name="T12" fmla="*/ 62903099 w 45"/>
              <a:gd name="T13" fmla="*/ 62278289 h 33"/>
              <a:gd name="T14" fmla="*/ 0 w 45"/>
              <a:gd name="T15" fmla="*/ 11676657 h 33"/>
              <a:gd name="T16" fmla="*/ 0 w 45"/>
              <a:gd name="T17" fmla="*/ 11676657 h 3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5"/>
              <a:gd name="T28" fmla="*/ 0 h 33"/>
              <a:gd name="T29" fmla="*/ 45 w 45"/>
              <a:gd name="T30" fmla="*/ 33 h 3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5" h="33">
                <a:moveTo>
                  <a:pt x="0" y="6"/>
                </a:moveTo>
                <a:lnTo>
                  <a:pt x="0" y="6"/>
                </a:lnTo>
                <a:lnTo>
                  <a:pt x="10" y="1"/>
                </a:lnTo>
                <a:lnTo>
                  <a:pt x="30" y="0"/>
                </a:lnTo>
                <a:lnTo>
                  <a:pt x="43" y="13"/>
                </a:lnTo>
                <a:lnTo>
                  <a:pt x="44" y="23"/>
                </a:lnTo>
                <a:lnTo>
                  <a:pt x="39" y="32"/>
                </a:lnTo>
                <a:lnTo>
                  <a:pt x="0" y="6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54" name="Freeform 751">
            <a:extLst>
              <a:ext uri="{FF2B5EF4-FFF2-40B4-BE49-F238E27FC236}">
                <a16:creationId xmlns:a16="http://schemas.microsoft.com/office/drawing/2014/main" id="{7B58C4E3-1512-BC1C-1437-2DA396DF395D}"/>
              </a:ext>
            </a:extLst>
          </p:cNvPr>
          <p:cNvSpPr>
            <a:spLocks/>
          </p:cNvSpPr>
          <p:nvPr/>
        </p:nvSpPr>
        <p:spPr bwMode="auto">
          <a:xfrm>
            <a:off x="4401625" y="4656392"/>
            <a:ext cx="99281" cy="52729"/>
          </a:xfrm>
          <a:custGeom>
            <a:avLst/>
            <a:gdLst>
              <a:gd name="T0" fmla="*/ 0 w 86"/>
              <a:gd name="T1" fmla="*/ 53237874 h 48"/>
              <a:gd name="T2" fmla="*/ 0 w 86"/>
              <a:gd name="T3" fmla="*/ 53237874 h 48"/>
              <a:gd name="T4" fmla="*/ 7877839 w 86"/>
              <a:gd name="T5" fmla="*/ 0 h 48"/>
              <a:gd name="T6" fmla="*/ 133927029 w 86"/>
              <a:gd name="T7" fmla="*/ 11645907 h 48"/>
              <a:gd name="T8" fmla="*/ 110292264 w 86"/>
              <a:gd name="T9" fmla="*/ 44918452 h 48"/>
              <a:gd name="T10" fmla="*/ 119746672 w 86"/>
              <a:gd name="T11" fmla="*/ 63219891 h 48"/>
              <a:gd name="T12" fmla="*/ 86658754 w 86"/>
              <a:gd name="T13" fmla="*/ 64883776 h 48"/>
              <a:gd name="T14" fmla="*/ 66175857 w 86"/>
              <a:gd name="T15" fmla="*/ 78192272 h 48"/>
              <a:gd name="T16" fmla="*/ 12605046 w 86"/>
              <a:gd name="T17" fmla="*/ 78192272 h 48"/>
              <a:gd name="T18" fmla="*/ 0 w 86"/>
              <a:gd name="T19" fmla="*/ 53237874 h 48"/>
              <a:gd name="T20" fmla="*/ 0 w 86"/>
              <a:gd name="T21" fmla="*/ 53237874 h 4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6"/>
              <a:gd name="T34" fmla="*/ 0 h 48"/>
              <a:gd name="T35" fmla="*/ 86 w 86"/>
              <a:gd name="T36" fmla="*/ 48 h 4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6" h="48">
                <a:moveTo>
                  <a:pt x="0" y="32"/>
                </a:moveTo>
                <a:lnTo>
                  <a:pt x="0" y="32"/>
                </a:lnTo>
                <a:lnTo>
                  <a:pt x="5" y="0"/>
                </a:lnTo>
                <a:lnTo>
                  <a:pt x="85" y="7"/>
                </a:lnTo>
                <a:lnTo>
                  <a:pt x="70" y="27"/>
                </a:lnTo>
                <a:lnTo>
                  <a:pt x="76" y="38"/>
                </a:lnTo>
                <a:lnTo>
                  <a:pt x="55" y="39"/>
                </a:lnTo>
                <a:lnTo>
                  <a:pt x="42" y="47"/>
                </a:lnTo>
                <a:lnTo>
                  <a:pt x="8" y="47"/>
                </a:lnTo>
                <a:lnTo>
                  <a:pt x="0" y="3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55" name="Freeform 752">
            <a:extLst>
              <a:ext uri="{FF2B5EF4-FFF2-40B4-BE49-F238E27FC236}">
                <a16:creationId xmlns:a16="http://schemas.microsoft.com/office/drawing/2014/main" id="{5C1497B3-7D9B-4A25-5EDD-545CFC34E607}"/>
              </a:ext>
            </a:extLst>
          </p:cNvPr>
          <p:cNvSpPr>
            <a:spLocks/>
          </p:cNvSpPr>
          <p:nvPr/>
        </p:nvSpPr>
        <p:spPr bwMode="auto">
          <a:xfrm>
            <a:off x="4312566" y="4552282"/>
            <a:ext cx="90522" cy="37857"/>
          </a:xfrm>
          <a:custGeom>
            <a:avLst/>
            <a:gdLst>
              <a:gd name="T0" fmla="*/ 0 w 79"/>
              <a:gd name="T1" fmla="*/ 25637190 h 34"/>
              <a:gd name="T2" fmla="*/ 7760624 w 79"/>
              <a:gd name="T3" fmla="*/ 47856961 h 34"/>
              <a:gd name="T4" fmla="*/ 37253235 w 79"/>
              <a:gd name="T5" fmla="*/ 56403123 h 34"/>
              <a:gd name="T6" fmla="*/ 85373103 w 79"/>
              <a:gd name="T7" fmla="*/ 34183352 h 34"/>
              <a:gd name="T8" fmla="*/ 114865707 w 79"/>
              <a:gd name="T9" fmla="*/ 39310788 h 34"/>
              <a:gd name="T10" fmla="*/ 121073955 w 79"/>
              <a:gd name="T11" fmla="*/ 17092330 h 34"/>
              <a:gd name="T12" fmla="*/ 68298222 w 79"/>
              <a:gd name="T13" fmla="*/ 11963587 h 34"/>
              <a:gd name="T14" fmla="*/ 37253235 w 79"/>
              <a:gd name="T15" fmla="*/ 0 h 34"/>
              <a:gd name="T16" fmla="*/ 1552374 w 79"/>
              <a:gd name="T17" fmla="*/ 23928480 h 34"/>
              <a:gd name="T18" fmla="*/ 0 w 79"/>
              <a:gd name="T19" fmla="*/ 25637190 h 34"/>
              <a:gd name="T20" fmla="*/ 0 w 79"/>
              <a:gd name="T21" fmla="*/ 25637190 h 3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79"/>
              <a:gd name="T34" fmla="*/ 0 h 34"/>
              <a:gd name="T35" fmla="*/ 79 w 79"/>
              <a:gd name="T36" fmla="*/ 34 h 3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79" h="34">
                <a:moveTo>
                  <a:pt x="0" y="15"/>
                </a:moveTo>
                <a:lnTo>
                  <a:pt x="5" y="28"/>
                </a:lnTo>
                <a:lnTo>
                  <a:pt x="24" y="33"/>
                </a:lnTo>
                <a:lnTo>
                  <a:pt x="55" y="20"/>
                </a:lnTo>
                <a:lnTo>
                  <a:pt x="74" y="23"/>
                </a:lnTo>
                <a:lnTo>
                  <a:pt x="78" y="10"/>
                </a:lnTo>
                <a:lnTo>
                  <a:pt x="44" y="7"/>
                </a:lnTo>
                <a:lnTo>
                  <a:pt x="24" y="0"/>
                </a:lnTo>
                <a:lnTo>
                  <a:pt x="1" y="14"/>
                </a:lnTo>
                <a:lnTo>
                  <a:pt x="0" y="1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456" name="Group 167">
            <a:extLst>
              <a:ext uri="{FF2B5EF4-FFF2-40B4-BE49-F238E27FC236}">
                <a16:creationId xmlns:a16="http://schemas.microsoft.com/office/drawing/2014/main" id="{217990CB-97C2-D05F-769E-BE73C4F63439}"/>
              </a:ext>
            </a:extLst>
          </p:cNvPr>
          <p:cNvGrpSpPr>
            <a:grpSpLocks/>
          </p:cNvGrpSpPr>
          <p:nvPr/>
        </p:nvGrpSpPr>
        <p:grpSpPr bwMode="auto">
          <a:xfrm>
            <a:off x="4178244" y="4385981"/>
            <a:ext cx="71541" cy="62194"/>
            <a:chOff x="3191" y="2547"/>
            <a:chExt cx="63" cy="55"/>
          </a:xfrm>
          <a:solidFill>
            <a:schemeClr val="accent2"/>
          </a:solidFill>
        </p:grpSpPr>
        <p:sp>
          <p:nvSpPr>
            <p:cNvPr id="457" name="Freeform 754">
              <a:extLst>
                <a:ext uri="{FF2B5EF4-FFF2-40B4-BE49-F238E27FC236}">
                  <a16:creationId xmlns:a16="http://schemas.microsoft.com/office/drawing/2014/main" id="{F2F2C43E-74E4-8772-B5EB-424041687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1" y="2547"/>
              <a:ext cx="37" cy="55"/>
            </a:xfrm>
            <a:custGeom>
              <a:avLst/>
              <a:gdLst>
                <a:gd name="T0" fmla="*/ 0 w 37"/>
                <a:gd name="T1" fmla="*/ 41 h 55"/>
                <a:gd name="T2" fmla="*/ 0 w 37"/>
                <a:gd name="T3" fmla="*/ 41 h 55"/>
                <a:gd name="T4" fmla="*/ 3 w 37"/>
                <a:gd name="T5" fmla="*/ 15 h 55"/>
                <a:gd name="T6" fmla="*/ 31 w 37"/>
                <a:gd name="T7" fmla="*/ 0 h 55"/>
                <a:gd name="T8" fmla="*/ 26 w 37"/>
                <a:gd name="T9" fmla="*/ 21 h 55"/>
                <a:gd name="T10" fmla="*/ 36 w 37"/>
                <a:gd name="T11" fmla="*/ 27 h 55"/>
                <a:gd name="T12" fmla="*/ 18 w 37"/>
                <a:gd name="T13" fmla="*/ 39 h 55"/>
                <a:gd name="T14" fmla="*/ 18 w 37"/>
                <a:gd name="T15" fmla="*/ 54 h 55"/>
                <a:gd name="T16" fmla="*/ 7 w 37"/>
                <a:gd name="T17" fmla="*/ 54 h 55"/>
                <a:gd name="T18" fmla="*/ 0 w 37"/>
                <a:gd name="T19" fmla="*/ 41 h 55"/>
                <a:gd name="T20" fmla="*/ 0 w 37"/>
                <a:gd name="T21" fmla="*/ 41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7"/>
                <a:gd name="T34" fmla="*/ 0 h 55"/>
                <a:gd name="T35" fmla="*/ 37 w 37"/>
                <a:gd name="T36" fmla="*/ 55 h 5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7" h="55">
                  <a:moveTo>
                    <a:pt x="0" y="41"/>
                  </a:moveTo>
                  <a:lnTo>
                    <a:pt x="0" y="41"/>
                  </a:lnTo>
                  <a:lnTo>
                    <a:pt x="3" y="15"/>
                  </a:lnTo>
                  <a:lnTo>
                    <a:pt x="31" y="0"/>
                  </a:lnTo>
                  <a:lnTo>
                    <a:pt x="26" y="21"/>
                  </a:lnTo>
                  <a:lnTo>
                    <a:pt x="36" y="27"/>
                  </a:lnTo>
                  <a:lnTo>
                    <a:pt x="18" y="39"/>
                  </a:lnTo>
                  <a:lnTo>
                    <a:pt x="18" y="54"/>
                  </a:lnTo>
                  <a:lnTo>
                    <a:pt x="7" y="54"/>
                  </a:lnTo>
                  <a:lnTo>
                    <a:pt x="0" y="41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755">
              <a:extLst>
                <a:ext uri="{FF2B5EF4-FFF2-40B4-BE49-F238E27FC236}">
                  <a16:creationId xmlns:a16="http://schemas.microsoft.com/office/drawing/2014/main" id="{A6AD3D4E-C105-3757-4C30-C490AE0B3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6" y="2588"/>
              <a:ext cx="13" cy="7"/>
            </a:xfrm>
            <a:custGeom>
              <a:avLst/>
              <a:gdLst>
                <a:gd name="T0" fmla="*/ 0 w 13"/>
                <a:gd name="T1" fmla="*/ 6 h 7"/>
                <a:gd name="T2" fmla="*/ 0 w 13"/>
                <a:gd name="T3" fmla="*/ 6 h 7"/>
                <a:gd name="T4" fmla="*/ 10 w 13"/>
                <a:gd name="T5" fmla="*/ 0 h 7"/>
                <a:gd name="T6" fmla="*/ 12 w 13"/>
                <a:gd name="T7" fmla="*/ 4 h 7"/>
                <a:gd name="T8" fmla="*/ 0 w 13"/>
                <a:gd name="T9" fmla="*/ 6 h 7"/>
                <a:gd name="T10" fmla="*/ 0 w 13"/>
                <a:gd name="T11" fmla="*/ 6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7"/>
                <a:gd name="T20" fmla="*/ 13 w 1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7">
                  <a:moveTo>
                    <a:pt x="0" y="6"/>
                  </a:moveTo>
                  <a:lnTo>
                    <a:pt x="0" y="6"/>
                  </a:lnTo>
                  <a:lnTo>
                    <a:pt x="10" y="0"/>
                  </a:lnTo>
                  <a:lnTo>
                    <a:pt x="12" y="4"/>
                  </a:lnTo>
                  <a:lnTo>
                    <a:pt x="0" y="6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756">
              <a:extLst>
                <a:ext uri="{FF2B5EF4-FFF2-40B4-BE49-F238E27FC236}">
                  <a16:creationId xmlns:a16="http://schemas.microsoft.com/office/drawing/2014/main" id="{2532BC82-CB5F-58AF-A767-B49DF330C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2" y="2576"/>
              <a:ext cx="22" cy="24"/>
            </a:xfrm>
            <a:custGeom>
              <a:avLst/>
              <a:gdLst>
                <a:gd name="T0" fmla="*/ 0 w 22"/>
                <a:gd name="T1" fmla="*/ 12 h 24"/>
                <a:gd name="T2" fmla="*/ 0 w 22"/>
                <a:gd name="T3" fmla="*/ 12 h 24"/>
                <a:gd name="T4" fmla="*/ 16 w 22"/>
                <a:gd name="T5" fmla="*/ 23 h 24"/>
                <a:gd name="T6" fmla="*/ 21 w 22"/>
                <a:gd name="T7" fmla="*/ 11 h 24"/>
                <a:gd name="T8" fmla="*/ 17 w 22"/>
                <a:gd name="T9" fmla="*/ 0 h 24"/>
                <a:gd name="T10" fmla="*/ 0 w 22"/>
                <a:gd name="T11" fmla="*/ 12 h 24"/>
                <a:gd name="T12" fmla="*/ 0 w 22"/>
                <a:gd name="T13" fmla="*/ 12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2"/>
                <a:gd name="T22" fmla="*/ 0 h 24"/>
                <a:gd name="T23" fmla="*/ 22 w 22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2" h="24">
                  <a:moveTo>
                    <a:pt x="0" y="12"/>
                  </a:moveTo>
                  <a:lnTo>
                    <a:pt x="0" y="12"/>
                  </a:lnTo>
                  <a:lnTo>
                    <a:pt x="16" y="23"/>
                  </a:lnTo>
                  <a:lnTo>
                    <a:pt x="21" y="11"/>
                  </a:lnTo>
                  <a:lnTo>
                    <a:pt x="17" y="0"/>
                  </a:lnTo>
                  <a:lnTo>
                    <a:pt x="0" y="12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60" name="Freeform 757">
            <a:extLst>
              <a:ext uri="{FF2B5EF4-FFF2-40B4-BE49-F238E27FC236}">
                <a16:creationId xmlns:a16="http://schemas.microsoft.com/office/drawing/2014/main" id="{B5C2EC73-D928-E033-140A-DF93C91FAD45}"/>
              </a:ext>
            </a:extLst>
          </p:cNvPr>
          <p:cNvSpPr>
            <a:spLocks/>
          </p:cNvSpPr>
          <p:nvPr/>
        </p:nvSpPr>
        <p:spPr bwMode="auto">
          <a:xfrm>
            <a:off x="4373887" y="4089879"/>
            <a:ext cx="170821" cy="250131"/>
          </a:xfrm>
          <a:custGeom>
            <a:avLst/>
            <a:gdLst>
              <a:gd name="T0" fmla="*/ 0 w 149"/>
              <a:gd name="T1" fmla="*/ 39536435 h 224"/>
              <a:gd name="T2" fmla="*/ 0 w 149"/>
              <a:gd name="T3" fmla="*/ 39536435 h 224"/>
              <a:gd name="T4" fmla="*/ 15539579 w 149"/>
              <a:gd name="T5" fmla="*/ 27504408 h 224"/>
              <a:gd name="T6" fmla="*/ 38847698 w 149"/>
              <a:gd name="T7" fmla="*/ 51569784 h 224"/>
              <a:gd name="T8" fmla="*/ 83910746 w 149"/>
              <a:gd name="T9" fmla="*/ 55007506 h 224"/>
              <a:gd name="T10" fmla="*/ 108773316 w 149"/>
              <a:gd name="T11" fmla="*/ 41256607 h 224"/>
              <a:gd name="T12" fmla="*/ 116543103 w 149"/>
              <a:gd name="T13" fmla="*/ 8595619 h 224"/>
              <a:gd name="T14" fmla="*/ 158498456 w 149"/>
              <a:gd name="T15" fmla="*/ 0 h 224"/>
              <a:gd name="T16" fmla="*/ 180253400 w 149"/>
              <a:gd name="T17" fmla="*/ 12033343 h 224"/>
              <a:gd name="T18" fmla="*/ 177144488 w 149"/>
              <a:gd name="T19" fmla="*/ 39536435 h 224"/>
              <a:gd name="T20" fmla="*/ 169375947 w 149"/>
              <a:gd name="T21" fmla="*/ 67040844 h 224"/>
              <a:gd name="T22" fmla="*/ 198899392 w 149"/>
              <a:gd name="T23" fmla="*/ 99701845 h 224"/>
              <a:gd name="T24" fmla="*/ 181806609 w 149"/>
              <a:gd name="T25" fmla="*/ 123768522 h 224"/>
              <a:gd name="T26" fmla="*/ 203561514 w 149"/>
              <a:gd name="T27" fmla="*/ 166742669 h 224"/>
              <a:gd name="T28" fmla="*/ 194238517 w 149"/>
              <a:gd name="T29" fmla="*/ 204561585 h 224"/>
              <a:gd name="T30" fmla="*/ 229977293 w 149"/>
              <a:gd name="T31" fmla="*/ 283635746 h 224"/>
              <a:gd name="T32" fmla="*/ 149174213 w 149"/>
              <a:gd name="T33" fmla="*/ 359270956 h 224"/>
              <a:gd name="T34" fmla="*/ 51278369 w 149"/>
              <a:gd name="T35" fmla="*/ 383337633 h 224"/>
              <a:gd name="T36" fmla="*/ 46617494 w 149"/>
              <a:gd name="T37" fmla="*/ 367866572 h 224"/>
              <a:gd name="T38" fmla="*/ 15539579 w 149"/>
              <a:gd name="T39" fmla="*/ 357552095 h 224"/>
              <a:gd name="T40" fmla="*/ 10877457 w 149"/>
              <a:gd name="T41" fmla="*/ 281916885 h 224"/>
              <a:gd name="T42" fmla="*/ 104111194 w 149"/>
              <a:gd name="T43" fmla="*/ 201123863 h 224"/>
              <a:gd name="T44" fmla="*/ 73033274 w 149"/>
              <a:gd name="T45" fmla="*/ 161586086 h 224"/>
              <a:gd name="T46" fmla="*/ 62155821 w 149"/>
              <a:gd name="T47" fmla="*/ 80793043 h 224"/>
              <a:gd name="T48" fmla="*/ 0 w 149"/>
              <a:gd name="T49" fmla="*/ 39536435 h 224"/>
              <a:gd name="T50" fmla="*/ 0 w 149"/>
              <a:gd name="T51" fmla="*/ 39536435 h 22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49"/>
              <a:gd name="T79" fmla="*/ 0 h 224"/>
              <a:gd name="T80" fmla="*/ 149 w 149"/>
              <a:gd name="T81" fmla="*/ 224 h 22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49" h="224">
                <a:moveTo>
                  <a:pt x="0" y="23"/>
                </a:moveTo>
                <a:lnTo>
                  <a:pt x="0" y="23"/>
                </a:lnTo>
                <a:lnTo>
                  <a:pt x="10" y="16"/>
                </a:lnTo>
                <a:lnTo>
                  <a:pt x="25" y="30"/>
                </a:lnTo>
                <a:lnTo>
                  <a:pt x="54" y="32"/>
                </a:lnTo>
                <a:lnTo>
                  <a:pt x="70" y="24"/>
                </a:lnTo>
                <a:lnTo>
                  <a:pt x="75" y="5"/>
                </a:lnTo>
                <a:lnTo>
                  <a:pt x="102" y="0"/>
                </a:lnTo>
                <a:lnTo>
                  <a:pt x="116" y="7"/>
                </a:lnTo>
                <a:lnTo>
                  <a:pt x="114" y="23"/>
                </a:lnTo>
                <a:lnTo>
                  <a:pt x="109" y="39"/>
                </a:lnTo>
                <a:lnTo>
                  <a:pt x="128" y="58"/>
                </a:lnTo>
                <a:lnTo>
                  <a:pt x="117" y="72"/>
                </a:lnTo>
                <a:lnTo>
                  <a:pt x="131" y="97"/>
                </a:lnTo>
                <a:lnTo>
                  <a:pt x="125" y="119"/>
                </a:lnTo>
                <a:lnTo>
                  <a:pt x="148" y="165"/>
                </a:lnTo>
                <a:lnTo>
                  <a:pt x="96" y="209"/>
                </a:lnTo>
                <a:lnTo>
                  <a:pt x="33" y="223"/>
                </a:lnTo>
                <a:lnTo>
                  <a:pt x="30" y="214"/>
                </a:lnTo>
                <a:lnTo>
                  <a:pt x="10" y="208"/>
                </a:lnTo>
                <a:lnTo>
                  <a:pt x="7" y="164"/>
                </a:lnTo>
                <a:lnTo>
                  <a:pt x="67" y="117"/>
                </a:lnTo>
                <a:lnTo>
                  <a:pt x="47" y="94"/>
                </a:lnTo>
                <a:lnTo>
                  <a:pt x="40" y="47"/>
                </a:lnTo>
                <a:lnTo>
                  <a:pt x="0" y="2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461" name="Group 172">
            <a:extLst>
              <a:ext uri="{FF2B5EF4-FFF2-40B4-BE49-F238E27FC236}">
                <a16:creationId xmlns:a16="http://schemas.microsoft.com/office/drawing/2014/main" id="{203F29B0-8999-796A-1CED-B84C5F8B2928}"/>
              </a:ext>
            </a:extLst>
          </p:cNvPr>
          <p:cNvGrpSpPr>
            <a:grpSpLocks/>
          </p:cNvGrpSpPr>
          <p:nvPr/>
        </p:nvGrpSpPr>
        <p:grpSpPr bwMode="auto">
          <a:xfrm>
            <a:off x="3979683" y="4523888"/>
            <a:ext cx="219002" cy="185231"/>
            <a:chOff x="3019" y="2670"/>
            <a:chExt cx="190" cy="167"/>
          </a:xfrm>
          <a:solidFill>
            <a:schemeClr val="accent2"/>
          </a:solidFill>
        </p:grpSpPr>
        <p:sp>
          <p:nvSpPr>
            <p:cNvPr id="462" name="Freeform 759">
              <a:extLst>
                <a:ext uri="{FF2B5EF4-FFF2-40B4-BE49-F238E27FC236}">
                  <a16:creationId xmlns:a16="http://schemas.microsoft.com/office/drawing/2014/main" id="{F6B85649-ABF2-2885-2B98-B8F20A238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" y="2670"/>
              <a:ext cx="172" cy="150"/>
            </a:xfrm>
            <a:custGeom>
              <a:avLst/>
              <a:gdLst>
                <a:gd name="T0" fmla="*/ 0 w 172"/>
                <a:gd name="T1" fmla="*/ 45 h 150"/>
                <a:gd name="T2" fmla="*/ 0 w 172"/>
                <a:gd name="T3" fmla="*/ 45 h 150"/>
                <a:gd name="T4" fmla="*/ 5 w 172"/>
                <a:gd name="T5" fmla="*/ 58 h 150"/>
                <a:gd name="T6" fmla="*/ 41 w 172"/>
                <a:gd name="T7" fmla="*/ 67 h 150"/>
                <a:gd name="T8" fmla="*/ 35 w 172"/>
                <a:gd name="T9" fmla="*/ 75 h 150"/>
                <a:gd name="T10" fmla="*/ 48 w 172"/>
                <a:gd name="T11" fmla="*/ 84 h 150"/>
                <a:gd name="T12" fmla="*/ 53 w 172"/>
                <a:gd name="T13" fmla="*/ 101 h 150"/>
                <a:gd name="T14" fmla="*/ 38 w 172"/>
                <a:gd name="T15" fmla="*/ 133 h 150"/>
                <a:gd name="T16" fmla="*/ 81 w 172"/>
                <a:gd name="T17" fmla="*/ 145 h 150"/>
                <a:gd name="T18" fmla="*/ 85 w 172"/>
                <a:gd name="T19" fmla="*/ 147 h 150"/>
                <a:gd name="T20" fmla="*/ 105 w 172"/>
                <a:gd name="T21" fmla="*/ 149 h 150"/>
                <a:gd name="T22" fmla="*/ 105 w 172"/>
                <a:gd name="T23" fmla="*/ 137 h 150"/>
                <a:gd name="T24" fmla="*/ 117 w 172"/>
                <a:gd name="T25" fmla="*/ 130 h 150"/>
                <a:gd name="T26" fmla="*/ 145 w 172"/>
                <a:gd name="T27" fmla="*/ 138 h 150"/>
                <a:gd name="T28" fmla="*/ 163 w 172"/>
                <a:gd name="T29" fmla="*/ 125 h 150"/>
                <a:gd name="T30" fmla="*/ 153 w 172"/>
                <a:gd name="T31" fmla="*/ 107 h 150"/>
                <a:gd name="T32" fmla="*/ 157 w 172"/>
                <a:gd name="T33" fmla="*/ 90 h 150"/>
                <a:gd name="T34" fmla="*/ 143 w 172"/>
                <a:gd name="T35" fmla="*/ 80 h 150"/>
                <a:gd name="T36" fmla="*/ 163 w 172"/>
                <a:gd name="T37" fmla="*/ 60 h 150"/>
                <a:gd name="T38" fmla="*/ 171 w 172"/>
                <a:gd name="T39" fmla="*/ 38 h 150"/>
                <a:gd name="T40" fmla="*/ 146 w 172"/>
                <a:gd name="T41" fmla="*/ 28 h 150"/>
                <a:gd name="T42" fmla="*/ 139 w 172"/>
                <a:gd name="T43" fmla="*/ 26 h 150"/>
                <a:gd name="T44" fmla="*/ 100 w 172"/>
                <a:gd name="T45" fmla="*/ 0 h 150"/>
                <a:gd name="T46" fmla="*/ 86 w 172"/>
                <a:gd name="T47" fmla="*/ 4 h 150"/>
                <a:gd name="T48" fmla="*/ 71 w 172"/>
                <a:gd name="T49" fmla="*/ 29 h 150"/>
                <a:gd name="T50" fmla="*/ 38 w 172"/>
                <a:gd name="T51" fmla="*/ 25 h 150"/>
                <a:gd name="T52" fmla="*/ 43 w 172"/>
                <a:gd name="T53" fmla="*/ 44 h 150"/>
                <a:gd name="T54" fmla="*/ 0 w 172"/>
                <a:gd name="T55" fmla="*/ 45 h 150"/>
                <a:gd name="T56" fmla="*/ 0 w 172"/>
                <a:gd name="T57" fmla="*/ 45 h 15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2"/>
                <a:gd name="T88" fmla="*/ 0 h 150"/>
                <a:gd name="T89" fmla="*/ 172 w 172"/>
                <a:gd name="T90" fmla="*/ 150 h 15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2" h="150">
                  <a:moveTo>
                    <a:pt x="0" y="45"/>
                  </a:moveTo>
                  <a:lnTo>
                    <a:pt x="0" y="45"/>
                  </a:lnTo>
                  <a:lnTo>
                    <a:pt x="5" y="58"/>
                  </a:lnTo>
                  <a:lnTo>
                    <a:pt x="41" y="67"/>
                  </a:lnTo>
                  <a:lnTo>
                    <a:pt x="35" y="75"/>
                  </a:lnTo>
                  <a:lnTo>
                    <a:pt x="48" y="84"/>
                  </a:lnTo>
                  <a:lnTo>
                    <a:pt x="53" y="101"/>
                  </a:lnTo>
                  <a:lnTo>
                    <a:pt x="38" y="133"/>
                  </a:lnTo>
                  <a:lnTo>
                    <a:pt x="81" y="145"/>
                  </a:lnTo>
                  <a:lnTo>
                    <a:pt x="85" y="147"/>
                  </a:lnTo>
                  <a:lnTo>
                    <a:pt x="105" y="149"/>
                  </a:lnTo>
                  <a:lnTo>
                    <a:pt x="105" y="137"/>
                  </a:lnTo>
                  <a:lnTo>
                    <a:pt x="117" y="130"/>
                  </a:lnTo>
                  <a:lnTo>
                    <a:pt x="145" y="138"/>
                  </a:lnTo>
                  <a:lnTo>
                    <a:pt x="163" y="125"/>
                  </a:lnTo>
                  <a:lnTo>
                    <a:pt x="153" y="107"/>
                  </a:lnTo>
                  <a:lnTo>
                    <a:pt x="157" y="90"/>
                  </a:lnTo>
                  <a:lnTo>
                    <a:pt x="143" y="80"/>
                  </a:lnTo>
                  <a:lnTo>
                    <a:pt x="163" y="60"/>
                  </a:lnTo>
                  <a:lnTo>
                    <a:pt x="171" y="38"/>
                  </a:lnTo>
                  <a:lnTo>
                    <a:pt x="146" y="28"/>
                  </a:lnTo>
                  <a:lnTo>
                    <a:pt x="139" y="26"/>
                  </a:lnTo>
                  <a:lnTo>
                    <a:pt x="100" y="0"/>
                  </a:lnTo>
                  <a:lnTo>
                    <a:pt x="86" y="4"/>
                  </a:lnTo>
                  <a:lnTo>
                    <a:pt x="71" y="29"/>
                  </a:lnTo>
                  <a:lnTo>
                    <a:pt x="38" y="25"/>
                  </a:lnTo>
                  <a:lnTo>
                    <a:pt x="43" y="44"/>
                  </a:lnTo>
                  <a:lnTo>
                    <a:pt x="0" y="45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760">
              <a:extLst>
                <a:ext uri="{FF2B5EF4-FFF2-40B4-BE49-F238E27FC236}">
                  <a16:creationId xmlns:a16="http://schemas.microsoft.com/office/drawing/2014/main" id="{3F0AE2FE-5D7E-C087-656A-72B55B84C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" y="2808"/>
              <a:ext cx="11" cy="29"/>
            </a:xfrm>
            <a:custGeom>
              <a:avLst/>
              <a:gdLst>
                <a:gd name="T0" fmla="*/ 0 w 11"/>
                <a:gd name="T1" fmla="*/ 14 h 29"/>
                <a:gd name="T2" fmla="*/ 0 w 11"/>
                <a:gd name="T3" fmla="*/ 14 h 29"/>
                <a:gd name="T4" fmla="*/ 9 w 11"/>
                <a:gd name="T5" fmla="*/ 28 h 29"/>
                <a:gd name="T6" fmla="*/ 10 w 11"/>
                <a:gd name="T7" fmla="*/ 0 h 29"/>
                <a:gd name="T8" fmla="*/ 0 w 11"/>
                <a:gd name="T9" fmla="*/ 14 h 29"/>
                <a:gd name="T10" fmla="*/ 0 w 11"/>
                <a:gd name="T11" fmla="*/ 14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29"/>
                <a:gd name="T20" fmla="*/ 11 w 11"/>
                <a:gd name="T21" fmla="*/ 29 h 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29">
                  <a:moveTo>
                    <a:pt x="0" y="14"/>
                  </a:moveTo>
                  <a:lnTo>
                    <a:pt x="0" y="14"/>
                  </a:lnTo>
                  <a:lnTo>
                    <a:pt x="9" y="28"/>
                  </a:lnTo>
                  <a:lnTo>
                    <a:pt x="10" y="0"/>
                  </a:lnTo>
                  <a:lnTo>
                    <a:pt x="0" y="14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64" name="Freeform 761">
            <a:extLst>
              <a:ext uri="{FF2B5EF4-FFF2-40B4-BE49-F238E27FC236}">
                <a16:creationId xmlns:a16="http://schemas.microsoft.com/office/drawing/2014/main" id="{39021E7C-2EA9-4353-3B74-3D274C9A645E}"/>
              </a:ext>
            </a:extLst>
          </p:cNvPr>
          <p:cNvSpPr>
            <a:spLocks/>
          </p:cNvSpPr>
          <p:nvPr/>
        </p:nvSpPr>
        <p:spPr bwMode="auto">
          <a:xfrm>
            <a:off x="4146124" y="4446822"/>
            <a:ext cx="132860" cy="147375"/>
          </a:xfrm>
          <a:custGeom>
            <a:avLst/>
            <a:gdLst>
              <a:gd name="T0" fmla="*/ 0 w 119"/>
              <a:gd name="T1" fmla="*/ 91405696 h 133"/>
              <a:gd name="T2" fmla="*/ 0 w 119"/>
              <a:gd name="T3" fmla="*/ 91405696 h 133"/>
              <a:gd name="T4" fmla="*/ 0 w 119"/>
              <a:gd name="T5" fmla="*/ 128645278 h 133"/>
              <a:gd name="T6" fmla="*/ 1473755 w 119"/>
              <a:gd name="T7" fmla="*/ 145571769 h 133"/>
              <a:gd name="T8" fmla="*/ 4421266 w 119"/>
              <a:gd name="T9" fmla="*/ 164192211 h 133"/>
              <a:gd name="T10" fmla="*/ 41263940 w 119"/>
              <a:gd name="T11" fmla="*/ 181118743 h 133"/>
              <a:gd name="T12" fmla="*/ 29473892 w 119"/>
              <a:gd name="T13" fmla="*/ 218358325 h 133"/>
              <a:gd name="T14" fmla="*/ 69264067 w 119"/>
              <a:gd name="T15" fmla="*/ 223436272 h 133"/>
              <a:gd name="T16" fmla="*/ 137055594 w 119"/>
              <a:gd name="T17" fmla="*/ 221743623 h 133"/>
              <a:gd name="T18" fmla="*/ 154739438 w 119"/>
              <a:gd name="T19" fmla="*/ 186196690 h 133"/>
              <a:gd name="T20" fmla="*/ 119370536 w 119"/>
              <a:gd name="T21" fmla="*/ 140493822 h 133"/>
              <a:gd name="T22" fmla="*/ 162108250 w 119"/>
              <a:gd name="T23" fmla="*/ 115104085 h 133"/>
              <a:gd name="T24" fmla="*/ 173898288 w 119"/>
              <a:gd name="T25" fmla="*/ 123567330 h 133"/>
              <a:gd name="T26" fmla="*/ 162108250 w 119"/>
              <a:gd name="T27" fmla="*/ 33854294 h 133"/>
              <a:gd name="T28" fmla="*/ 129686820 w 119"/>
              <a:gd name="T29" fmla="*/ 11848549 h 133"/>
              <a:gd name="T30" fmla="*/ 94317918 w 119"/>
              <a:gd name="T31" fmla="*/ 27083697 h 133"/>
              <a:gd name="T32" fmla="*/ 100212937 w 119"/>
              <a:gd name="T33" fmla="*/ 16926496 h 133"/>
              <a:gd name="T34" fmla="*/ 69264067 w 119"/>
              <a:gd name="T35" fmla="*/ 0 h 133"/>
              <a:gd name="T36" fmla="*/ 53053978 w 119"/>
              <a:gd name="T37" fmla="*/ 0 h 133"/>
              <a:gd name="T38" fmla="*/ 53053978 w 119"/>
              <a:gd name="T39" fmla="*/ 49088146 h 133"/>
              <a:gd name="T40" fmla="*/ 33895156 w 119"/>
              <a:gd name="T41" fmla="*/ 35546943 h 133"/>
              <a:gd name="T42" fmla="*/ 23578873 w 119"/>
              <a:gd name="T43" fmla="*/ 50780795 h 133"/>
              <a:gd name="T44" fmla="*/ 20632577 w 119"/>
              <a:gd name="T45" fmla="*/ 81249781 h 133"/>
              <a:gd name="T46" fmla="*/ 0 w 119"/>
              <a:gd name="T47" fmla="*/ 91405696 h 133"/>
              <a:gd name="T48" fmla="*/ 0 w 119"/>
              <a:gd name="T49" fmla="*/ 91405696 h 1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19"/>
              <a:gd name="T76" fmla="*/ 0 h 133"/>
              <a:gd name="T77" fmla="*/ 119 w 119"/>
              <a:gd name="T78" fmla="*/ 133 h 13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19" h="133">
                <a:moveTo>
                  <a:pt x="0" y="54"/>
                </a:moveTo>
                <a:lnTo>
                  <a:pt x="0" y="54"/>
                </a:lnTo>
                <a:lnTo>
                  <a:pt x="0" y="76"/>
                </a:lnTo>
                <a:lnTo>
                  <a:pt x="1" y="86"/>
                </a:lnTo>
                <a:lnTo>
                  <a:pt x="3" y="97"/>
                </a:lnTo>
                <a:lnTo>
                  <a:pt x="28" y="107"/>
                </a:lnTo>
                <a:lnTo>
                  <a:pt x="20" y="129"/>
                </a:lnTo>
                <a:lnTo>
                  <a:pt x="47" y="132"/>
                </a:lnTo>
                <a:lnTo>
                  <a:pt x="93" y="131"/>
                </a:lnTo>
                <a:lnTo>
                  <a:pt x="105" y="110"/>
                </a:lnTo>
                <a:lnTo>
                  <a:pt x="81" y="83"/>
                </a:lnTo>
                <a:lnTo>
                  <a:pt x="110" y="68"/>
                </a:lnTo>
                <a:lnTo>
                  <a:pt x="118" y="73"/>
                </a:lnTo>
                <a:lnTo>
                  <a:pt x="110" y="20"/>
                </a:lnTo>
                <a:lnTo>
                  <a:pt x="88" y="7"/>
                </a:lnTo>
                <a:lnTo>
                  <a:pt x="64" y="16"/>
                </a:lnTo>
                <a:lnTo>
                  <a:pt x="68" y="10"/>
                </a:lnTo>
                <a:lnTo>
                  <a:pt x="47" y="0"/>
                </a:lnTo>
                <a:lnTo>
                  <a:pt x="36" y="0"/>
                </a:lnTo>
                <a:lnTo>
                  <a:pt x="36" y="29"/>
                </a:lnTo>
                <a:lnTo>
                  <a:pt x="23" y="21"/>
                </a:lnTo>
                <a:lnTo>
                  <a:pt x="16" y="30"/>
                </a:lnTo>
                <a:lnTo>
                  <a:pt x="14" y="48"/>
                </a:lnTo>
                <a:lnTo>
                  <a:pt x="0" y="5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465" name="Group 176">
            <a:extLst>
              <a:ext uri="{FF2B5EF4-FFF2-40B4-BE49-F238E27FC236}">
                <a16:creationId xmlns:a16="http://schemas.microsoft.com/office/drawing/2014/main" id="{02347C0F-0E19-7E20-BA29-6EE98FE85130}"/>
              </a:ext>
            </a:extLst>
          </p:cNvPr>
          <p:cNvGrpSpPr>
            <a:grpSpLocks/>
          </p:cNvGrpSpPr>
          <p:nvPr/>
        </p:nvGrpSpPr>
        <p:grpSpPr bwMode="auto">
          <a:xfrm>
            <a:off x="4366586" y="4699656"/>
            <a:ext cx="100741" cy="117629"/>
            <a:chOff x="3356" y="2828"/>
            <a:chExt cx="86" cy="106"/>
          </a:xfrm>
          <a:solidFill>
            <a:schemeClr val="accent2"/>
          </a:solidFill>
        </p:grpSpPr>
        <p:sp>
          <p:nvSpPr>
            <p:cNvPr id="466" name="Freeform 763">
              <a:extLst>
                <a:ext uri="{FF2B5EF4-FFF2-40B4-BE49-F238E27FC236}">
                  <a16:creationId xmlns:a16="http://schemas.microsoft.com/office/drawing/2014/main" id="{6D922B9E-0EA8-84A9-6D93-AE605B9A2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6" y="2828"/>
              <a:ext cx="86" cy="86"/>
            </a:xfrm>
            <a:custGeom>
              <a:avLst/>
              <a:gdLst>
                <a:gd name="T0" fmla="*/ 0 w 86"/>
                <a:gd name="T1" fmla="*/ 34 h 86"/>
                <a:gd name="T2" fmla="*/ 0 w 86"/>
                <a:gd name="T3" fmla="*/ 34 h 86"/>
                <a:gd name="T4" fmla="*/ 11 w 86"/>
                <a:gd name="T5" fmla="*/ 15 h 86"/>
                <a:gd name="T6" fmla="*/ 38 w 86"/>
                <a:gd name="T7" fmla="*/ 8 h 86"/>
                <a:gd name="T8" fmla="*/ 72 w 86"/>
                <a:gd name="T9" fmla="*/ 8 h 86"/>
                <a:gd name="T10" fmla="*/ 85 w 86"/>
                <a:gd name="T11" fmla="*/ 0 h 86"/>
                <a:gd name="T12" fmla="*/ 80 w 86"/>
                <a:gd name="T13" fmla="*/ 18 h 86"/>
                <a:gd name="T14" fmla="*/ 57 w 86"/>
                <a:gd name="T15" fmla="*/ 14 h 86"/>
                <a:gd name="T16" fmla="*/ 46 w 86"/>
                <a:gd name="T17" fmla="*/ 29 h 86"/>
                <a:gd name="T18" fmla="*/ 33 w 86"/>
                <a:gd name="T19" fmla="*/ 21 h 86"/>
                <a:gd name="T20" fmla="*/ 42 w 86"/>
                <a:gd name="T21" fmla="*/ 43 h 86"/>
                <a:gd name="T22" fmla="*/ 31 w 86"/>
                <a:gd name="T23" fmla="*/ 48 h 86"/>
                <a:gd name="T24" fmla="*/ 52 w 86"/>
                <a:gd name="T25" fmla="*/ 57 h 86"/>
                <a:gd name="T26" fmla="*/ 52 w 86"/>
                <a:gd name="T27" fmla="*/ 66 h 86"/>
                <a:gd name="T28" fmla="*/ 35 w 86"/>
                <a:gd name="T29" fmla="*/ 69 h 86"/>
                <a:gd name="T30" fmla="*/ 41 w 86"/>
                <a:gd name="T31" fmla="*/ 85 h 86"/>
                <a:gd name="T32" fmla="*/ 20 w 86"/>
                <a:gd name="T33" fmla="*/ 80 h 86"/>
                <a:gd name="T34" fmla="*/ 14 w 86"/>
                <a:gd name="T35" fmla="*/ 65 h 86"/>
                <a:gd name="T36" fmla="*/ 41 w 86"/>
                <a:gd name="T37" fmla="*/ 58 h 86"/>
                <a:gd name="T38" fmla="*/ 14 w 86"/>
                <a:gd name="T39" fmla="*/ 56 h 86"/>
                <a:gd name="T40" fmla="*/ 0 w 86"/>
                <a:gd name="T41" fmla="*/ 34 h 86"/>
                <a:gd name="T42" fmla="*/ 0 w 86"/>
                <a:gd name="T43" fmla="*/ 34 h 8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6"/>
                <a:gd name="T67" fmla="*/ 0 h 86"/>
                <a:gd name="T68" fmla="*/ 86 w 86"/>
                <a:gd name="T69" fmla="*/ 86 h 8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6" h="86">
                  <a:moveTo>
                    <a:pt x="0" y="34"/>
                  </a:moveTo>
                  <a:lnTo>
                    <a:pt x="0" y="34"/>
                  </a:lnTo>
                  <a:lnTo>
                    <a:pt x="11" y="15"/>
                  </a:lnTo>
                  <a:lnTo>
                    <a:pt x="38" y="8"/>
                  </a:lnTo>
                  <a:lnTo>
                    <a:pt x="72" y="8"/>
                  </a:lnTo>
                  <a:lnTo>
                    <a:pt x="85" y="0"/>
                  </a:lnTo>
                  <a:lnTo>
                    <a:pt x="80" y="18"/>
                  </a:lnTo>
                  <a:lnTo>
                    <a:pt x="57" y="14"/>
                  </a:lnTo>
                  <a:lnTo>
                    <a:pt x="46" y="29"/>
                  </a:lnTo>
                  <a:lnTo>
                    <a:pt x="33" y="21"/>
                  </a:lnTo>
                  <a:lnTo>
                    <a:pt x="42" y="43"/>
                  </a:lnTo>
                  <a:lnTo>
                    <a:pt x="31" y="48"/>
                  </a:lnTo>
                  <a:lnTo>
                    <a:pt x="52" y="57"/>
                  </a:lnTo>
                  <a:lnTo>
                    <a:pt x="52" y="66"/>
                  </a:lnTo>
                  <a:lnTo>
                    <a:pt x="35" y="69"/>
                  </a:lnTo>
                  <a:lnTo>
                    <a:pt x="41" y="85"/>
                  </a:lnTo>
                  <a:lnTo>
                    <a:pt x="20" y="80"/>
                  </a:lnTo>
                  <a:lnTo>
                    <a:pt x="14" y="65"/>
                  </a:lnTo>
                  <a:lnTo>
                    <a:pt x="41" y="58"/>
                  </a:lnTo>
                  <a:lnTo>
                    <a:pt x="14" y="56"/>
                  </a:lnTo>
                  <a:lnTo>
                    <a:pt x="0" y="34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Freeform 764">
              <a:extLst>
                <a:ext uri="{FF2B5EF4-FFF2-40B4-BE49-F238E27FC236}">
                  <a16:creationId xmlns:a16="http://schemas.microsoft.com/office/drawing/2014/main" id="{546BF6E1-83CE-A247-40FD-E8FDEC23B9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1" y="2927"/>
              <a:ext cx="41" cy="7"/>
            </a:xfrm>
            <a:custGeom>
              <a:avLst/>
              <a:gdLst>
                <a:gd name="T0" fmla="*/ 0 w 41"/>
                <a:gd name="T1" fmla="*/ 6 h 7"/>
                <a:gd name="T2" fmla="*/ 0 w 41"/>
                <a:gd name="T3" fmla="*/ 6 h 7"/>
                <a:gd name="T4" fmla="*/ 3 w 41"/>
                <a:gd name="T5" fmla="*/ 0 h 7"/>
                <a:gd name="T6" fmla="*/ 40 w 41"/>
                <a:gd name="T7" fmla="*/ 6 h 7"/>
                <a:gd name="T8" fmla="*/ 13 w 41"/>
                <a:gd name="T9" fmla="*/ 6 h 7"/>
                <a:gd name="T10" fmla="*/ 0 w 41"/>
                <a:gd name="T11" fmla="*/ 6 h 7"/>
                <a:gd name="T12" fmla="*/ 0 w 41"/>
                <a:gd name="T13" fmla="*/ 6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7"/>
                <a:gd name="T23" fmla="*/ 41 w 41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7">
                  <a:moveTo>
                    <a:pt x="0" y="6"/>
                  </a:moveTo>
                  <a:lnTo>
                    <a:pt x="0" y="6"/>
                  </a:lnTo>
                  <a:lnTo>
                    <a:pt x="3" y="0"/>
                  </a:lnTo>
                  <a:lnTo>
                    <a:pt x="40" y="6"/>
                  </a:lnTo>
                  <a:lnTo>
                    <a:pt x="13" y="6"/>
                  </a:lnTo>
                  <a:lnTo>
                    <a:pt x="0" y="6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68" name="Freeform 765">
            <a:extLst>
              <a:ext uri="{FF2B5EF4-FFF2-40B4-BE49-F238E27FC236}">
                <a16:creationId xmlns:a16="http://schemas.microsoft.com/office/drawing/2014/main" id="{D741C466-49EC-8CAE-57D2-7DE127AB327D}"/>
              </a:ext>
            </a:extLst>
          </p:cNvPr>
          <p:cNvSpPr>
            <a:spLocks/>
          </p:cNvSpPr>
          <p:nvPr/>
        </p:nvSpPr>
        <p:spPr bwMode="auto">
          <a:xfrm>
            <a:off x="4300886" y="4575268"/>
            <a:ext cx="108042" cy="52729"/>
          </a:xfrm>
          <a:custGeom>
            <a:avLst/>
            <a:gdLst>
              <a:gd name="T0" fmla="*/ 0 w 93"/>
              <a:gd name="T1" fmla="*/ 44700470 h 49"/>
              <a:gd name="T2" fmla="*/ 0 w 93"/>
              <a:gd name="T3" fmla="*/ 44700470 h 49"/>
              <a:gd name="T4" fmla="*/ 22337937 w 93"/>
              <a:gd name="T5" fmla="*/ 12771562 h 49"/>
              <a:gd name="T6" fmla="*/ 52655329 w 93"/>
              <a:gd name="T7" fmla="*/ 20754422 h 49"/>
              <a:gd name="T8" fmla="*/ 102118623 w 93"/>
              <a:gd name="T9" fmla="*/ 0 h 49"/>
              <a:gd name="T10" fmla="*/ 132434743 w 93"/>
              <a:gd name="T11" fmla="*/ 4789967 h 49"/>
              <a:gd name="T12" fmla="*/ 146795741 w 93"/>
              <a:gd name="T13" fmla="*/ 15964451 h 49"/>
              <a:gd name="T14" fmla="*/ 90949660 w 93"/>
              <a:gd name="T15" fmla="*/ 67050695 h 49"/>
              <a:gd name="T16" fmla="*/ 43081751 w 93"/>
              <a:gd name="T17" fmla="*/ 76629363 h 49"/>
              <a:gd name="T18" fmla="*/ 0 w 93"/>
              <a:gd name="T19" fmla="*/ 44700470 h 49"/>
              <a:gd name="T20" fmla="*/ 0 w 93"/>
              <a:gd name="T21" fmla="*/ 44700470 h 4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3"/>
              <a:gd name="T34" fmla="*/ 0 h 49"/>
              <a:gd name="T35" fmla="*/ 93 w 93"/>
              <a:gd name="T36" fmla="*/ 49 h 4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3" h="49">
                <a:moveTo>
                  <a:pt x="0" y="28"/>
                </a:moveTo>
                <a:lnTo>
                  <a:pt x="0" y="28"/>
                </a:lnTo>
                <a:lnTo>
                  <a:pt x="14" y="8"/>
                </a:lnTo>
                <a:lnTo>
                  <a:pt x="33" y="13"/>
                </a:lnTo>
                <a:lnTo>
                  <a:pt x="64" y="0"/>
                </a:lnTo>
                <a:lnTo>
                  <a:pt x="83" y="3"/>
                </a:lnTo>
                <a:lnTo>
                  <a:pt x="92" y="10"/>
                </a:lnTo>
                <a:lnTo>
                  <a:pt x="57" y="42"/>
                </a:lnTo>
                <a:lnTo>
                  <a:pt x="27" y="48"/>
                </a:lnTo>
                <a:lnTo>
                  <a:pt x="0" y="2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469" name="Group 180">
            <a:extLst>
              <a:ext uri="{FF2B5EF4-FFF2-40B4-BE49-F238E27FC236}">
                <a16:creationId xmlns:a16="http://schemas.microsoft.com/office/drawing/2014/main" id="{C6B58DD0-DFF8-EF1E-0E79-50115E89239B}"/>
              </a:ext>
            </a:extLst>
          </p:cNvPr>
          <p:cNvGrpSpPr>
            <a:grpSpLocks/>
          </p:cNvGrpSpPr>
          <p:nvPr/>
        </p:nvGrpSpPr>
        <p:grpSpPr bwMode="auto">
          <a:xfrm>
            <a:off x="4156344" y="4602294"/>
            <a:ext cx="185421" cy="190638"/>
            <a:chOff x="3172" y="2740"/>
            <a:chExt cx="161" cy="170"/>
          </a:xfrm>
          <a:solidFill>
            <a:schemeClr val="accent2"/>
          </a:solidFill>
        </p:grpSpPr>
        <p:sp>
          <p:nvSpPr>
            <p:cNvPr id="470" name="Freeform 767">
              <a:extLst>
                <a:ext uri="{FF2B5EF4-FFF2-40B4-BE49-F238E27FC236}">
                  <a16:creationId xmlns:a16="http://schemas.microsoft.com/office/drawing/2014/main" id="{40E3898D-F1AC-E91A-9F91-9DF0A16BD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2" y="2740"/>
              <a:ext cx="161" cy="151"/>
            </a:xfrm>
            <a:custGeom>
              <a:avLst/>
              <a:gdLst>
                <a:gd name="T0" fmla="*/ 0 w 161"/>
                <a:gd name="T1" fmla="*/ 37 h 151"/>
                <a:gd name="T2" fmla="*/ 0 w 161"/>
                <a:gd name="T3" fmla="*/ 37 h 151"/>
                <a:gd name="T4" fmla="*/ 4 w 161"/>
                <a:gd name="T5" fmla="*/ 20 h 151"/>
                <a:gd name="T6" fmla="*/ 23 w 161"/>
                <a:gd name="T7" fmla="*/ 11 h 151"/>
                <a:gd name="T8" fmla="*/ 31 w 161"/>
                <a:gd name="T9" fmla="*/ 19 h 151"/>
                <a:gd name="T10" fmla="*/ 50 w 161"/>
                <a:gd name="T11" fmla="*/ 4 h 151"/>
                <a:gd name="T12" fmla="*/ 72 w 161"/>
                <a:gd name="T13" fmla="*/ 0 h 151"/>
                <a:gd name="T14" fmla="*/ 95 w 161"/>
                <a:gd name="T15" fmla="*/ 10 h 151"/>
                <a:gd name="T16" fmla="*/ 95 w 161"/>
                <a:gd name="T17" fmla="*/ 27 h 151"/>
                <a:gd name="T18" fmla="*/ 76 w 161"/>
                <a:gd name="T19" fmla="*/ 29 h 151"/>
                <a:gd name="T20" fmla="*/ 78 w 161"/>
                <a:gd name="T21" fmla="*/ 50 h 151"/>
                <a:gd name="T22" fmla="*/ 108 w 161"/>
                <a:gd name="T23" fmla="*/ 83 h 151"/>
                <a:gd name="T24" fmla="*/ 127 w 161"/>
                <a:gd name="T25" fmla="*/ 86 h 151"/>
                <a:gd name="T26" fmla="*/ 126 w 161"/>
                <a:gd name="T27" fmla="*/ 93 h 151"/>
                <a:gd name="T28" fmla="*/ 160 w 161"/>
                <a:gd name="T29" fmla="*/ 115 h 151"/>
                <a:gd name="T30" fmla="*/ 136 w 161"/>
                <a:gd name="T31" fmla="*/ 112 h 151"/>
                <a:gd name="T32" fmla="*/ 141 w 161"/>
                <a:gd name="T33" fmla="*/ 133 h 151"/>
                <a:gd name="T34" fmla="*/ 127 w 161"/>
                <a:gd name="T35" fmla="*/ 150 h 151"/>
                <a:gd name="T36" fmla="*/ 121 w 161"/>
                <a:gd name="T37" fmla="*/ 116 h 151"/>
                <a:gd name="T38" fmla="*/ 61 w 161"/>
                <a:gd name="T39" fmla="*/ 78 h 151"/>
                <a:gd name="T40" fmla="*/ 47 w 161"/>
                <a:gd name="T41" fmla="*/ 53 h 151"/>
                <a:gd name="T42" fmla="*/ 28 w 161"/>
                <a:gd name="T43" fmla="*/ 45 h 151"/>
                <a:gd name="T44" fmla="*/ 10 w 161"/>
                <a:gd name="T45" fmla="*/ 55 h 151"/>
                <a:gd name="T46" fmla="*/ 0 w 161"/>
                <a:gd name="T47" fmla="*/ 37 h 151"/>
                <a:gd name="T48" fmla="*/ 0 w 161"/>
                <a:gd name="T49" fmla="*/ 37 h 1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61"/>
                <a:gd name="T76" fmla="*/ 0 h 151"/>
                <a:gd name="T77" fmla="*/ 161 w 161"/>
                <a:gd name="T78" fmla="*/ 151 h 15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61" h="151">
                  <a:moveTo>
                    <a:pt x="0" y="37"/>
                  </a:moveTo>
                  <a:lnTo>
                    <a:pt x="0" y="37"/>
                  </a:lnTo>
                  <a:lnTo>
                    <a:pt x="4" y="20"/>
                  </a:lnTo>
                  <a:lnTo>
                    <a:pt x="23" y="11"/>
                  </a:lnTo>
                  <a:lnTo>
                    <a:pt x="31" y="19"/>
                  </a:lnTo>
                  <a:lnTo>
                    <a:pt x="50" y="4"/>
                  </a:lnTo>
                  <a:lnTo>
                    <a:pt x="72" y="0"/>
                  </a:lnTo>
                  <a:lnTo>
                    <a:pt x="95" y="10"/>
                  </a:lnTo>
                  <a:lnTo>
                    <a:pt x="95" y="27"/>
                  </a:lnTo>
                  <a:lnTo>
                    <a:pt x="76" y="29"/>
                  </a:lnTo>
                  <a:lnTo>
                    <a:pt x="78" y="50"/>
                  </a:lnTo>
                  <a:lnTo>
                    <a:pt x="108" y="83"/>
                  </a:lnTo>
                  <a:lnTo>
                    <a:pt x="127" y="86"/>
                  </a:lnTo>
                  <a:lnTo>
                    <a:pt x="126" y="93"/>
                  </a:lnTo>
                  <a:lnTo>
                    <a:pt x="160" y="115"/>
                  </a:lnTo>
                  <a:lnTo>
                    <a:pt x="136" y="112"/>
                  </a:lnTo>
                  <a:lnTo>
                    <a:pt x="141" y="133"/>
                  </a:lnTo>
                  <a:lnTo>
                    <a:pt x="127" y="150"/>
                  </a:lnTo>
                  <a:lnTo>
                    <a:pt x="121" y="116"/>
                  </a:lnTo>
                  <a:lnTo>
                    <a:pt x="61" y="78"/>
                  </a:lnTo>
                  <a:lnTo>
                    <a:pt x="47" y="53"/>
                  </a:lnTo>
                  <a:lnTo>
                    <a:pt x="28" y="45"/>
                  </a:lnTo>
                  <a:lnTo>
                    <a:pt x="10" y="55"/>
                  </a:lnTo>
                  <a:lnTo>
                    <a:pt x="0" y="37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Freeform 768">
              <a:extLst>
                <a:ext uri="{FF2B5EF4-FFF2-40B4-BE49-F238E27FC236}">
                  <a16:creationId xmlns:a16="http://schemas.microsoft.com/office/drawing/2014/main" id="{617B4F84-046A-1B8E-202A-F10B7CB03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2" y="2836"/>
              <a:ext cx="21" cy="38"/>
            </a:xfrm>
            <a:custGeom>
              <a:avLst/>
              <a:gdLst>
                <a:gd name="T0" fmla="*/ 0 w 21"/>
                <a:gd name="T1" fmla="*/ 6 h 38"/>
                <a:gd name="T2" fmla="*/ 0 w 21"/>
                <a:gd name="T3" fmla="*/ 6 h 38"/>
                <a:gd name="T4" fmla="*/ 4 w 21"/>
                <a:gd name="T5" fmla="*/ 34 h 38"/>
                <a:gd name="T6" fmla="*/ 12 w 21"/>
                <a:gd name="T7" fmla="*/ 37 h 38"/>
                <a:gd name="T8" fmla="*/ 20 w 21"/>
                <a:gd name="T9" fmla="*/ 15 h 38"/>
                <a:gd name="T10" fmla="*/ 13 w 21"/>
                <a:gd name="T11" fmla="*/ 0 h 38"/>
                <a:gd name="T12" fmla="*/ 0 w 21"/>
                <a:gd name="T13" fmla="*/ 6 h 38"/>
                <a:gd name="T14" fmla="*/ 0 w 21"/>
                <a:gd name="T15" fmla="*/ 6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"/>
                <a:gd name="T25" fmla="*/ 0 h 38"/>
                <a:gd name="T26" fmla="*/ 21 w 21"/>
                <a:gd name="T27" fmla="*/ 38 h 3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" h="38">
                  <a:moveTo>
                    <a:pt x="0" y="6"/>
                  </a:moveTo>
                  <a:lnTo>
                    <a:pt x="0" y="6"/>
                  </a:lnTo>
                  <a:lnTo>
                    <a:pt x="4" y="34"/>
                  </a:lnTo>
                  <a:lnTo>
                    <a:pt x="12" y="37"/>
                  </a:lnTo>
                  <a:lnTo>
                    <a:pt x="20" y="15"/>
                  </a:lnTo>
                  <a:lnTo>
                    <a:pt x="13" y="0"/>
                  </a:lnTo>
                  <a:lnTo>
                    <a:pt x="0" y="6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Freeform 769">
              <a:extLst>
                <a:ext uri="{FF2B5EF4-FFF2-40B4-BE49-F238E27FC236}">
                  <a16:creationId xmlns:a16="http://schemas.microsoft.com/office/drawing/2014/main" id="{263F40ED-DFEE-CDC7-AA1A-CADDAEB00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885"/>
              <a:ext cx="43" cy="25"/>
            </a:xfrm>
            <a:custGeom>
              <a:avLst/>
              <a:gdLst>
                <a:gd name="T0" fmla="*/ 0 w 43"/>
                <a:gd name="T1" fmla="*/ 5 h 25"/>
                <a:gd name="T2" fmla="*/ 0 w 43"/>
                <a:gd name="T3" fmla="*/ 5 h 25"/>
                <a:gd name="T4" fmla="*/ 35 w 43"/>
                <a:gd name="T5" fmla="*/ 24 h 25"/>
                <a:gd name="T6" fmla="*/ 42 w 43"/>
                <a:gd name="T7" fmla="*/ 0 h 25"/>
                <a:gd name="T8" fmla="*/ 0 w 43"/>
                <a:gd name="T9" fmla="*/ 5 h 25"/>
                <a:gd name="T10" fmla="*/ 0 w 43"/>
                <a:gd name="T11" fmla="*/ 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3"/>
                <a:gd name="T19" fmla="*/ 0 h 25"/>
                <a:gd name="T20" fmla="*/ 43 w 43"/>
                <a:gd name="T21" fmla="*/ 25 h 2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3" h="25">
                  <a:moveTo>
                    <a:pt x="0" y="5"/>
                  </a:moveTo>
                  <a:lnTo>
                    <a:pt x="0" y="5"/>
                  </a:lnTo>
                  <a:lnTo>
                    <a:pt x="35" y="24"/>
                  </a:lnTo>
                  <a:lnTo>
                    <a:pt x="42" y="0"/>
                  </a:lnTo>
                  <a:lnTo>
                    <a:pt x="0" y="5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73" name="Freeform 770">
            <a:extLst>
              <a:ext uri="{FF2B5EF4-FFF2-40B4-BE49-F238E27FC236}">
                <a16:creationId xmlns:a16="http://schemas.microsoft.com/office/drawing/2014/main" id="{13407038-6252-10CD-9793-064B51ED5F4A}"/>
              </a:ext>
            </a:extLst>
          </p:cNvPr>
          <p:cNvSpPr>
            <a:spLocks/>
          </p:cNvSpPr>
          <p:nvPr/>
        </p:nvSpPr>
        <p:spPr bwMode="auto">
          <a:xfrm>
            <a:off x="4140285" y="4542819"/>
            <a:ext cx="8760" cy="14872"/>
          </a:xfrm>
          <a:custGeom>
            <a:avLst/>
            <a:gdLst>
              <a:gd name="T0" fmla="*/ 0 w 8"/>
              <a:gd name="T1" fmla="*/ 19058317 h 12"/>
              <a:gd name="T2" fmla="*/ 0 w 8"/>
              <a:gd name="T3" fmla="*/ 19058317 h 12"/>
              <a:gd name="T4" fmla="*/ 7087790 w 8"/>
              <a:gd name="T5" fmla="*/ 0 h 12"/>
              <a:gd name="T6" fmla="*/ 9922669 w 8"/>
              <a:gd name="T7" fmla="*/ 23292851 h 12"/>
              <a:gd name="T8" fmla="*/ 0 w 8"/>
              <a:gd name="T9" fmla="*/ 19058317 h 12"/>
              <a:gd name="T10" fmla="*/ 0 w 8"/>
              <a:gd name="T11" fmla="*/ 19058317 h 1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12"/>
              <a:gd name="T20" fmla="*/ 8 w 8"/>
              <a:gd name="T21" fmla="*/ 12 h 1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12">
                <a:moveTo>
                  <a:pt x="0" y="9"/>
                </a:moveTo>
                <a:lnTo>
                  <a:pt x="0" y="9"/>
                </a:lnTo>
                <a:lnTo>
                  <a:pt x="5" y="0"/>
                </a:lnTo>
                <a:lnTo>
                  <a:pt x="7" y="11"/>
                </a:lnTo>
                <a:lnTo>
                  <a:pt x="0" y="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74" name="Freeform 771">
            <a:extLst>
              <a:ext uri="{FF2B5EF4-FFF2-40B4-BE49-F238E27FC236}">
                <a16:creationId xmlns:a16="http://schemas.microsoft.com/office/drawing/2014/main" id="{0D8C3209-A9C4-CB3F-C112-E5CB1DD05E00}"/>
              </a:ext>
            </a:extLst>
          </p:cNvPr>
          <p:cNvSpPr>
            <a:spLocks/>
          </p:cNvSpPr>
          <p:nvPr/>
        </p:nvSpPr>
        <p:spPr bwMode="auto">
          <a:xfrm>
            <a:off x="4106704" y="4479272"/>
            <a:ext cx="58401" cy="54083"/>
          </a:xfrm>
          <a:custGeom>
            <a:avLst/>
            <a:gdLst>
              <a:gd name="T0" fmla="*/ 0 w 50"/>
              <a:gd name="T1" fmla="*/ 62062469 h 47"/>
              <a:gd name="T2" fmla="*/ 0 w 50"/>
              <a:gd name="T3" fmla="*/ 62062469 h 47"/>
              <a:gd name="T4" fmla="*/ 30645101 w 50"/>
              <a:gd name="T5" fmla="*/ 52936036 h 47"/>
              <a:gd name="T6" fmla="*/ 14516101 w 50"/>
              <a:gd name="T7" fmla="*/ 41982954 h 47"/>
              <a:gd name="T8" fmla="*/ 29032201 w 50"/>
              <a:gd name="T9" fmla="*/ 12777012 h 47"/>
              <a:gd name="T10" fmla="*/ 41935407 w 50"/>
              <a:gd name="T11" fmla="*/ 32856521 h 47"/>
              <a:gd name="T12" fmla="*/ 41935407 w 50"/>
              <a:gd name="T13" fmla="*/ 0 h 47"/>
              <a:gd name="T14" fmla="*/ 79032096 w 50"/>
              <a:gd name="T15" fmla="*/ 0 h 47"/>
              <a:gd name="T16" fmla="*/ 75806297 w 50"/>
              <a:gd name="T17" fmla="*/ 32856521 h 47"/>
              <a:gd name="T18" fmla="*/ 53225704 w 50"/>
              <a:gd name="T19" fmla="*/ 43809592 h 47"/>
              <a:gd name="T20" fmla="*/ 53225704 w 50"/>
              <a:gd name="T21" fmla="*/ 83967260 h 47"/>
              <a:gd name="T22" fmla="*/ 32258000 w 50"/>
              <a:gd name="T23" fmla="*/ 60237182 h 47"/>
              <a:gd name="T24" fmla="*/ 0 w 50"/>
              <a:gd name="T25" fmla="*/ 62062469 h 47"/>
              <a:gd name="T26" fmla="*/ 0 w 50"/>
              <a:gd name="T27" fmla="*/ 62062469 h 4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0"/>
              <a:gd name="T43" fmla="*/ 0 h 47"/>
              <a:gd name="T44" fmla="*/ 50 w 50"/>
              <a:gd name="T45" fmla="*/ 47 h 4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0" h="47">
                <a:moveTo>
                  <a:pt x="0" y="34"/>
                </a:moveTo>
                <a:lnTo>
                  <a:pt x="0" y="34"/>
                </a:lnTo>
                <a:lnTo>
                  <a:pt x="19" y="29"/>
                </a:lnTo>
                <a:lnTo>
                  <a:pt x="9" y="23"/>
                </a:lnTo>
                <a:lnTo>
                  <a:pt x="18" y="7"/>
                </a:lnTo>
                <a:lnTo>
                  <a:pt x="26" y="18"/>
                </a:lnTo>
                <a:lnTo>
                  <a:pt x="26" y="0"/>
                </a:lnTo>
                <a:lnTo>
                  <a:pt x="49" y="0"/>
                </a:lnTo>
                <a:lnTo>
                  <a:pt x="47" y="18"/>
                </a:lnTo>
                <a:lnTo>
                  <a:pt x="33" y="24"/>
                </a:lnTo>
                <a:lnTo>
                  <a:pt x="33" y="46"/>
                </a:lnTo>
                <a:lnTo>
                  <a:pt x="20" y="33"/>
                </a:lnTo>
                <a:lnTo>
                  <a:pt x="0" y="3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75" name="Freeform 772">
            <a:extLst>
              <a:ext uri="{FF2B5EF4-FFF2-40B4-BE49-F238E27FC236}">
                <a16:creationId xmlns:a16="http://schemas.microsoft.com/office/drawing/2014/main" id="{26B288BC-4DC4-B055-C199-2C43A22E8C8C}"/>
              </a:ext>
            </a:extLst>
          </p:cNvPr>
          <p:cNvSpPr>
            <a:spLocks/>
          </p:cNvSpPr>
          <p:nvPr/>
        </p:nvSpPr>
        <p:spPr bwMode="auto">
          <a:xfrm>
            <a:off x="4128604" y="4061487"/>
            <a:ext cx="405884" cy="316381"/>
          </a:xfrm>
          <a:custGeom>
            <a:avLst/>
            <a:gdLst>
              <a:gd name="T0" fmla="*/ 0 w 354"/>
              <a:gd name="T1" fmla="*/ 360167831 h 285"/>
              <a:gd name="T2" fmla="*/ 51288450 w 354"/>
              <a:gd name="T3" fmla="*/ 366963865 h 285"/>
              <a:gd name="T4" fmla="*/ 1554611 w 354"/>
              <a:gd name="T5" fmla="*/ 389049022 h 285"/>
              <a:gd name="T6" fmla="*/ 9325172 w 354"/>
              <a:gd name="T7" fmla="*/ 423027891 h 285"/>
              <a:gd name="T8" fmla="*/ 6217197 w 354"/>
              <a:gd name="T9" fmla="*/ 436618657 h 285"/>
              <a:gd name="T10" fmla="*/ 13987759 w 354"/>
              <a:gd name="T11" fmla="*/ 468897865 h 285"/>
              <a:gd name="T12" fmla="*/ 108795341 w 354"/>
              <a:gd name="T13" fmla="*/ 451909083 h 285"/>
              <a:gd name="T14" fmla="*/ 130553653 w 354"/>
              <a:gd name="T15" fmla="*/ 451909083 h 285"/>
              <a:gd name="T16" fmla="*/ 150758602 w 354"/>
              <a:gd name="T17" fmla="*/ 385652309 h 285"/>
              <a:gd name="T18" fmla="*/ 150758602 w 354"/>
              <a:gd name="T19" fmla="*/ 358469474 h 285"/>
              <a:gd name="T20" fmla="*/ 191168538 w 354"/>
              <a:gd name="T21" fmla="*/ 273524176 h 285"/>
              <a:gd name="T22" fmla="*/ 202048317 w 354"/>
              <a:gd name="T23" fmla="*/ 200471367 h 285"/>
              <a:gd name="T24" fmla="*/ 245566189 w 354"/>
              <a:gd name="T25" fmla="*/ 130815232 h 285"/>
              <a:gd name="T26" fmla="*/ 279758891 w 354"/>
              <a:gd name="T27" fmla="*/ 105332058 h 285"/>
              <a:gd name="T28" fmla="*/ 320167542 w 354"/>
              <a:gd name="T29" fmla="*/ 83246880 h 285"/>
              <a:gd name="T30" fmla="*/ 345035153 w 354"/>
              <a:gd name="T31" fmla="*/ 71354472 h 285"/>
              <a:gd name="T32" fmla="*/ 413420557 w 354"/>
              <a:gd name="T33" fmla="*/ 98536023 h 285"/>
              <a:gd name="T34" fmla="*/ 446058649 w 354"/>
              <a:gd name="T35" fmla="*/ 52666029 h 285"/>
              <a:gd name="T36" fmla="*/ 509781469 w 354"/>
              <a:gd name="T37" fmla="*/ 56064046 h 285"/>
              <a:gd name="T38" fmla="*/ 547083392 w 354"/>
              <a:gd name="T39" fmla="*/ 52666029 h 285"/>
              <a:gd name="T40" fmla="*/ 526878443 w 354"/>
              <a:gd name="T41" fmla="*/ 50967672 h 285"/>
              <a:gd name="T42" fmla="*/ 548636756 w 354"/>
              <a:gd name="T43" fmla="*/ 27182845 h 285"/>
              <a:gd name="T44" fmla="*/ 484913936 w 354"/>
              <a:gd name="T45" fmla="*/ 27182845 h 285"/>
              <a:gd name="T46" fmla="*/ 477143377 w 354"/>
              <a:gd name="T47" fmla="*/ 0 h 285"/>
              <a:gd name="T48" fmla="*/ 458493039 w 354"/>
              <a:gd name="T49" fmla="*/ 28881201 h 285"/>
              <a:gd name="T50" fmla="*/ 422745726 w 354"/>
              <a:gd name="T51" fmla="*/ 44171637 h 285"/>
              <a:gd name="T52" fmla="*/ 422745726 w 354"/>
              <a:gd name="T53" fmla="*/ 5096375 h 285"/>
              <a:gd name="T54" fmla="*/ 349697737 w 354"/>
              <a:gd name="T55" fmla="*/ 32279219 h 285"/>
              <a:gd name="T56" fmla="*/ 345035153 w 354"/>
              <a:gd name="T57" fmla="*/ 44171637 h 285"/>
              <a:gd name="T58" fmla="*/ 323276762 w 354"/>
              <a:gd name="T59" fmla="*/ 49268012 h 285"/>
              <a:gd name="T60" fmla="*/ 298409229 w 354"/>
              <a:gd name="T61" fmla="*/ 54364386 h 285"/>
              <a:gd name="T62" fmla="*/ 276649670 w 354"/>
              <a:gd name="T63" fmla="*/ 67956455 h 285"/>
              <a:gd name="T64" fmla="*/ 244011578 w 354"/>
              <a:gd name="T65" fmla="*/ 107031718 h 285"/>
              <a:gd name="T66" fmla="*/ 223806630 w 354"/>
              <a:gd name="T67" fmla="*/ 122320840 h 285"/>
              <a:gd name="T68" fmla="*/ 230023825 w 354"/>
              <a:gd name="T69" fmla="*/ 142707640 h 285"/>
              <a:gd name="T70" fmla="*/ 155421186 w 354"/>
              <a:gd name="T71" fmla="*/ 232750576 h 285"/>
              <a:gd name="T72" fmla="*/ 108795341 w 354"/>
              <a:gd name="T73" fmla="*/ 293910976 h 285"/>
              <a:gd name="T74" fmla="*/ 76155983 w 354"/>
              <a:gd name="T75" fmla="*/ 299007350 h 285"/>
              <a:gd name="T76" fmla="*/ 51288450 w 354"/>
              <a:gd name="T77" fmla="*/ 329588201 h 285"/>
              <a:gd name="T78" fmla="*/ 31084738 w 354"/>
              <a:gd name="T79" fmla="*/ 344877405 h 285"/>
              <a:gd name="T80" fmla="*/ 29530127 w 354"/>
              <a:gd name="T81" fmla="*/ 351673440 h 285"/>
              <a:gd name="T82" fmla="*/ 0 w 354"/>
              <a:gd name="T83" fmla="*/ 360167831 h 28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354"/>
              <a:gd name="T127" fmla="*/ 0 h 285"/>
              <a:gd name="T128" fmla="*/ 354 w 354"/>
              <a:gd name="T129" fmla="*/ 285 h 28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354" h="285">
                <a:moveTo>
                  <a:pt x="0" y="212"/>
                </a:moveTo>
                <a:lnTo>
                  <a:pt x="0" y="212"/>
                </a:lnTo>
                <a:lnTo>
                  <a:pt x="1" y="224"/>
                </a:lnTo>
                <a:lnTo>
                  <a:pt x="33" y="216"/>
                </a:lnTo>
                <a:lnTo>
                  <a:pt x="34" y="221"/>
                </a:lnTo>
                <a:lnTo>
                  <a:pt x="1" y="229"/>
                </a:lnTo>
                <a:lnTo>
                  <a:pt x="9" y="234"/>
                </a:lnTo>
                <a:lnTo>
                  <a:pt x="6" y="249"/>
                </a:lnTo>
                <a:lnTo>
                  <a:pt x="28" y="236"/>
                </a:lnTo>
                <a:lnTo>
                  <a:pt x="4" y="257"/>
                </a:lnTo>
                <a:lnTo>
                  <a:pt x="18" y="257"/>
                </a:lnTo>
                <a:lnTo>
                  <a:pt x="9" y="276"/>
                </a:lnTo>
                <a:lnTo>
                  <a:pt x="43" y="284"/>
                </a:lnTo>
                <a:lnTo>
                  <a:pt x="70" y="266"/>
                </a:lnTo>
                <a:lnTo>
                  <a:pt x="76" y="249"/>
                </a:lnTo>
                <a:lnTo>
                  <a:pt x="84" y="266"/>
                </a:lnTo>
                <a:lnTo>
                  <a:pt x="100" y="245"/>
                </a:lnTo>
                <a:lnTo>
                  <a:pt x="97" y="227"/>
                </a:lnTo>
                <a:lnTo>
                  <a:pt x="104" y="220"/>
                </a:lnTo>
                <a:lnTo>
                  <a:pt x="97" y="211"/>
                </a:lnTo>
                <a:lnTo>
                  <a:pt x="98" y="171"/>
                </a:lnTo>
                <a:lnTo>
                  <a:pt x="123" y="161"/>
                </a:lnTo>
                <a:lnTo>
                  <a:pt x="118" y="149"/>
                </a:lnTo>
                <a:lnTo>
                  <a:pt x="130" y="118"/>
                </a:lnTo>
                <a:lnTo>
                  <a:pt x="153" y="95"/>
                </a:lnTo>
                <a:lnTo>
                  <a:pt x="158" y="77"/>
                </a:lnTo>
                <a:lnTo>
                  <a:pt x="175" y="73"/>
                </a:lnTo>
                <a:lnTo>
                  <a:pt x="180" y="62"/>
                </a:lnTo>
                <a:lnTo>
                  <a:pt x="205" y="64"/>
                </a:lnTo>
                <a:lnTo>
                  <a:pt x="206" y="49"/>
                </a:lnTo>
                <a:lnTo>
                  <a:pt x="212" y="49"/>
                </a:lnTo>
                <a:lnTo>
                  <a:pt x="222" y="42"/>
                </a:lnTo>
                <a:lnTo>
                  <a:pt x="237" y="56"/>
                </a:lnTo>
                <a:lnTo>
                  <a:pt x="266" y="58"/>
                </a:lnTo>
                <a:lnTo>
                  <a:pt x="282" y="50"/>
                </a:lnTo>
                <a:lnTo>
                  <a:pt x="287" y="31"/>
                </a:lnTo>
                <a:lnTo>
                  <a:pt x="314" y="26"/>
                </a:lnTo>
                <a:lnTo>
                  <a:pt x="328" y="33"/>
                </a:lnTo>
                <a:lnTo>
                  <a:pt x="326" y="49"/>
                </a:lnTo>
                <a:lnTo>
                  <a:pt x="352" y="31"/>
                </a:lnTo>
                <a:lnTo>
                  <a:pt x="335" y="34"/>
                </a:lnTo>
                <a:lnTo>
                  <a:pt x="339" y="30"/>
                </a:lnTo>
                <a:lnTo>
                  <a:pt x="322" y="25"/>
                </a:lnTo>
                <a:lnTo>
                  <a:pt x="353" y="16"/>
                </a:lnTo>
                <a:lnTo>
                  <a:pt x="328" y="5"/>
                </a:lnTo>
                <a:lnTo>
                  <a:pt x="312" y="16"/>
                </a:lnTo>
                <a:lnTo>
                  <a:pt x="320" y="2"/>
                </a:lnTo>
                <a:lnTo>
                  <a:pt x="307" y="0"/>
                </a:lnTo>
                <a:lnTo>
                  <a:pt x="299" y="16"/>
                </a:lnTo>
                <a:lnTo>
                  <a:pt x="295" y="17"/>
                </a:lnTo>
                <a:lnTo>
                  <a:pt x="295" y="4"/>
                </a:lnTo>
                <a:lnTo>
                  <a:pt x="272" y="26"/>
                </a:lnTo>
                <a:lnTo>
                  <a:pt x="284" y="6"/>
                </a:lnTo>
                <a:lnTo>
                  <a:pt x="272" y="3"/>
                </a:lnTo>
                <a:lnTo>
                  <a:pt x="248" y="27"/>
                </a:lnTo>
                <a:lnTo>
                  <a:pt x="225" y="19"/>
                </a:lnTo>
                <a:lnTo>
                  <a:pt x="231" y="33"/>
                </a:lnTo>
                <a:lnTo>
                  <a:pt x="222" y="26"/>
                </a:lnTo>
                <a:lnTo>
                  <a:pt x="206" y="43"/>
                </a:lnTo>
                <a:lnTo>
                  <a:pt x="208" y="29"/>
                </a:lnTo>
                <a:lnTo>
                  <a:pt x="199" y="41"/>
                </a:lnTo>
                <a:lnTo>
                  <a:pt x="192" y="32"/>
                </a:lnTo>
                <a:lnTo>
                  <a:pt x="197" y="45"/>
                </a:lnTo>
                <a:lnTo>
                  <a:pt x="178" y="40"/>
                </a:lnTo>
                <a:lnTo>
                  <a:pt x="173" y="56"/>
                </a:lnTo>
                <a:lnTo>
                  <a:pt x="157" y="63"/>
                </a:lnTo>
                <a:lnTo>
                  <a:pt x="172" y="64"/>
                </a:lnTo>
                <a:lnTo>
                  <a:pt x="144" y="72"/>
                </a:lnTo>
                <a:lnTo>
                  <a:pt x="139" y="84"/>
                </a:lnTo>
                <a:lnTo>
                  <a:pt x="148" y="84"/>
                </a:lnTo>
                <a:lnTo>
                  <a:pt x="113" y="104"/>
                </a:lnTo>
                <a:lnTo>
                  <a:pt x="100" y="137"/>
                </a:lnTo>
                <a:lnTo>
                  <a:pt x="63" y="166"/>
                </a:lnTo>
                <a:lnTo>
                  <a:pt x="70" y="173"/>
                </a:lnTo>
                <a:lnTo>
                  <a:pt x="86" y="168"/>
                </a:lnTo>
                <a:lnTo>
                  <a:pt x="49" y="176"/>
                </a:lnTo>
                <a:lnTo>
                  <a:pt x="28" y="188"/>
                </a:lnTo>
                <a:lnTo>
                  <a:pt x="33" y="194"/>
                </a:lnTo>
                <a:lnTo>
                  <a:pt x="19" y="194"/>
                </a:lnTo>
                <a:lnTo>
                  <a:pt x="20" y="203"/>
                </a:lnTo>
                <a:lnTo>
                  <a:pt x="2" y="203"/>
                </a:lnTo>
                <a:lnTo>
                  <a:pt x="19" y="207"/>
                </a:lnTo>
                <a:lnTo>
                  <a:pt x="0" y="21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76" name="Freeform 773">
            <a:extLst>
              <a:ext uri="{FF2B5EF4-FFF2-40B4-BE49-F238E27FC236}">
                <a16:creationId xmlns:a16="http://schemas.microsoft.com/office/drawing/2014/main" id="{EB47C1E6-5D6A-2401-A270-B6789FC2D07E}"/>
              </a:ext>
            </a:extLst>
          </p:cNvPr>
          <p:cNvSpPr>
            <a:spLocks/>
          </p:cNvSpPr>
          <p:nvPr/>
        </p:nvSpPr>
        <p:spPr bwMode="auto">
          <a:xfrm>
            <a:off x="4271685" y="4449527"/>
            <a:ext cx="156221" cy="117629"/>
          </a:xfrm>
          <a:custGeom>
            <a:avLst/>
            <a:gdLst>
              <a:gd name="T0" fmla="*/ 0 w 137"/>
              <a:gd name="T1" fmla="*/ 32364034 h 103"/>
              <a:gd name="T2" fmla="*/ 0 w 137"/>
              <a:gd name="T3" fmla="*/ 32364034 h 103"/>
              <a:gd name="T4" fmla="*/ 12298256 w 137"/>
              <a:gd name="T5" fmla="*/ 129457475 h 103"/>
              <a:gd name="T6" fmla="*/ 122981312 w 137"/>
              <a:gd name="T7" fmla="*/ 178003552 h 103"/>
              <a:gd name="T8" fmla="*/ 175249229 w 137"/>
              <a:gd name="T9" fmla="*/ 183398003 h 103"/>
              <a:gd name="T10" fmla="*/ 209069110 w 137"/>
              <a:gd name="T11" fmla="*/ 134851926 h 103"/>
              <a:gd name="T12" fmla="*/ 192159789 w 137"/>
              <a:gd name="T13" fmla="*/ 79113269 h 103"/>
              <a:gd name="T14" fmla="*/ 204458040 w 137"/>
              <a:gd name="T15" fmla="*/ 66526217 h 103"/>
              <a:gd name="T16" fmla="*/ 196770858 w 137"/>
              <a:gd name="T17" fmla="*/ 23374623 h 103"/>
              <a:gd name="T18" fmla="*/ 116832806 w 137"/>
              <a:gd name="T19" fmla="*/ 8990754 h 103"/>
              <a:gd name="T20" fmla="*/ 66102345 w 137"/>
              <a:gd name="T21" fmla="*/ 0 h 103"/>
              <a:gd name="T22" fmla="*/ 0 w 137"/>
              <a:gd name="T23" fmla="*/ 32364034 h 103"/>
              <a:gd name="T24" fmla="*/ 0 w 137"/>
              <a:gd name="T25" fmla="*/ 32364034 h 1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37"/>
              <a:gd name="T40" fmla="*/ 0 h 103"/>
              <a:gd name="T41" fmla="*/ 137 w 137"/>
              <a:gd name="T42" fmla="*/ 103 h 1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37" h="103">
                <a:moveTo>
                  <a:pt x="0" y="18"/>
                </a:moveTo>
                <a:lnTo>
                  <a:pt x="0" y="18"/>
                </a:lnTo>
                <a:lnTo>
                  <a:pt x="8" y="72"/>
                </a:lnTo>
                <a:lnTo>
                  <a:pt x="80" y="99"/>
                </a:lnTo>
                <a:lnTo>
                  <a:pt x="114" y="102"/>
                </a:lnTo>
                <a:lnTo>
                  <a:pt x="136" y="75"/>
                </a:lnTo>
                <a:lnTo>
                  <a:pt x="125" y="44"/>
                </a:lnTo>
                <a:lnTo>
                  <a:pt x="133" y="37"/>
                </a:lnTo>
                <a:lnTo>
                  <a:pt x="128" y="13"/>
                </a:lnTo>
                <a:lnTo>
                  <a:pt x="76" y="5"/>
                </a:lnTo>
                <a:lnTo>
                  <a:pt x="43" y="0"/>
                </a:lnTo>
                <a:lnTo>
                  <a:pt x="0" y="1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77" name="Freeform 774">
            <a:extLst>
              <a:ext uri="{FF2B5EF4-FFF2-40B4-BE49-F238E27FC236}">
                <a16:creationId xmlns:a16="http://schemas.microsoft.com/office/drawing/2014/main" id="{D6B82462-101B-5567-A0CF-6CD34A0CAF71}"/>
              </a:ext>
            </a:extLst>
          </p:cNvPr>
          <p:cNvSpPr>
            <a:spLocks/>
          </p:cNvSpPr>
          <p:nvPr/>
        </p:nvSpPr>
        <p:spPr bwMode="auto">
          <a:xfrm>
            <a:off x="3908142" y="4699657"/>
            <a:ext cx="49641" cy="85178"/>
          </a:xfrm>
          <a:custGeom>
            <a:avLst/>
            <a:gdLst>
              <a:gd name="T0" fmla="*/ 0 w 44"/>
              <a:gd name="T1" fmla="*/ 82664452 h 77"/>
              <a:gd name="T2" fmla="*/ 0 w 44"/>
              <a:gd name="T3" fmla="*/ 82664452 h 77"/>
              <a:gd name="T4" fmla="*/ 10533713 w 44"/>
              <a:gd name="T5" fmla="*/ 0 h 77"/>
              <a:gd name="T6" fmla="*/ 64706208 w 44"/>
              <a:gd name="T7" fmla="*/ 5061646 h 77"/>
              <a:gd name="T8" fmla="*/ 40629686 w 44"/>
              <a:gd name="T9" fmla="*/ 59046043 h 77"/>
              <a:gd name="T10" fmla="*/ 40629686 w 44"/>
              <a:gd name="T11" fmla="*/ 124839645 h 77"/>
              <a:gd name="T12" fmla="*/ 9028545 w 44"/>
              <a:gd name="T13" fmla="*/ 128214075 h 77"/>
              <a:gd name="T14" fmla="*/ 13542818 w 44"/>
              <a:gd name="T15" fmla="*/ 87726116 h 77"/>
              <a:gd name="T16" fmla="*/ 0 w 44"/>
              <a:gd name="T17" fmla="*/ 82664452 h 77"/>
              <a:gd name="T18" fmla="*/ 0 w 44"/>
              <a:gd name="T19" fmla="*/ 82664452 h 7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4"/>
              <a:gd name="T31" fmla="*/ 0 h 77"/>
              <a:gd name="T32" fmla="*/ 44 w 44"/>
              <a:gd name="T33" fmla="*/ 77 h 7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4" h="77">
                <a:moveTo>
                  <a:pt x="0" y="49"/>
                </a:moveTo>
                <a:lnTo>
                  <a:pt x="0" y="49"/>
                </a:lnTo>
                <a:lnTo>
                  <a:pt x="7" y="0"/>
                </a:lnTo>
                <a:lnTo>
                  <a:pt x="43" y="3"/>
                </a:lnTo>
                <a:lnTo>
                  <a:pt x="27" y="35"/>
                </a:lnTo>
                <a:lnTo>
                  <a:pt x="27" y="74"/>
                </a:lnTo>
                <a:lnTo>
                  <a:pt x="6" y="76"/>
                </a:lnTo>
                <a:lnTo>
                  <a:pt x="9" y="52"/>
                </a:lnTo>
                <a:lnTo>
                  <a:pt x="0" y="4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78" name="Freeform 775">
            <a:extLst>
              <a:ext uri="{FF2B5EF4-FFF2-40B4-BE49-F238E27FC236}">
                <a16:creationId xmlns:a16="http://schemas.microsoft.com/office/drawing/2014/main" id="{4427F1DF-9E4D-0758-9013-AAFCC9A8CF25}"/>
              </a:ext>
            </a:extLst>
          </p:cNvPr>
          <p:cNvSpPr>
            <a:spLocks/>
          </p:cNvSpPr>
          <p:nvPr/>
        </p:nvSpPr>
        <p:spPr bwMode="auto">
          <a:xfrm>
            <a:off x="4366586" y="4580676"/>
            <a:ext cx="148921" cy="85178"/>
          </a:xfrm>
          <a:custGeom>
            <a:avLst/>
            <a:gdLst>
              <a:gd name="T0" fmla="*/ 0 w 130"/>
              <a:gd name="T1" fmla="*/ 62420472 h 77"/>
              <a:gd name="T2" fmla="*/ 0 w 130"/>
              <a:gd name="T3" fmla="*/ 62420472 h 77"/>
              <a:gd name="T4" fmla="*/ 54300920 w 130"/>
              <a:gd name="T5" fmla="*/ 116404870 h 77"/>
              <a:gd name="T6" fmla="*/ 178417678 w 130"/>
              <a:gd name="T7" fmla="*/ 128214075 h 77"/>
              <a:gd name="T8" fmla="*/ 200138038 w 130"/>
              <a:gd name="T9" fmla="*/ 82664452 h 77"/>
              <a:gd name="T10" fmla="*/ 169109486 w 130"/>
              <a:gd name="T11" fmla="*/ 80977237 h 77"/>
              <a:gd name="T12" fmla="*/ 166006755 w 130"/>
              <a:gd name="T13" fmla="*/ 42175184 h 77"/>
              <a:gd name="T14" fmla="*/ 138079649 w 130"/>
              <a:gd name="T15" fmla="*/ 0 h 77"/>
              <a:gd name="T16" fmla="*/ 54300920 w 130"/>
              <a:gd name="T17" fmla="*/ 8434777 h 77"/>
              <a:gd name="T18" fmla="*/ 0 w 130"/>
              <a:gd name="T19" fmla="*/ 62420472 h 77"/>
              <a:gd name="T20" fmla="*/ 0 w 130"/>
              <a:gd name="T21" fmla="*/ 62420472 h 7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30"/>
              <a:gd name="T34" fmla="*/ 0 h 77"/>
              <a:gd name="T35" fmla="*/ 130 w 130"/>
              <a:gd name="T36" fmla="*/ 77 h 7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30" h="77">
                <a:moveTo>
                  <a:pt x="0" y="37"/>
                </a:moveTo>
                <a:lnTo>
                  <a:pt x="0" y="37"/>
                </a:lnTo>
                <a:lnTo>
                  <a:pt x="35" y="69"/>
                </a:lnTo>
                <a:lnTo>
                  <a:pt x="115" y="76"/>
                </a:lnTo>
                <a:lnTo>
                  <a:pt x="129" y="49"/>
                </a:lnTo>
                <a:lnTo>
                  <a:pt x="109" y="48"/>
                </a:lnTo>
                <a:lnTo>
                  <a:pt x="107" y="25"/>
                </a:lnTo>
                <a:lnTo>
                  <a:pt x="89" y="0"/>
                </a:lnTo>
                <a:lnTo>
                  <a:pt x="35" y="5"/>
                </a:lnTo>
                <a:lnTo>
                  <a:pt x="0" y="3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79" name="Freeform 776">
            <a:extLst>
              <a:ext uri="{FF2B5EF4-FFF2-40B4-BE49-F238E27FC236}">
                <a16:creationId xmlns:a16="http://schemas.microsoft.com/office/drawing/2014/main" id="{4D7E7969-4319-094F-8748-241F16014D60}"/>
              </a:ext>
            </a:extLst>
          </p:cNvPr>
          <p:cNvSpPr>
            <a:spLocks/>
          </p:cNvSpPr>
          <p:nvPr/>
        </p:nvSpPr>
        <p:spPr bwMode="auto">
          <a:xfrm>
            <a:off x="3909603" y="4665855"/>
            <a:ext cx="192721" cy="135206"/>
          </a:xfrm>
          <a:custGeom>
            <a:avLst/>
            <a:gdLst>
              <a:gd name="T0" fmla="*/ 0 w 168"/>
              <a:gd name="T1" fmla="*/ 16931599 h 122"/>
              <a:gd name="T2" fmla="*/ 0 w 168"/>
              <a:gd name="T3" fmla="*/ 16931599 h 122"/>
              <a:gd name="T4" fmla="*/ 7779543 w 168"/>
              <a:gd name="T5" fmla="*/ 50796104 h 122"/>
              <a:gd name="T6" fmla="*/ 63788014 w 168"/>
              <a:gd name="T7" fmla="*/ 55876103 h 122"/>
              <a:gd name="T8" fmla="*/ 38895220 w 168"/>
              <a:gd name="T9" fmla="*/ 110058005 h 122"/>
              <a:gd name="T10" fmla="*/ 38895220 w 168"/>
              <a:gd name="T11" fmla="*/ 176092824 h 122"/>
              <a:gd name="T12" fmla="*/ 77790439 w 168"/>
              <a:gd name="T13" fmla="*/ 204877315 h 122"/>
              <a:gd name="T14" fmla="*/ 154025470 w 168"/>
              <a:gd name="T15" fmla="*/ 186251520 h 122"/>
              <a:gd name="T16" fmla="*/ 197588194 w 168"/>
              <a:gd name="T17" fmla="*/ 137149597 h 122"/>
              <a:gd name="T18" fmla="*/ 188253243 w 168"/>
              <a:gd name="T19" fmla="*/ 116830903 h 122"/>
              <a:gd name="T20" fmla="*/ 211590619 w 168"/>
              <a:gd name="T21" fmla="*/ 79580595 h 122"/>
              <a:gd name="T22" fmla="*/ 259820779 w 168"/>
              <a:gd name="T23" fmla="*/ 52489003 h 122"/>
              <a:gd name="T24" fmla="*/ 259820779 w 168"/>
              <a:gd name="T25" fmla="*/ 35557399 h 122"/>
              <a:gd name="T26" fmla="*/ 228703863 w 168"/>
              <a:gd name="T27" fmla="*/ 32170299 h 122"/>
              <a:gd name="T28" fmla="*/ 222480978 w 168"/>
              <a:gd name="T29" fmla="*/ 28784501 h 122"/>
              <a:gd name="T30" fmla="*/ 155580879 w 168"/>
              <a:gd name="T31" fmla="*/ 8465800 h 122"/>
              <a:gd name="T32" fmla="*/ 21780729 w 168"/>
              <a:gd name="T33" fmla="*/ 0 h 122"/>
              <a:gd name="T34" fmla="*/ 0 w 168"/>
              <a:gd name="T35" fmla="*/ 16931599 h 122"/>
              <a:gd name="T36" fmla="*/ 0 w 168"/>
              <a:gd name="T37" fmla="*/ 16931599 h 1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68"/>
              <a:gd name="T58" fmla="*/ 0 h 122"/>
              <a:gd name="T59" fmla="*/ 168 w 168"/>
              <a:gd name="T60" fmla="*/ 122 h 12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68" h="122">
                <a:moveTo>
                  <a:pt x="0" y="10"/>
                </a:moveTo>
                <a:lnTo>
                  <a:pt x="0" y="10"/>
                </a:lnTo>
                <a:lnTo>
                  <a:pt x="5" y="30"/>
                </a:lnTo>
                <a:lnTo>
                  <a:pt x="41" y="33"/>
                </a:lnTo>
                <a:lnTo>
                  <a:pt x="25" y="65"/>
                </a:lnTo>
                <a:lnTo>
                  <a:pt x="25" y="104"/>
                </a:lnTo>
                <a:lnTo>
                  <a:pt x="50" y="121"/>
                </a:lnTo>
                <a:lnTo>
                  <a:pt x="99" y="110"/>
                </a:lnTo>
                <a:lnTo>
                  <a:pt x="127" y="81"/>
                </a:lnTo>
                <a:lnTo>
                  <a:pt x="121" y="69"/>
                </a:lnTo>
                <a:lnTo>
                  <a:pt x="136" y="47"/>
                </a:lnTo>
                <a:lnTo>
                  <a:pt x="167" y="31"/>
                </a:lnTo>
                <a:lnTo>
                  <a:pt x="167" y="21"/>
                </a:lnTo>
                <a:lnTo>
                  <a:pt x="147" y="19"/>
                </a:lnTo>
                <a:lnTo>
                  <a:pt x="143" y="17"/>
                </a:lnTo>
                <a:lnTo>
                  <a:pt x="100" y="5"/>
                </a:lnTo>
                <a:lnTo>
                  <a:pt x="14" y="0"/>
                </a:lnTo>
                <a:lnTo>
                  <a:pt x="0" y="1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80" name="Freeform 777">
            <a:extLst>
              <a:ext uri="{FF2B5EF4-FFF2-40B4-BE49-F238E27FC236}">
                <a16:creationId xmlns:a16="http://schemas.microsoft.com/office/drawing/2014/main" id="{4C5A7C52-2F66-0A5C-4D76-766B431C080F}"/>
              </a:ext>
            </a:extLst>
          </p:cNvPr>
          <p:cNvSpPr>
            <a:spLocks/>
          </p:cNvSpPr>
          <p:nvPr/>
        </p:nvSpPr>
        <p:spPr bwMode="auto">
          <a:xfrm>
            <a:off x="4226424" y="4115569"/>
            <a:ext cx="201481" cy="320437"/>
          </a:xfrm>
          <a:custGeom>
            <a:avLst/>
            <a:gdLst>
              <a:gd name="T0" fmla="*/ 0 w 176"/>
              <a:gd name="T1" fmla="*/ 367778835 h 289"/>
              <a:gd name="T2" fmla="*/ 0 w 176"/>
              <a:gd name="T3" fmla="*/ 367778835 h 289"/>
              <a:gd name="T4" fmla="*/ 10845458 w 176"/>
              <a:gd name="T5" fmla="*/ 423707939 h 289"/>
              <a:gd name="T6" fmla="*/ 34086076 w 176"/>
              <a:gd name="T7" fmla="*/ 449130614 h 289"/>
              <a:gd name="T8" fmla="*/ 32537615 w 176"/>
              <a:gd name="T9" fmla="*/ 488112135 h 289"/>
              <a:gd name="T10" fmla="*/ 99161316 w 176"/>
              <a:gd name="T11" fmla="*/ 462689460 h 289"/>
              <a:gd name="T12" fmla="*/ 116204349 w 176"/>
              <a:gd name="T13" fmla="*/ 384727719 h 289"/>
              <a:gd name="T14" fmla="*/ 102259483 w 176"/>
              <a:gd name="T15" fmla="*/ 383032700 h 289"/>
              <a:gd name="T16" fmla="*/ 151840122 w 176"/>
              <a:gd name="T17" fmla="*/ 359305044 h 289"/>
              <a:gd name="T18" fmla="*/ 105358896 w 176"/>
              <a:gd name="T19" fmla="*/ 352524970 h 289"/>
              <a:gd name="T20" fmla="*/ 140994668 w 176"/>
              <a:gd name="T21" fmla="*/ 359305044 h 289"/>
              <a:gd name="T22" fmla="*/ 159587408 w 176"/>
              <a:gd name="T23" fmla="*/ 338967344 h 289"/>
              <a:gd name="T24" fmla="*/ 131697676 w 176"/>
              <a:gd name="T25" fmla="*/ 313544669 h 289"/>
              <a:gd name="T26" fmla="*/ 103809190 w 176"/>
              <a:gd name="T27" fmla="*/ 330492251 h 289"/>
              <a:gd name="T28" fmla="*/ 127049803 w 176"/>
              <a:gd name="T29" fmla="*/ 315239687 h 289"/>
              <a:gd name="T30" fmla="*/ 127049803 w 176"/>
              <a:gd name="T31" fmla="*/ 245750435 h 289"/>
              <a:gd name="T32" fmla="*/ 218463833 w 176"/>
              <a:gd name="T33" fmla="*/ 177957503 h 289"/>
              <a:gd name="T34" fmla="*/ 212266253 w 176"/>
              <a:gd name="T35" fmla="*/ 164398616 h 289"/>
              <a:gd name="T36" fmla="*/ 227759580 w 176"/>
              <a:gd name="T37" fmla="*/ 130502150 h 289"/>
              <a:gd name="T38" fmla="*/ 271142639 w 176"/>
              <a:gd name="T39" fmla="*/ 120333341 h 289"/>
              <a:gd name="T40" fmla="*/ 260297185 w 176"/>
              <a:gd name="T41" fmla="*/ 40676550 h 289"/>
              <a:gd name="T42" fmla="*/ 198321387 w 176"/>
              <a:gd name="T43" fmla="*/ 0 h 289"/>
              <a:gd name="T44" fmla="*/ 189025640 w 176"/>
              <a:gd name="T45" fmla="*/ 0 h 289"/>
              <a:gd name="T46" fmla="*/ 187475934 w 176"/>
              <a:gd name="T47" fmla="*/ 25422685 h 289"/>
              <a:gd name="T48" fmla="*/ 148740710 w 176"/>
              <a:gd name="T49" fmla="*/ 22032648 h 289"/>
              <a:gd name="T50" fmla="*/ 140994668 w 176"/>
              <a:gd name="T51" fmla="*/ 40676550 h 289"/>
              <a:gd name="T52" fmla="*/ 114654643 w 176"/>
              <a:gd name="T53" fmla="*/ 47455333 h 289"/>
              <a:gd name="T54" fmla="*/ 106907357 w 176"/>
              <a:gd name="T55" fmla="*/ 77961762 h 289"/>
              <a:gd name="T56" fmla="*/ 71271565 w 176"/>
              <a:gd name="T57" fmla="*/ 116943304 h 289"/>
              <a:gd name="T58" fmla="*/ 52678825 w 176"/>
              <a:gd name="T59" fmla="*/ 169483672 h 289"/>
              <a:gd name="T60" fmla="*/ 60426111 w 176"/>
              <a:gd name="T61" fmla="*/ 189821332 h 289"/>
              <a:gd name="T62" fmla="*/ 21690917 w 176"/>
              <a:gd name="T63" fmla="*/ 206770215 h 289"/>
              <a:gd name="T64" fmla="*/ 20142450 w 176"/>
              <a:gd name="T65" fmla="*/ 274563147 h 289"/>
              <a:gd name="T66" fmla="*/ 30987909 w 176"/>
              <a:gd name="T67" fmla="*/ 289817012 h 289"/>
              <a:gd name="T68" fmla="*/ 20142450 w 176"/>
              <a:gd name="T69" fmla="*/ 301680841 h 289"/>
              <a:gd name="T70" fmla="*/ 24790329 w 176"/>
              <a:gd name="T71" fmla="*/ 332187269 h 289"/>
              <a:gd name="T72" fmla="*/ 0 w 176"/>
              <a:gd name="T73" fmla="*/ 367778835 h 289"/>
              <a:gd name="T74" fmla="*/ 0 w 176"/>
              <a:gd name="T75" fmla="*/ 367778835 h 289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76"/>
              <a:gd name="T115" fmla="*/ 0 h 289"/>
              <a:gd name="T116" fmla="*/ 176 w 176"/>
              <a:gd name="T117" fmla="*/ 289 h 289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76" h="289">
                <a:moveTo>
                  <a:pt x="0" y="217"/>
                </a:moveTo>
                <a:lnTo>
                  <a:pt x="0" y="217"/>
                </a:lnTo>
                <a:lnTo>
                  <a:pt x="7" y="250"/>
                </a:lnTo>
                <a:lnTo>
                  <a:pt x="22" y="265"/>
                </a:lnTo>
                <a:lnTo>
                  <a:pt x="21" y="288"/>
                </a:lnTo>
                <a:lnTo>
                  <a:pt x="64" y="273"/>
                </a:lnTo>
                <a:lnTo>
                  <a:pt x="75" y="227"/>
                </a:lnTo>
                <a:lnTo>
                  <a:pt x="66" y="226"/>
                </a:lnTo>
                <a:lnTo>
                  <a:pt x="98" y="212"/>
                </a:lnTo>
                <a:lnTo>
                  <a:pt x="68" y="208"/>
                </a:lnTo>
                <a:lnTo>
                  <a:pt x="91" y="212"/>
                </a:lnTo>
                <a:lnTo>
                  <a:pt x="103" y="200"/>
                </a:lnTo>
                <a:lnTo>
                  <a:pt x="85" y="185"/>
                </a:lnTo>
                <a:lnTo>
                  <a:pt x="67" y="195"/>
                </a:lnTo>
                <a:lnTo>
                  <a:pt x="82" y="186"/>
                </a:lnTo>
                <a:lnTo>
                  <a:pt x="82" y="145"/>
                </a:lnTo>
                <a:lnTo>
                  <a:pt x="141" y="105"/>
                </a:lnTo>
                <a:lnTo>
                  <a:pt x="137" y="97"/>
                </a:lnTo>
                <a:lnTo>
                  <a:pt x="147" y="77"/>
                </a:lnTo>
                <a:lnTo>
                  <a:pt x="175" y="71"/>
                </a:lnTo>
                <a:lnTo>
                  <a:pt x="168" y="24"/>
                </a:lnTo>
                <a:lnTo>
                  <a:pt x="128" y="0"/>
                </a:lnTo>
                <a:lnTo>
                  <a:pt x="122" y="0"/>
                </a:lnTo>
                <a:lnTo>
                  <a:pt x="121" y="15"/>
                </a:lnTo>
                <a:lnTo>
                  <a:pt x="96" y="13"/>
                </a:lnTo>
                <a:lnTo>
                  <a:pt x="91" y="24"/>
                </a:lnTo>
                <a:lnTo>
                  <a:pt x="74" y="28"/>
                </a:lnTo>
                <a:lnTo>
                  <a:pt x="69" y="46"/>
                </a:lnTo>
                <a:lnTo>
                  <a:pt x="46" y="69"/>
                </a:lnTo>
                <a:lnTo>
                  <a:pt x="34" y="100"/>
                </a:lnTo>
                <a:lnTo>
                  <a:pt x="39" y="112"/>
                </a:lnTo>
                <a:lnTo>
                  <a:pt x="14" y="122"/>
                </a:lnTo>
                <a:lnTo>
                  <a:pt x="13" y="162"/>
                </a:lnTo>
                <a:lnTo>
                  <a:pt x="20" y="171"/>
                </a:lnTo>
                <a:lnTo>
                  <a:pt x="13" y="178"/>
                </a:lnTo>
                <a:lnTo>
                  <a:pt x="16" y="196"/>
                </a:lnTo>
                <a:lnTo>
                  <a:pt x="0" y="21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81" name="Freeform 778">
            <a:extLst>
              <a:ext uri="{FF2B5EF4-FFF2-40B4-BE49-F238E27FC236}">
                <a16:creationId xmlns:a16="http://schemas.microsoft.com/office/drawing/2014/main" id="{79A508F4-7F4C-FAA2-E2A3-1FAFF2F54A5F}"/>
              </a:ext>
            </a:extLst>
          </p:cNvPr>
          <p:cNvSpPr>
            <a:spLocks/>
          </p:cNvSpPr>
          <p:nvPr/>
        </p:nvSpPr>
        <p:spPr bwMode="auto">
          <a:xfrm>
            <a:off x="4146124" y="4591493"/>
            <a:ext cx="70080" cy="35154"/>
          </a:xfrm>
          <a:custGeom>
            <a:avLst/>
            <a:gdLst>
              <a:gd name="T0" fmla="*/ 0 w 61"/>
              <a:gd name="T1" fmla="*/ 35455227 h 31"/>
              <a:gd name="T2" fmla="*/ 0 w 61"/>
              <a:gd name="T3" fmla="*/ 35455227 h 31"/>
              <a:gd name="T4" fmla="*/ 21846919 w 61"/>
              <a:gd name="T5" fmla="*/ 53183511 h 31"/>
              <a:gd name="T6" fmla="*/ 51494967 w 61"/>
              <a:gd name="T7" fmla="*/ 37227388 h 31"/>
              <a:gd name="T8" fmla="*/ 63978023 w 61"/>
              <a:gd name="T9" fmla="*/ 51410018 h 31"/>
              <a:gd name="T10" fmla="*/ 93627330 w 61"/>
              <a:gd name="T11" fmla="*/ 24818262 h 31"/>
              <a:gd name="T12" fmla="*/ 76462328 w 61"/>
              <a:gd name="T13" fmla="*/ 21272602 h 31"/>
              <a:gd name="T14" fmla="*/ 74902102 w 61"/>
              <a:gd name="T15" fmla="*/ 8863474 h 31"/>
              <a:gd name="T16" fmla="*/ 73340627 w 61"/>
              <a:gd name="T17" fmla="*/ 5317818 h 31"/>
              <a:gd name="T18" fmla="*/ 31209523 w 61"/>
              <a:gd name="T19" fmla="*/ 0 h 31"/>
              <a:gd name="T20" fmla="*/ 0 w 61"/>
              <a:gd name="T21" fmla="*/ 35455227 h 31"/>
              <a:gd name="T22" fmla="*/ 0 w 61"/>
              <a:gd name="T23" fmla="*/ 35455227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1"/>
              <a:gd name="T37" fmla="*/ 0 h 31"/>
              <a:gd name="T38" fmla="*/ 61 w 61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1" h="31">
                <a:moveTo>
                  <a:pt x="0" y="20"/>
                </a:moveTo>
                <a:lnTo>
                  <a:pt x="0" y="20"/>
                </a:lnTo>
                <a:lnTo>
                  <a:pt x="14" y="30"/>
                </a:lnTo>
                <a:lnTo>
                  <a:pt x="33" y="21"/>
                </a:lnTo>
                <a:lnTo>
                  <a:pt x="41" y="29"/>
                </a:lnTo>
                <a:lnTo>
                  <a:pt x="60" y="14"/>
                </a:lnTo>
                <a:lnTo>
                  <a:pt x="49" y="12"/>
                </a:lnTo>
                <a:lnTo>
                  <a:pt x="48" y="5"/>
                </a:lnTo>
                <a:lnTo>
                  <a:pt x="47" y="3"/>
                </a:lnTo>
                <a:lnTo>
                  <a:pt x="20" y="0"/>
                </a:lnTo>
                <a:lnTo>
                  <a:pt x="0" y="2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82" name="Freeform 779">
            <a:extLst>
              <a:ext uri="{FF2B5EF4-FFF2-40B4-BE49-F238E27FC236}">
                <a16:creationId xmlns:a16="http://schemas.microsoft.com/office/drawing/2014/main" id="{2A97A101-B320-97F0-8E39-344EFC275BB1}"/>
              </a:ext>
            </a:extLst>
          </p:cNvPr>
          <p:cNvSpPr>
            <a:spLocks/>
          </p:cNvSpPr>
          <p:nvPr/>
        </p:nvSpPr>
        <p:spPr bwMode="auto">
          <a:xfrm>
            <a:off x="4460027" y="4699657"/>
            <a:ext cx="43801" cy="32449"/>
          </a:xfrm>
          <a:custGeom>
            <a:avLst/>
            <a:gdLst>
              <a:gd name="T0" fmla="*/ 0 w 39"/>
              <a:gd name="T1" fmla="*/ 30645102 h 30"/>
              <a:gd name="T2" fmla="*/ 0 w 39"/>
              <a:gd name="T3" fmla="*/ 30645102 h 30"/>
              <a:gd name="T4" fmla="*/ 7456365 w 39"/>
              <a:gd name="T5" fmla="*/ 1612900 h 30"/>
              <a:gd name="T6" fmla="*/ 38771629 w 39"/>
              <a:gd name="T7" fmla="*/ 0 h 30"/>
              <a:gd name="T8" fmla="*/ 56666420 w 39"/>
              <a:gd name="T9" fmla="*/ 22580604 h 30"/>
              <a:gd name="T10" fmla="*/ 31315267 w 39"/>
              <a:gd name="T11" fmla="*/ 22580604 h 30"/>
              <a:gd name="T12" fmla="*/ 2982058 w 39"/>
              <a:gd name="T13" fmla="*/ 46774108 h 30"/>
              <a:gd name="T14" fmla="*/ 14912730 w 39"/>
              <a:gd name="T15" fmla="*/ 32258002 h 30"/>
              <a:gd name="T16" fmla="*/ 0 w 39"/>
              <a:gd name="T17" fmla="*/ 30645102 h 30"/>
              <a:gd name="T18" fmla="*/ 0 w 39"/>
              <a:gd name="T19" fmla="*/ 30645102 h 3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9"/>
              <a:gd name="T31" fmla="*/ 0 h 30"/>
              <a:gd name="T32" fmla="*/ 39 w 39"/>
              <a:gd name="T33" fmla="*/ 30 h 3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9" h="30">
                <a:moveTo>
                  <a:pt x="0" y="19"/>
                </a:moveTo>
                <a:lnTo>
                  <a:pt x="0" y="19"/>
                </a:lnTo>
                <a:lnTo>
                  <a:pt x="5" y="1"/>
                </a:lnTo>
                <a:lnTo>
                  <a:pt x="26" y="0"/>
                </a:lnTo>
                <a:lnTo>
                  <a:pt x="38" y="14"/>
                </a:lnTo>
                <a:lnTo>
                  <a:pt x="21" y="14"/>
                </a:lnTo>
                <a:lnTo>
                  <a:pt x="2" y="29"/>
                </a:lnTo>
                <a:lnTo>
                  <a:pt x="10" y="20"/>
                </a:lnTo>
                <a:lnTo>
                  <a:pt x="0" y="1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483" name="Group 194">
            <a:extLst>
              <a:ext uri="{FF2B5EF4-FFF2-40B4-BE49-F238E27FC236}">
                <a16:creationId xmlns:a16="http://schemas.microsoft.com/office/drawing/2014/main" id="{8886BB6F-AD8D-0121-5EA3-09415193E2B5}"/>
              </a:ext>
            </a:extLst>
          </p:cNvPr>
          <p:cNvGrpSpPr>
            <a:grpSpLocks/>
          </p:cNvGrpSpPr>
          <p:nvPr/>
        </p:nvGrpSpPr>
        <p:grpSpPr bwMode="auto">
          <a:xfrm>
            <a:off x="3893574" y="4368361"/>
            <a:ext cx="186884" cy="178469"/>
            <a:chOff x="2942" y="2530"/>
            <a:chExt cx="163" cy="161"/>
          </a:xfrm>
          <a:solidFill>
            <a:schemeClr val="accent2"/>
          </a:solidFill>
        </p:grpSpPr>
        <p:sp>
          <p:nvSpPr>
            <p:cNvPr id="484" name="Freeform 781">
              <a:extLst>
                <a:ext uri="{FF2B5EF4-FFF2-40B4-BE49-F238E27FC236}">
                  <a16:creationId xmlns:a16="http://schemas.microsoft.com/office/drawing/2014/main" id="{9EFA969C-B316-02E7-0810-3978E4886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2" y="2596"/>
              <a:ext cx="57" cy="66"/>
            </a:xfrm>
            <a:custGeom>
              <a:avLst/>
              <a:gdLst>
                <a:gd name="T0" fmla="*/ 0 w 57"/>
                <a:gd name="T1" fmla="*/ 54 h 66"/>
                <a:gd name="T2" fmla="*/ 0 w 57"/>
                <a:gd name="T3" fmla="*/ 54 h 66"/>
                <a:gd name="T4" fmla="*/ 7 w 57"/>
                <a:gd name="T5" fmla="*/ 60 h 66"/>
                <a:gd name="T6" fmla="*/ 2 w 57"/>
                <a:gd name="T7" fmla="*/ 65 h 66"/>
                <a:gd name="T8" fmla="*/ 52 w 57"/>
                <a:gd name="T9" fmla="*/ 55 h 66"/>
                <a:gd name="T10" fmla="*/ 56 w 57"/>
                <a:gd name="T11" fmla="*/ 21 h 66"/>
                <a:gd name="T12" fmla="*/ 49 w 57"/>
                <a:gd name="T13" fmla="*/ 13 h 66"/>
                <a:gd name="T14" fmla="*/ 34 w 57"/>
                <a:gd name="T15" fmla="*/ 17 h 66"/>
                <a:gd name="T16" fmla="*/ 29 w 57"/>
                <a:gd name="T17" fmla="*/ 12 h 66"/>
                <a:gd name="T18" fmla="*/ 36 w 57"/>
                <a:gd name="T19" fmla="*/ 4 h 66"/>
                <a:gd name="T20" fmla="*/ 29 w 57"/>
                <a:gd name="T21" fmla="*/ 0 h 66"/>
                <a:gd name="T22" fmla="*/ 23 w 57"/>
                <a:gd name="T23" fmla="*/ 17 h 66"/>
                <a:gd name="T24" fmla="*/ 2 w 57"/>
                <a:gd name="T25" fmla="*/ 21 h 66"/>
                <a:gd name="T26" fmla="*/ 9 w 57"/>
                <a:gd name="T27" fmla="*/ 25 h 66"/>
                <a:gd name="T28" fmla="*/ 5 w 57"/>
                <a:gd name="T29" fmla="*/ 34 h 66"/>
                <a:gd name="T30" fmla="*/ 18 w 57"/>
                <a:gd name="T31" fmla="*/ 36 h 66"/>
                <a:gd name="T32" fmla="*/ 6 w 57"/>
                <a:gd name="T33" fmla="*/ 49 h 66"/>
                <a:gd name="T34" fmla="*/ 20 w 57"/>
                <a:gd name="T35" fmla="*/ 46 h 66"/>
                <a:gd name="T36" fmla="*/ 0 w 57"/>
                <a:gd name="T37" fmla="*/ 54 h 66"/>
                <a:gd name="T38" fmla="*/ 0 w 57"/>
                <a:gd name="T39" fmla="*/ 54 h 6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7"/>
                <a:gd name="T61" fmla="*/ 0 h 66"/>
                <a:gd name="T62" fmla="*/ 57 w 57"/>
                <a:gd name="T63" fmla="*/ 66 h 6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7" h="66">
                  <a:moveTo>
                    <a:pt x="0" y="54"/>
                  </a:moveTo>
                  <a:lnTo>
                    <a:pt x="0" y="54"/>
                  </a:lnTo>
                  <a:lnTo>
                    <a:pt x="7" y="60"/>
                  </a:lnTo>
                  <a:lnTo>
                    <a:pt x="2" y="65"/>
                  </a:lnTo>
                  <a:lnTo>
                    <a:pt x="52" y="55"/>
                  </a:lnTo>
                  <a:lnTo>
                    <a:pt x="56" y="21"/>
                  </a:lnTo>
                  <a:lnTo>
                    <a:pt x="49" y="13"/>
                  </a:lnTo>
                  <a:lnTo>
                    <a:pt x="34" y="17"/>
                  </a:lnTo>
                  <a:lnTo>
                    <a:pt x="29" y="12"/>
                  </a:lnTo>
                  <a:lnTo>
                    <a:pt x="36" y="4"/>
                  </a:lnTo>
                  <a:lnTo>
                    <a:pt x="29" y="0"/>
                  </a:lnTo>
                  <a:lnTo>
                    <a:pt x="23" y="17"/>
                  </a:lnTo>
                  <a:lnTo>
                    <a:pt x="2" y="21"/>
                  </a:lnTo>
                  <a:lnTo>
                    <a:pt x="9" y="25"/>
                  </a:lnTo>
                  <a:lnTo>
                    <a:pt x="5" y="34"/>
                  </a:lnTo>
                  <a:lnTo>
                    <a:pt x="18" y="36"/>
                  </a:lnTo>
                  <a:lnTo>
                    <a:pt x="6" y="49"/>
                  </a:lnTo>
                  <a:lnTo>
                    <a:pt x="20" y="46"/>
                  </a:lnTo>
                  <a:lnTo>
                    <a:pt x="0" y="54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5" name="Freeform 782">
              <a:extLst>
                <a:ext uri="{FF2B5EF4-FFF2-40B4-BE49-F238E27FC236}">
                  <a16:creationId xmlns:a16="http://schemas.microsoft.com/office/drawing/2014/main" id="{B95BBB9D-AEF9-CC1B-03C8-8E90FEF53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1" y="2592"/>
              <a:ext cx="36" cy="26"/>
            </a:xfrm>
            <a:custGeom>
              <a:avLst/>
              <a:gdLst>
                <a:gd name="T0" fmla="*/ 0 w 36"/>
                <a:gd name="T1" fmla="*/ 16 h 26"/>
                <a:gd name="T2" fmla="*/ 0 w 36"/>
                <a:gd name="T3" fmla="*/ 16 h 26"/>
                <a:gd name="T4" fmla="*/ 5 w 36"/>
                <a:gd name="T5" fmla="*/ 21 h 26"/>
                <a:gd name="T6" fmla="*/ 20 w 36"/>
                <a:gd name="T7" fmla="*/ 17 h 26"/>
                <a:gd name="T8" fmla="*/ 27 w 36"/>
                <a:gd name="T9" fmla="*/ 25 h 26"/>
                <a:gd name="T10" fmla="*/ 35 w 36"/>
                <a:gd name="T11" fmla="*/ 16 h 26"/>
                <a:gd name="T12" fmla="*/ 27 w 36"/>
                <a:gd name="T13" fmla="*/ 4 h 26"/>
                <a:gd name="T14" fmla="*/ 11 w 36"/>
                <a:gd name="T15" fmla="*/ 0 h 26"/>
                <a:gd name="T16" fmla="*/ 7 w 36"/>
                <a:gd name="T17" fmla="*/ 8 h 26"/>
                <a:gd name="T18" fmla="*/ 0 w 36"/>
                <a:gd name="T19" fmla="*/ 16 h 26"/>
                <a:gd name="T20" fmla="*/ 0 w 36"/>
                <a:gd name="T21" fmla="*/ 16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26"/>
                <a:gd name="T35" fmla="*/ 36 w 36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26">
                  <a:moveTo>
                    <a:pt x="0" y="16"/>
                  </a:moveTo>
                  <a:lnTo>
                    <a:pt x="0" y="16"/>
                  </a:lnTo>
                  <a:lnTo>
                    <a:pt x="5" y="21"/>
                  </a:lnTo>
                  <a:lnTo>
                    <a:pt x="20" y="17"/>
                  </a:lnTo>
                  <a:lnTo>
                    <a:pt x="27" y="25"/>
                  </a:lnTo>
                  <a:lnTo>
                    <a:pt x="35" y="16"/>
                  </a:lnTo>
                  <a:lnTo>
                    <a:pt x="27" y="4"/>
                  </a:lnTo>
                  <a:lnTo>
                    <a:pt x="11" y="0"/>
                  </a:lnTo>
                  <a:lnTo>
                    <a:pt x="7" y="8"/>
                  </a:lnTo>
                  <a:lnTo>
                    <a:pt x="0" y="16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6" name="Freeform 783">
              <a:extLst>
                <a:ext uri="{FF2B5EF4-FFF2-40B4-BE49-F238E27FC236}">
                  <a16:creationId xmlns:a16="http://schemas.microsoft.com/office/drawing/2014/main" id="{ADCDE10C-7B07-34A1-0C0B-A0717B40C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7" y="2535"/>
              <a:ext cx="10" cy="13"/>
            </a:xfrm>
            <a:custGeom>
              <a:avLst/>
              <a:gdLst>
                <a:gd name="T0" fmla="*/ 0 w 10"/>
                <a:gd name="T1" fmla="*/ 12 h 13"/>
                <a:gd name="T2" fmla="*/ 0 w 10"/>
                <a:gd name="T3" fmla="*/ 12 h 13"/>
                <a:gd name="T4" fmla="*/ 0 w 10"/>
                <a:gd name="T5" fmla="*/ 3 h 13"/>
                <a:gd name="T6" fmla="*/ 9 w 10"/>
                <a:gd name="T7" fmla="*/ 0 h 13"/>
                <a:gd name="T8" fmla="*/ 0 w 10"/>
                <a:gd name="T9" fmla="*/ 12 h 13"/>
                <a:gd name="T10" fmla="*/ 0 w 10"/>
                <a:gd name="T11" fmla="*/ 12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13"/>
                <a:gd name="T20" fmla="*/ 10 w 10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13">
                  <a:moveTo>
                    <a:pt x="0" y="12"/>
                  </a:moveTo>
                  <a:lnTo>
                    <a:pt x="0" y="12"/>
                  </a:lnTo>
                  <a:lnTo>
                    <a:pt x="0" y="3"/>
                  </a:lnTo>
                  <a:lnTo>
                    <a:pt x="9" y="0"/>
                  </a:lnTo>
                  <a:lnTo>
                    <a:pt x="0" y="12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7" name="Freeform 784">
              <a:extLst>
                <a:ext uri="{FF2B5EF4-FFF2-40B4-BE49-F238E27FC236}">
                  <a16:creationId xmlns:a16="http://schemas.microsoft.com/office/drawing/2014/main" id="{CEC1B599-9D71-72C7-7E3C-02793F132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1" y="2547"/>
              <a:ext cx="9" cy="8"/>
            </a:xfrm>
            <a:custGeom>
              <a:avLst/>
              <a:gdLst>
                <a:gd name="T0" fmla="*/ 0 w 9"/>
                <a:gd name="T1" fmla="*/ 6 h 8"/>
                <a:gd name="T2" fmla="*/ 0 w 9"/>
                <a:gd name="T3" fmla="*/ 6 h 8"/>
                <a:gd name="T4" fmla="*/ 4 w 9"/>
                <a:gd name="T5" fmla="*/ 0 h 8"/>
                <a:gd name="T6" fmla="*/ 8 w 9"/>
                <a:gd name="T7" fmla="*/ 7 h 8"/>
                <a:gd name="T8" fmla="*/ 0 w 9"/>
                <a:gd name="T9" fmla="*/ 6 h 8"/>
                <a:gd name="T10" fmla="*/ 0 w 9"/>
                <a:gd name="T11" fmla="*/ 6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0" y="6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8" y="7"/>
                  </a:lnTo>
                  <a:lnTo>
                    <a:pt x="0" y="6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8" name="Freeform 785">
              <a:extLst>
                <a:ext uri="{FF2B5EF4-FFF2-40B4-BE49-F238E27FC236}">
                  <a16:creationId xmlns:a16="http://schemas.microsoft.com/office/drawing/2014/main" id="{03D503BB-2B10-AB81-AE40-8D9331EA3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9" y="2530"/>
              <a:ext cx="106" cy="161"/>
            </a:xfrm>
            <a:custGeom>
              <a:avLst/>
              <a:gdLst>
                <a:gd name="T0" fmla="*/ 0 w 106"/>
                <a:gd name="T1" fmla="*/ 37 h 161"/>
                <a:gd name="T2" fmla="*/ 0 w 106"/>
                <a:gd name="T3" fmla="*/ 37 h 161"/>
                <a:gd name="T4" fmla="*/ 4 w 106"/>
                <a:gd name="T5" fmla="*/ 16 h 161"/>
                <a:gd name="T6" fmla="*/ 16 w 106"/>
                <a:gd name="T7" fmla="*/ 0 h 161"/>
                <a:gd name="T8" fmla="*/ 40 w 106"/>
                <a:gd name="T9" fmla="*/ 0 h 161"/>
                <a:gd name="T10" fmla="*/ 26 w 106"/>
                <a:gd name="T11" fmla="*/ 19 h 161"/>
                <a:gd name="T12" fmla="*/ 58 w 106"/>
                <a:gd name="T13" fmla="*/ 23 h 161"/>
                <a:gd name="T14" fmla="*/ 38 w 106"/>
                <a:gd name="T15" fmla="*/ 49 h 161"/>
                <a:gd name="T16" fmla="*/ 62 w 106"/>
                <a:gd name="T17" fmla="*/ 58 h 161"/>
                <a:gd name="T18" fmla="*/ 85 w 106"/>
                <a:gd name="T19" fmla="*/ 91 h 161"/>
                <a:gd name="T20" fmla="*/ 78 w 106"/>
                <a:gd name="T21" fmla="*/ 93 h 161"/>
                <a:gd name="T22" fmla="*/ 88 w 106"/>
                <a:gd name="T23" fmla="*/ 101 h 161"/>
                <a:gd name="T24" fmla="*/ 82 w 106"/>
                <a:gd name="T25" fmla="*/ 110 h 161"/>
                <a:gd name="T26" fmla="*/ 105 w 106"/>
                <a:gd name="T27" fmla="*/ 111 h 161"/>
                <a:gd name="T28" fmla="*/ 91 w 106"/>
                <a:gd name="T29" fmla="*/ 133 h 161"/>
                <a:gd name="T30" fmla="*/ 101 w 106"/>
                <a:gd name="T31" fmla="*/ 139 h 161"/>
                <a:gd name="T32" fmla="*/ 6 w 106"/>
                <a:gd name="T33" fmla="*/ 160 h 161"/>
                <a:gd name="T34" fmla="*/ 48 w 106"/>
                <a:gd name="T35" fmla="*/ 130 h 161"/>
                <a:gd name="T36" fmla="*/ 36 w 106"/>
                <a:gd name="T37" fmla="*/ 135 h 161"/>
                <a:gd name="T38" fmla="*/ 12 w 106"/>
                <a:gd name="T39" fmla="*/ 126 h 161"/>
                <a:gd name="T40" fmla="*/ 30 w 106"/>
                <a:gd name="T41" fmla="*/ 115 h 161"/>
                <a:gd name="T42" fmla="*/ 19 w 106"/>
                <a:gd name="T43" fmla="*/ 110 h 161"/>
                <a:gd name="T44" fmla="*/ 43 w 106"/>
                <a:gd name="T45" fmla="*/ 98 h 161"/>
                <a:gd name="T46" fmla="*/ 45 w 106"/>
                <a:gd name="T47" fmla="*/ 83 h 161"/>
                <a:gd name="T48" fmla="*/ 33 w 106"/>
                <a:gd name="T49" fmla="*/ 79 h 161"/>
                <a:gd name="T50" fmla="*/ 40 w 106"/>
                <a:gd name="T51" fmla="*/ 70 h 161"/>
                <a:gd name="T52" fmla="*/ 15 w 106"/>
                <a:gd name="T53" fmla="*/ 74 h 161"/>
                <a:gd name="T54" fmla="*/ 16 w 106"/>
                <a:gd name="T55" fmla="*/ 51 h 161"/>
                <a:gd name="T56" fmla="*/ 4 w 106"/>
                <a:gd name="T57" fmla="*/ 62 h 161"/>
                <a:gd name="T58" fmla="*/ 11 w 106"/>
                <a:gd name="T59" fmla="*/ 38 h 161"/>
                <a:gd name="T60" fmla="*/ 0 w 106"/>
                <a:gd name="T61" fmla="*/ 37 h 161"/>
                <a:gd name="T62" fmla="*/ 0 w 106"/>
                <a:gd name="T63" fmla="*/ 37 h 16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06"/>
                <a:gd name="T97" fmla="*/ 0 h 161"/>
                <a:gd name="T98" fmla="*/ 106 w 106"/>
                <a:gd name="T99" fmla="*/ 161 h 16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06" h="161">
                  <a:moveTo>
                    <a:pt x="0" y="37"/>
                  </a:moveTo>
                  <a:lnTo>
                    <a:pt x="0" y="37"/>
                  </a:lnTo>
                  <a:lnTo>
                    <a:pt x="4" y="16"/>
                  </a:lnTo>
                  <a:lnTo>
                    <a:pt x="16" y="0"/>
                  </a:lnTo>
                  <a:lnTo>
                    <a:pt x="40" y="0"/>
                  </a:lnTo>
                  <a:lnTo>
                    <a:pt x="26" y="19"/>
                  </a:lnTo>
                  <a:lnTo>
                    <a:pt x="58" y="23"/>
                  </a:lnTo>
                  <a:lnTo>
                    <a:pt x="38" y="49"/>
                  </a:lnTo>
                  <a:lnTo>
                    <a:pt x="62" y="58"/>
                  </a:lnTo>
                  <a:lnTo>
                    <a:pt x="85" y="91"/>
                  </a:lnTo>
                  <a:lnTo>
                    <a:pt x="78" y="93"/>
                  </a:lnTo>
                  <a:lnTo>
                    <a:pt x="88" y="101"/>
                  </a:lnTo>
                  <a:lnTo>
                    <a:pt x="82" y="110"/>
                  </a:lnTo>
                  <a:lnTo>
                    <a:pt x="105" y="111"/>
                  </a:lnTo>
                  <a:lnTo>
                    <a:pt x="91" y="133"/>
                  </a:lnTo>
                  <a:lnTo>
                    <a:pt x="101" y="139"/>
                  </a:lnTo>
                  <a:lnTo>
                    <a:pt x="6" y="160"/>
                  </a:lnTo>
                  <a:lnTo>
                    <a:pt x="48" y="130"/>
                  </a:lnTo>
                  <a:lnTo>
                    <a:pt x="36" y="135"/>
                  </a:lnTo>
                  <a:lnTo>
                    <a:pt x="12" y="126"/>
                  </a:lnTo>
                  <a:lnTo>
                    <a:pt x="30" y="115"/>
                  </a:lnTo>
                  <a:lnTo>
                    <a:pt x="19" y="110"/>
                  </a:lnTo>
                  <a:lnTo>
                    <a:pt x="43" y="98"/>
                  </a:lnTo>
                  <a:lnTo>
                    <a:pt x="45" y="83"/>
                  </a:lnTo>
                  <a:lnTo>
                    <a:pt x="33" y="79"/>
                  </a:lnTo>
                  <a:lnTo>
                    <a:pt x="40" y="70"/>
                  </a:lnTo>
                  <a:lnTo>
                    <a:pt x="15" y="74"/>
                  </a:lnTo>
                  <a:lnTo>
                    <a:pt x="16" y="51"/>
                  </a:lnTo>
                  <a:lnTo>
                    <a:pt x="4" y="62"/>
                  </a:lnTo>
                  <a:lnTo>
                    <a:pt x="11" y="38"/>
                  </a:lnTo>
                  <a:lnTo>
                    <a:pt x="0" y="37"/>
                  </a:lnTo>
                </a:path>
              </a:pathLst>
            </a:custGeom>
            <a:grpFill/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89" name="Freeform 786">
            <a:extLst>
              <a:ext uri="{FF2B5EF4-FFF2-40B4-BE49-F238E27FC236}">
                <a16:creationId xmlns:a16="http://schemas.microsoft.com/office/drawing/2014/main" id="{A2075BEA-5E17-3A77-655E-8C439C0942E4}"/>
              </a:ext>
            </a:extLst>
          </p:cNvPr>
          <p:cNvSpPr>
            <a:spLocks/>
          </p:cNvSpPr>
          <p:nvPr/>
        </p:nvSpPr>
        <p:spPr bwMode="auto">
          <a:xfrm>
            <a:off x="4416225" y="4427893"/>
            <a:ext cx="125561" cy="98700"/>
          </a:xfrm>
          <a:custGeom>
            <a:avLst/>
            <a:gdLst>
              <a:gd name="T0" fmla="*/ 54908105 w 109"/>
              <a:gd name="T1" fmla="*/ 8289855 h 90"/>
              <a:gd name="T2" fmla="*/ 64320812 w 109"/>
              <a:gd name="T3" fmla="*/ 4974170 h 90"/>
              <a:gd name="T4" fmla="*/ 76872341 w 109"/>
              <a:gd name="T5" fmla="*/ 0 h 90"/>
              <a:gd name="T6" fmla="*/ 105110482 w 109"/>
              <a:gd name="T7" fmla="*/ 21553883 h 90"/>
              <a:gd name="T8" fmla="*/ 130211035 w 109"/>
              <a:gd name="T9" fmla="*/ 24870854 h 90"/>
              <a:gd name="T10" fmla="*/ 141193153 w 109"/>
              <a:gd name="T11" fmla="*/ 41450558 h 90"/>
              <a:gd name="T12" fmla="*/ 150605860 w 109"/>
              <a:gd name="T13" fmla="*/ 64662927 h 90"/>
              <a:gd name="T14" fmla="*/ 153743429 w 109"/>
              <a:gd name="T15" fmla="*/ 72952779 h 90"/>
              <a:gd name="T16" fmla="*/ 163156136 w 109"/>
              <a:gd name="T17" fmla="*/ 81243919 h 90"/>
              <a:gd name="T18" fmla="*/ 169431313 w 109"/>
              <a:gd name="T19" fmla="*/ 87875306 h 90"/>
              <a:gd name="T20" fmla="*/ 169431313 w 109"/>
              <a:gd name="T21" fmla="*/ 96165158 h 90"/>
              <a:gd name="T22" fmla="*/ 158450409 w 109"/>
              <a:gd name="T23" fmla="*/ 96165158 h 90"/>
              <a:gd name="T24" fmla="*/ 142762563 w 109"/>
              <a:gd name="T25" fmla="*/ 96165158 h 90"/>
              <a:gd name="T26" fmla="*/ 150605860 w 109"/>
              <a:gd name="T27" fmla="*/ 104456297 h 90"/>
              <a:gd name="T28" fmla="*/ 155312840 w 109"/>
              <a:gd name="T29" fmla="*/ 111087664 h 90"/>
              <a:gd name="T30" fmla="*/ 158450409 w 109"/>
              <a:gd name="T31" fmla="*/ 122694487 h 90"/>
              <a:gd name="T32" fmla="*/ 150605860 w 109"/>
              <a:gd name="T33" fmla="*/ 127668656 h 90"/>
              <a:gd name="T34" fmla="*/ 138055584 w 109"/>
              <a:gd name="T35" fmla="*/ 127668656 h 90"/>
              <a:gd name="T36" fmla="*/ 134918014 w 109"/>
              <a:gd name="T37" fmla="*/ 127668656 h 90"/>
              <a:gd name="T38" fmla="*/ 130211035 w 109"/>
              <a:gd name="T39" fmla="*/ 134300023 h 90"/>
              <a:gd name="T40" fmla="*/ 130211035 w 109"/>
              <a:gd name="T41" fmla="*/ 144248360 h 90"/>
              <a:gd name="T42" fmla="*/ 120798327 w 109"/>
              <a:gd name="T43" fmla="*/ 147564044 h 90"/>
              <a:gd name="T44" fmla="*/ 111385620 w 109"/>
              <a:gd name="T45" fmla="*/ 142589875 h 90"/>
              <a:gd name="T46" fmla="*/ 98835344 w 109"/>
              <a:gd name="T47" fmla="*/ 139274191 h 90"/>
              <a:gd name="T48" fmla="*/ 86285068 w 109"/>
              <a:gd name="T49" fmla="*/ 134300023 h 90"/>
              <a:gd name="T50" fmla="*/ 75302930 w 109"/>
              <a:gd name="T51" fmla="*/ 135958508 h 90"/>
              <a:gd name="T52" fmla="*/ 39220249 w 109"/>
              <a:gd name="T53" fmla="*/ 122694487 h 90"/>
              <a:gd name="T54" fmla="*/ 25100562 w 109"/>
              <a:gd name="T55" fmla="*/ 126010170 h 90"/>
              <a:gd name="T56" fmla="*/ 14119692 w 109"/>
              <a:gd name="T57" fmla="*/ 122694487 h 90"/>
              <a:gd name="T58" fmla="*/ 7844551 w 109"/>
              <a:gd name="T59" fmla="*/ 134300023 h 90"/>
              <a:gd name="T60" fmla="*/ 0 w 109"/>
              <a:gd name="T61" fmla="*/ 109430466 h 90"/>
              <a:gd name="T62" fmla="*/ 9412710 w 109"/>
              <a:gd name="T63" fmla="*/ 96165158 h 90"/>
              <a:gd name="T64" fmla="*/ 7844551 w 109"/>
              <a:gd name="T65" fmla="*/ 66321412 h 90"/>
              <a:gd name="T66" fmla="*/ 23532404 w 109"/>
              <a:gd name="T67" fmla="*/ 24870854 h 90"/>
              <a:gd name="T68" fmla="*/ 37652091 w 109"/>
              <a:gd name="T69" fmla="*/ 19896680 h 90"/>
              <a:gd name="T70" fmla="*/ 45495397 w 109"/>
              <a:gd name="T71" fmla="*/ 8289855 h 90"/>
              <a:gd name="T72" fmla="*/ 54908105 w 109"/>
              <a:gd name="T73" fmla="*/ 8289855 h 90"/>
              <a:gd name="T74" fmla="*/ 54908105 w 109"/>
              <a:gd name="T75" fmla="*/ 8289855 h 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09"/>
              <a:gd name="T115" fmla="*/ 0 h 90"/>
              <a:gd name="T116" fmla="*/ 109 w 109"/>
              <a:gd name="T117" fmla="*/ 90 h 9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09" h="90">
                <a:moveTo>
                  <a:pt x="35" y="5"/>
                </a:moveTo>
                <a:lnTo>
                  <a:pt x="41" y="3"/>
                </a:lnTo>
                <a:lnTo>
                  <a:pt x="49" y="0"/>
                </a:lnTo>
                <a:lnTo>
                  <a:pt x="67" y="13"/>
                </a:lnTo>
                <a:lnTo>
                  <a:pt x="83" y="15"/>
                </a:lnTo>
                <a:lnTo>
                  <a:pt x="90" y="25"/>
                </a:lnTo>
                <a:lnTo>
                  <a:pt x="96" y="39"/>
                </a:lnTo>
                <a:lnTo>
                  <a:pt x="98" y="44"/>
                </a:lnTo>
                <a:lnTo>
                  <a:pt x="104" y="49"/>
                </a:lnTo>
                <a:lnTo>
                  <a:pt x="108" y="53"/>
                </a:lnTo>
                <a:lnTo>
                  <a:pt x="108" y="58"/>
                </a:lnTo>
                <a:lnTo>
                  <a:pt x="101" y="58"/>
                </a:lnTo>
                <a:lnTo>
                  <a:pt x="91" y="58"/>
                </a:lnTo>
                <a:lnTo>
                  <a:pt x="96" y="63"/>
                </a:lnTo>
                <a:lnTo>
                  <a:pt x="99" y="67"/>
                </a:lnTo>
                <a:lnTo>
                  <a:pt x="101" y="74"/>
                </a:lnTo>
                <a:lnTo>
                  <a:pt x="96" y="77"/>
                </a:lnTo>
                <a:lnTo>
                  <a:pt x="88" y="77"/>
                </a:lnTo>
                <a:lnTo>
                  <a:pt x="86" y="77"/>
                </a:lnTo>
                <a:lnTo>
                  <a:pt x="83" y="81"/>
                </a:lnTo>
                <a:lnTo>
                  <a:pt x="83" y="87"/>
                </a:lnTo>
                <a:lnTo>
                  <a:pt x="77" y="89"/>
                </a:lnTo>
                <a:lnTo>
                  <a:pt x="71" y="86"/>
                </a:lnTo>
                <a:lnTo>
                  <a:pt x="63" y="84"/>
                </a:lnTo>
                <a:lnTo>
                  <a:pt x="55" y="81"/>
                </a:lnTo>
                <a:lnTo>
                  <a:pt x="48" y="82"/>
                </a:lnTo>
                <a:lnTo>
                  <a:pt x="25" y="74"/>
                </a:lnTo>
                <a:lnTo>
                  <a:pt x="16" y="76"/>
                </a:lnTo>
                <a:lnTo>
                  <a:pt x="9" y="74"/>
                </a:lnTo>
                <a:lnTo>
                  <a:pt x="5" y="81"/>
                </a:lnTo>
                <a:lnTo>
                  <a:pt x="0" y="66"/>
                </a:lnTo>
                <a:lnTo>
                  <a:pt x="6" y="58"/>
                </a:lnTo>
                <a:lnTo>
                  <a:pt x="5" y="40"/>
                </a:lnTo>
                <a:lnTo>
                  <a:pt x="15" y="15"/>
                </a:lnTo>
                <a:lnTo>
                  <a:pt x="24" y="12"/>
                </a:lnTo>
                <a:lnTo>
                  <a:pt x="29" y="5"/>
                </a:lnTo>
                <a:lnTo>
                  <a:pt x="35" y="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90" name="Freeform 787">
            <a:extLst>
              <a:ext uri="{FF2B5EF4-FFF2-40B4-BE49-F238E27FC236}">
                <a16:creationId xmlns:a16="http://schemas.microsoft.com/office/drawing/2014/main" id="{E76CE8C1-5CBB-3260-71B0-B8358A3315E3}"/>
              </a:ext>
            </a:extLst>
          </p:cNvPr>
          <p:cNvSpPr>
            <a:spLocks/>
          </p:cNvSpPr>
          <p:nvPr/>
        </p:nvSpPr>
        <p:spPr bwMode="auto">
          <a:xfrm>
            <a:off x="4398706" y="4498200"/>
            <a:ext cx="275943" cy="155487"/>
          </a:xfrm>
          <a:custGeom>
            <a:avLst/>
            <a:gdLst>
              <a:gd name="T0" fmla="*/ 190643677 w 241"/>
              <a:gd name="T1" fmla="*/ 8625115 h 139"/>
              <a:gd name="T2" fmla="*/ 207693550 w 241"/>
              <a:gd name="T3" fmla="*/ 0 h 139"/>
              <a:gd name="T4" fmla="*/ 230943376 w 241"/>
              <a:gd name="T5" fmla="*/ 15525734 h 139"/>
              <a:gd name="T6" fmla="*/ 240243307 w 241"/>
              <a:gd name="T7" fmla="*/ 34500462 h 139"/>
              <a:gd name="T8" fmla="*/ 266591866 w 241"/>
              <a:gd name="T9" fmla="*/ 51750698 h 139"/>
              <a:gd name="T10" fmla="*/ 302240355 w 241"/>
              <a:gd name="T11" fmla="*/ 77626037 h 139"/>
              <a:gd name="T12" fmla="*/ 325490182 w 241"/>
              <a:gd name="T13" fmla="*/ 77626037 h 139"/>
              <a:gd name="T14" fmla="*/ 361138749 w 241"/>
              <a:gd name="T15" fmla="*/ 87976981 h 139"/>
              <a:gd name="T16" fmla="*/ 351838818 w 241"/>
              <a:gd name="T17" fmla="*/ 129376735 h 139"/>
              <a:gd name="T18" fmla="*/ 320840216 w 241"/>
              <a:gd name="T19" fmla="*/ 165602997 h 139"/>
              <a:gd name="T20" fmla="*/ 272791819 w 241"/>
              <a:gd name="T21" fmla="*/ 194928685 h 139"/>
              <a:gd name="T22" fmla="*/ 274341808 w 241"/>
              <a:gd name="T23" fmla="*/ 210453100 h 139"/>
              <a:gd name="T24" fmla="*/ 251091981 w 241"/>
              <a:gd name="T25" fmla="*/ 238054249 h 139"/>
              <a:gd name="T26" fmla="*/ 246442016 w 241"/>
              <a:gd name="T27" fmla="*/ 191478377 h 139"/>
              <a:gd name="T28" fmla="*/ 206143561 w 241"/>
              <a:gd name="T29" fmla="*/ 186302258 h 139"/>
              <a:gd name="T30" fmla="*/ 206143561 w 241"/>
              <a:gd name="T31" fmla="*/ 170777802 h 139"/>
              <a:gd name="T32" fmla="*/ 158095125 w 241"/>
              <a:gd name="T33" fmla="*/ 210453100 h 139"/>
              <a:gd name="T34" fmla="*/ 141045253 w 241"/>
              <a:gd name="T35" fmla="*/ 188028069 h 139"/>
              <a:gd name="T36" fmla="*/ 154995149 w 241"/>
              <a:gd name="T37" fmla="*/ 174228151 h 139"/>
              <a:gd name="T38" fmla="*/ 164295118 w 241"/>
              <a:gd name="T39" fmla="*/ 160426878 h 139"/>
              <a:gd name="T40" fmla="*/ 145695218 w 241"/>
              <a:gd name="T41" fmla="*/ 136277350 h 139"/>
              <a:gd name="T42" fmla="*/ 113146705 w 241"/>
              <a:gd name="T43" fmla="*/ 122477432 h 139"/>
              <a:gd name="T44" fmla="*/ 55798359 w 241"/>
              <a:gd name="T45" fmla="*/ 129376735 h 139"/>
              <a:gd name="T46" fmla="*/ 13949901 w 241"/>
              <a:gd name="T47" fmla="*/ 132827043 h 139"/>
              <a:gd name="T48" fmla="*/ 9299933 w 241"/>
              <a:gd name="T49" fmla="*/ 98326591 h 139"/>
              <a:gd name="T50" fmla="*/ 40298464 w 241"/>
              <a:gd name="T51" fmla="*/ 53475195 h 139"/>
              <a:gd name="T52" fmla="*/ 32548522 w 241"/>
              <a:gd name="T53" fmla="*/ 20700539 h 139"/>
              <a:gd name="T54" fmla="*/ 49598405 w 241"/>
              <a:gd name="T55" fmla="*/ 18974728 h 139"/>
              <a:gd name="T56" fmla="*/ 80596929 w 241"/>
              <a:gd name="T57" fmla="*/ 22425041 h 139"/>
              <a:gd name="T58" fmla="*/ 110046729 w 241"/>
              <a:gd name="T59" fmla="*/ 25875349 h 139"/>
              <a:gd name="T60" fmla="*/ 134845299 w 241"/>
              <a:gd name="T61" fmla="*/ 36224959 h 139"/>
              <a:gd name="T62" fmla="*/ 153445160 w 241"/>
              <a:gd name="T63" fmla="*/ 37950770 h 139"/>
              <a:gd name="T64" fmla="*/ 158095125 w 241"/>
              <a:gd name="T65" fmla="*/ 20700539 h 139"/>
              <a:gd name="T66" fmla="*/ 178245014 w 241"/>
              <a:gd name="T67" fmla="*/ 18974728 h 139"/>
              <a:gd name="T68" fmla="*/ 184444968 w 241"/>
              <a:gd name="T69" fmla="*/ 12075426 h 13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41"/>
              <a:gd name="T106" fmla="*/ 0 h 139"/>
              <a:gd name="T107" fmla="*/ 241 w 241"/>
              <a:gd name="T108" fmla="*/ 139 h 13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41" h="139">
                <a:moveTo>
                  <a:pt x="119" y="7"/>
                </a:moveTo>
                <a:lnTo>
                  <a:pt x="123" y="5"/>
                </a:lnTo>
                <a:lnTo>
                  <a:pt x="129" y="2"/>
                </a:lnTo>
                <a:lnTo>
                  <a:pt x="134" y="0"/>
                </a:lnTo>
                <a:lnTo>
                  <a:pt x="145" y="2"/>
                </a:lnTo>
                <a:lnTo>
                  <a:pt x="149" y="9"/>
                </a:lnTo>
                <a:lnTo>
                  <a:pt x="151" y="17"/>
                </a:lnTo>
                <a:lnTo>
                  <a:pt x="155" y="20"/>
                </a:lnTo>
                <a:lnTo>
                  <a:pt x="160" y="18"/>
                </a:lnTo>
                <a:lnTo>
                  <a:pt x="172" y="30"/>
                </a:lnTo>
                <a:lnTo>
                  <a:pt x="178" y="39"/>
                </a:lnTo>
                <a:lnTo>
                  <a:pt x="195" y="45"/>
                </a:lnTo>
                <a:lnTo>
                  <a:pt x="205" y="47"/>
                </a:lnTo>
                <a:lnTo>
                  <a:pt x="210" y="45"/>
                </a:lnTo>
                <a:lnTo>
                  <a:pt x="221" y="49"/>
                </a:lnTo>
                <a:lnTo>
                  <a:pt x="233" y="51"/>
                </a:lnTo>
                <a:lnTo>
                  <a:pt x="240" y="72"/>
                </a:lnTo>
                <a:lnTo>
                  <a:pt x="227" y="75"/>
                </a:lnTo>
                <a:lnTo>
                  <a:pt x="225" y="85"/>
                </a:lnTo>
                <a:lnTo>
                  <a:pt x="207" y="96"/>
                </a:lnTo>
                <a:lnTo>
                  <a:pt x="179" y="103"/>
                </a:lnTo>
                <a:lnTo>
                  <a:pt x="176" y="113"/>
                </a:lnTo>
                <a:lnTo>
                  <a:pt x="164" y="109"/>
                </a:lnTo>
                <a:lnTo>
                  <a:pt x="177" y="122"/>
                </a:lnTo>
                <a:lnTo>
                  <a:pt x="193" y="124"/>
                </a:lnTo>
                <a:lnTo>
                  <a:pt x="162" y="138"/>
                </a:lnTo>
                <a:lnTo>
                  <a:pt x="143" y="122"/>
                </a:lnTo>
                <a:lnTo>
                  <a:pt x="159" y="111"/>
                </a:lnTo>
                <a:lnTo>
                  <a:pt x="143" y="108"/>
                </a:lnTo>
                <a:lnTo>
                  <a:pt x="133" y="108"/>
                </a:lnTo>
                <a:lnTo>
                  <a:pt x="136" y="98"/>
                </a:lnTo>
                <a:lnTo>
                  <a:pt x="133" y="99"/>
                </a:lnTo>
                <a:lnTo>
                  <a:pt x="110" y="104"/>
                </a:lnTo>
                <a:lnTo>
                  <a:pt x="102" y="122"/>
                </a:lnTo>
                <a:lnTo>
                  <a:pt x="87" y="121"/>
                </a:lnTo>
                <a:lnTo>
                  <a:pt x="91" y="109"/>
                </a:lnTo>
                <a:lnTo>
                  <a:pt x="92" y="103"/>
                </a:lnTo>
                <a:lnTo>
                  <a:pt x="100" y="101"/>
                </a:lnTo>
                <a:lnTo>
                  <a:pt x="105" y="97"/>
                </a:lnTo>
                <a:lnTo>
                  <a:pt x="106" y="93"/>
                </a:lnTo>
                <a:lnTo>
                  <a:pt x="100" y="92"/>
                </a:lnTo>
                <a:lnTo>
                  <a:pt x="94" y="79"/>
                </a:lnTo>
                <a:lnTo>
                  <a:pt x="85" y="71"/>
                </a:lnTo>
                <a:lnTo>
                  <a:pt x="73" y="71"/>
                </a:lnTo>
                <a:lnTo>
                  <a:pt x="58" y="74"/>
                </a:lnTo>
                <a:lnTo>
                  <a:pt x="36" y="75"/>
                </a:lnTo>
                <a:lnTo>
                  <a:pt x="25" y="77"/>
                </a:lnTo>
                <a:lnTo>
                  <a:pt x="9" y="77"/>
                </a:lnTo>
                <a:lnTo>
                  <a:pt x="0" y="70"/>
                </a:lnTo>
                <a:lnTo>
                  <a:pt x="6" y="57"/>
                </a:lnTo>
                <a:lnTo>
                  <a:pt x="15" y="44"/>
                </a:lnTo>
                <a:lnTo>
                  <a:pt x="26" y="31"/>
                </a:lnTo>
                <a:lnTo>
                  <a:pt x="21" y="15"/>
                </a:lnTo>
                <a:lnTo>
                  <a:pt x="21" y="12"/>
                </a:lnTo>
                <a:lnTo>
                  <a:pt x="25" y="9"/>
                </a:lnTo>
                <a:lnTo>
                  <a:pt x="32" y="11"/>
                </a:lnTo>
                <a:lnTo>
                  <a:pt x="41" y="9"/>
                </a:lnTo>
                <a:lnTo>
                  <a:pt x="52" y="13"/>
                </a:lnTo>
                <a:lnTo>
                  <a:pt x="63" y="17"/>
                </a:lnTo>
                <a:lnTo>
                  <a:pt x="71" y="15"/>
                </a:lnTo>
                <a:lnTo>
                  <a:pt x="79" y="19"/>
                </a:lnTo>
                <a:lnTo>
                  <a:pt x="87" y="21"/>
                </a:lnTo>
                <a:lnTo>
                  <a:pt x="93" y="24"/>
                </a:lnTo>
                <a:lnTo>
                  <a:pt x="99" y="22"/>
                </a:lnTo>
                <a:lnTo>
                  <a:pt x="99" y="16"/>
                </a:lnTo>
                <a:lnTo>
                  <a:pt x="102" y="12"/>
                </a:lnTo>
                <a:lnTo>
                  <a:pt x="112" y="12"/>
                </a:lnTo>
                <a:lnTo>
                  <a:pt x="115" y="11"/>
                </a:lnTo>
                <a:lnTo>
                  <a:pt x="119" y="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91" name="Freeform 788">
            <a:extLst>
              <a:ext uri="{FF2B5EF4-FFF2-40B4-BE49-F238E27FC236}">
                <a16:creationId xmlns:a16="http://schemas.microsoft.com/office/drawing/2014/main" id="{768E24E4-1484-779A-74E8-8D54ABB365A9}"/>
              </a:ext>
            </a:extLst>
          </p:cNvPr>
          <p:cNvSpPr>
            <a:spLocks/>
          </p:cNvSpPr>
          <p:nvPr/>
        </p:nvSpPr>
        <p:spPr bwMode="auto">
          <a:xfrm>
            <a:off x="4468787" y="4577971"/>
            <a:ext cx="51101" cy="55434"/>
          </a:xfrm>
          <a:custGeom>
            <a:avLst/>
            <a:gdLst>
              <a:gd name="T0" fmla="*/ 15245252 w 45"/>
              <a:gd name="T1" fmla="*/ 21173698 h 51"/>
              <a:gd name="T2" fmla="*/ 22868498 w 45"/>
              <a:gd name="T3" fmla="*/ 34203856 h 51"/>
              <a:gd name="T4" fmla="*/ 27441949 w 45"/>
              <a:gd name="T5" fmla="*/ 42347396 h 51"/>
              <a:gd name="T6" fmla="*/ 32015399 w 45"/>
              <a:gd name="T7" fmla="*/ 79808144 h 51"/>
              <a:gd name="T8" fmla="*/ 38113745 w 45"/>
              <a:gd name="T9" fmla="*/ 81436595 h 51"/>
              <a:gd name="T10" fmla="*/ 44212101 w 45"/>
              <a:gd name="T11" fmla="*/ 61891357 h 51"/>
              <a:gd name="T12" fmla="*/ 45736996 w 45"/>
              <a:gd name="T13" fmla="*/ 52119377 h 51"/>
              <a:gd name="T14" fmla="*/ 64032034 w 45"/>
              <a:gd name="T15" fmla="*/ 45604298 h 51"/>
              <a:gd name="T16" fmla="*/ 67080589 w 45"/>
              <a:gd name="T17" fmla="*/ 37460758 h 51"/>
              <a:gd name="T18" fmla="*/ 59458583 w 45"/>
              <a:gd name="T19" fmla="*/ 34203856 h 51"/>
              <a:gd name="T20" fmla="*/ 50310447 w 45"/>
              <a:gd name="T21" fmla="*/ 13030163 h 51"/>
              <a:gd name="T22" fmla="*/ 35065190 w 45"/>
              <a:gd name="T23" fmla="*/ 0 h 51"/>
              <a:gd name="T24" fmla="*/ 16770147 w 45"/>
              <a:gd name="T25" fmla="*/ 0 h 51"/>
              <a:gd name="T26" fmla="*/ 0 w 45"/>
              <a:gd name="T27" fmla="*/ 1628451 h 51"/>
              <a:gd name="T28" fmla="*/ 15245252 w 45"/>
              <a:gd name="T29" fmla="*/ 21173698 h 51"/>
              <a:gd name="T30" fmla="*/ 15245252 w 45"/>
              <a:gd name="T31" fmla="*/ 21173698 h 5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45"/>
              <a:gd name="T49" fmla="*/ 0 h 51"/>
              <a:gd name="T50" fmla="*/ 45 w 45"/>
              <a:gd name="T51" fmla="*/ 51 h 5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45" h="51">
                <a:moveTo>
                  <a:pt x="10" y="13"/>
                </a:moveTo>
                <a:lnTo>
                  <a:pt x="15" y="21"/>
                </a:lnTo>
                <a:lnTo>
                  <a:pt x="18" y="26"/>
                </a:lnTo>
                <a:lnTo>
                  <a:pt x="21" y="49"/>
                </a:lnTo>
                <a:lnTo>
                  <a:pt x="25" y="50"/>
                </a:lnTo>
                <a:lnTo>
                  <a:pt x="29" y="38"/>
                </a:lnTo>
                <a:lnTo>
                  <a:pt x="30" y="32"/>
                </a:lnTo>
                <a:lnTo>
                  <a:pt x="42" y="28"/>
                </a:lnTo>
                <a:lnTo>
                  <a:pt x="44" y="23"/>
                </a:lnTo>
                <a:lnTo>
                  <a:pt x="39" y="21"/>
                </a:lnTo>
                <a:lnTo>
                  <a:pt x="33" y="8"/>
                </a:lnTo>
                <a:lnTo>
                  <a:pt x="23" y="0"/>
                </a:lnTo>
                <a:lnTo>
                  <a:pt x="11" y="0"/>
                </a:lnTo>
                <a:lnTo>
                  <a:pt x="0" y="1"/>
                </a:lnTo>
                <a:lnTo>
                  <a:pt x="10" y="1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92" name="Freeform 789">
            <a:extLst>
              <a:ext uri="{FF2B5EF4-FFF2-40B4-BE49-F238E27FC236}">
                <a16:creationId xmlns:a16="http://schemas.microsoft.com/office/drawing/2014/main" id="{04A3C6F5-D78A-7A58-7003-D78371C7794D}"/>
              </a:ext>
            </a:extLst>
          </p:cNvPr>
          <p:cNvSpPr>
            <a:spLocks/>
          </p:cNvSpPr>
          <p:nvPr/>
        </p:nvSpPr>
        <p:spPr bwMode="auto">
          <a:xfrm>
            <a:off x="4419146" y="4340011"/>
            <a:ext cx="80301" cy="52729"/>
          </a:xfrm>
          <a:custGeom>
            <a:avLst/>
            <a:gdLst>
              <a:gd name="T0" fmla="*/ 92873192 w 69"/>
              <a:gd name="T1" fmla="*/ 1811599 h 46"/>
              <a:gd name="T2" fmla="*/ 0 w 69"/>
              <a:gd name="T3" fmla="*/ 18114643 h 46"/>
              <a:gd name="T4" fmla="*/ 8006221 w 69"/>
              <a:gd name="T5" fmla="*/ 48910485 h 46"/>
              <a:gd name="T6" fmla="*/ 19215183 w 69"/>
              <a:gd name="T7" fmla="*/ 47098886 h 46"/>
              <a:gd name="T8" fmla="*/ 16012443 w 69"/>
              <a:gd name="T9" fmla="*/ 76081768 h 46"/>
              <a:gd name="T10" fmla="*/ 27221407 w 69"/>
              <a:gd name="T11" fmla="*/ 76081768 h 46"/>
              <a:gd name="T12" fmla="*/ 32024886 w 69"/>
              <a:gd name="T13" fmla="*/ 72459918 h 46"/>
              <a:gd name="T14" fmla="*/ 35227626 w 69"/>
              <a:gd name="T15" fmla="*/ 74270170 h 46"/>
              <a:gd name="T16" fmla="*/ 51240074 w 69"/>
              <a:gd name="T17" fmla="*/ 72459918 h 46"/>
              <a:gd name="T18" fmla="*/ 62449034 w 69"/>
              <a:gd name="T19" fmla="*/ 74270170 h 46"/>
              <a:gd name="T20" fmla="*/ 68853250 w 69"/>
              <a:gd name="T21" fmla="*/ 81516563 h 46"/>
              <a:gd name="T22" fmla="*/ 84865707 w 69"/>
              <a:gd name="T23" fmla="*/ 74270170 h 46"/>
              <a:gd name="T24" fmla="*/ 91271189 w 69"/>
              <a:gd name="T25" fmla="*/ 81516563 h 46"/>
              <a:gd name="T26" fmla="*/ 94473929 w 69"/>
              <a:gd name="T27" fmla="*/ 76081768 h 46"/>
              <a:gd name="T28" fmla="*/ 108885629 w 69"/>
              <a:gd name="T29" fmla="*/ 50722083 h 46"/>
              <a:gd name="T30" fmla="*/ 108885629 w 69"/>
              <a:gd name="T31" fmla="*/ 28984238 h 46"/>
              <a:gd name="T32" fmla="*/ 96074667 w 69"/>
              <a:gd name="T33" fmla="*/ 18114643 h 46"/>
              <a:gd name="T34" fmla="*/ 96074667 w 69"/>
              <a:gd name="T35" fmla="*/ 0 h 46"/>
              <a:gd name="T36" fmla="*/ 78461472 w 69"/>
              <a:gd name="T37" fmla="*/ 3623198 h 46"/>
              <a:gd name="T38" fmla="*/ 92873192 w 69"/>
              <a:gd name="T39" fmla="*/ 1811599 h 46"/>
              <a:gd name="T40" fmla="*/ 92873192 w 69"/>
              <a:gd name="T41" fmla="*/ 1811599 h 4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69"/>
              <a:gd name="T64" fmla="*/ 0 h 46"/>
              <a:gd name="T65" fmla="*/ 69 w 69"/>
              <a:gd name="T66" fmla="*/ 46 h 4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69" h="46">
                <a:moveTo>
                  <a:pt x="58" y="1"/>
                </a:moveTo>
                <a:lnTo>
                  <a:pt x="0" y="10"/>
                </a:lnTo>
                <a:lnTo>
                  <a:pt x="5" y="27"/>
                </a:lnTo>
                <a:lnTo>
                  <a:pt x="12" y="26"/>
                </a:lnTo>
                <a:lnTo>
                  <a:pt x="10" y="42"/>
                </a:lnTo>
                <a:lnTo>
                  <a:pt x="17" y="42"/>
                </a:lnTo>
                <a:lnTo>
                  <a:pt x="20" y="40"/>
                </a:lnTo>
                <a:lnTo>
                  <a:pt x="22" y="41"/>
                </a:lnTo>
                <a:lnTo>
                  <a:pt x="32" y="40"/>
                </a:lnTo>
                <a:lnTo>
                  <a:pt x="39" y="41"/>
                </a:lnTo>
                <a:lnTo>
                  <a:pt x="43" y="45"/>
                </a:lnTo>
                <a:lnTo>
                  <a:pt x="53" y="41"/>
                </a:lnTo>
                <a:lnTo>
                  <a:pt x="57" y="45"/>
                </a:lnTo>
                <a:lnTo>
                  <a:pt x="59" y="42"/>
                </a:lnTo>
                <a:lnTo>
                  <a:pt x="68" y="28"/>
                </a:lnTo>
                <a:lnTo>
                  <a:pt x="68" y="16"/>
                </a:lnTo>
                <a:lnTo>
                  <a:pt x="60" y="10"/>
                </a:lnTo>
                <a:lnTo>
                  <a:pt x="60" y="0"/>
                </a:lnTo>
                <a:lnTo>
                  <a:pt x="49" y="2"/>
                </a:lnTo>
                <a:lnTo>
                  <a:pt x="58" y="1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93" name="Freeform 790">
            <a:extLst>
              <a:ext uri="{FF2B5EF4-FFF2-40B4-BE49-F238E27FC236}">
                <a16:creationId xmlns:a16="http://schemas.microsoft.com/office/drawing/2014/main" id="{B183A038-E815-5CA7-7687-EF5371F62BBA}"/>
              </a:ext>
            </a:extLst>
          </p:cNvPr>
          <p:cNvSpPr>
            <a:spLocks/>
          </p:cNvSpPr>
          <p:nvPr/>
        </p:nvSpPr>
        <p:spPr bwMode="auto">
          <a:xfrm>
            <a:off x="4357826" y="4408965"/>
            <a:ext cx="125561" cy="62194"/>
          </a:xfrm>
          <a:custGeom>
            <a:avLst/>
            <a:gdLst>
              <a:gd name="T0" fmla="*/ 34514522 w 109"/>
              <a:gd name="T1" fmla="*/ 12801014 h 54"/>
              <a:gd name="T2" fmla="*/ 69027792 w 109"/>
              <a:gd name="T3" fmla="*/ 9144353 h 54"/>
              <a:gd name="T4" fmla="*/ 95697775 w 109"/>
              <a:gd name="T5" fmla="*/ 0 h 54"/>
              <a:gd name="T6" fmla="*/ 133348604 w 109"/>
              <a:gd name="T7" fmla="*/ 0 h 54"/>
              <a:gd name="T8" fmla="*/ 169431313 w 109"/>
              <a:gd name="T9" fmla="*/ 0 h 54"/>
              <a:gd name="T10" fmla="*/ 155312840 w 109"/>
              <a:gd name="T11" fmla="*/ 21945364 h 54"/>
              <a:gd name="T12" fmla="*/ 141193153 w 109"/>
              <a:gd name="T13" fmla="*/ 34746378 h 54"/>
              <a:gd name="T14" fmla="*/ 123935896 w 109"/>
              <a:gd name="T15" fmla="*/ 36574707 h 54"/>
              <a:gd name="T16" fmla="*/ 103542324 w 109"/>
              <a:gd name="T17" fmla="*/ 60348405 h 54"/>
              <a:gd name="T18" fmla="*/ 95697775 w 109"/>
              <a:gd name="T19" fmla="*/ 80465435 h 54"/>
              <a:gd name="T20" fmla="*/ 89422637 w 109"/>
              <a:gd name="T21" fmla="*/ 96924475 h 54"/>
              <a:gd name="T22" fmla="*/ 80009910 w 109"/>
              <a:gd name="T23" fmla="*/ 85951774 h 54"/>
              <a:gd name="T24" fmla="*/ 0 w 109"/>
              <a:gd name="T25" fmla="*/ 69492755 h 54"/>
              <a:gd name="T26" fmla="*/ 21962993 w 109"/>
              <a:gd name="T27" fmla="*/ 49377078 h 54"/>
              <a:gd name="T28" fmla="*/ 36082680 w 109"/>
              <a:gd name="T29" fmla="*/ 60348405 h 54"/>
              <a:gd name="T30" fmla="*/ 31375701 w 109"/>
              <a:gd name="T31" fmla="*/ 38404388 h 54"/>
              <a:gd name="T32" fmla="*/ 34514522 w 109"/>
              <a:gd name="T33" fmla="*/ 12801014 h 54"/>
              <a:gd name="T34" fmla="*/ 34514522 w 109"/>
              <a:gd name="T35" fmla="*/ 12801014 h 5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09"/>
              <a:gd name="T55" fmla="*/ 0 h 54"/>
              <a:gd name="T56" fmla="*/ 109 w 109"/>
              <a:gd name="T57" fmla="*/ 54 h 5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09" h="54">
                <a:moveTo>
                  <a:pt x="22" y="7"/>
                </a:moveTo>
                <a:lnTo>
                  <a:pt x="44" y="5"/>
                </a:lnTo>
                <a:lnTo>
                  <a:pt x="61" y="0"/>
                </a:lnTo>
                <a:lnTo>
                  <a:pt x="85" y="0"/>
                </a:lnTo>
                <a:lnTo>
                  <a:pt x="108" y="0"/>
                </a:lnTo>
                <a:lnTo>
                  <a:pt x="99" y="12"/>
                </a:lnTo>
                <a:lnTo>
                  <a:pt x="90" y="19"/>
                </a:lnTo>
                <a:lnTo>
                  <a:pt x="79" y="20"/>
                </a:lnTo>
                <a:lnTo>
                  <a:pt x="66" y="33"/>
                </a:lnTo>
                <a:lnTo>
                  <a:pt x="61" y="44"/>
                </a:lnTo>
                <a:lnTo>
                  <a:pt x="57" y="53"/>
                </a:lnTo>
                <a:lnTo>
                  <a:pt x="51" y="47"/>
                </a:lnTo>
                <a:lnTo>
                  <a:pt x="0" y="38"/>
                </a:lnTo>
                <a:lnTo>
                  <a:pt x="14" y="27"/>
                </a:lnTo>
                <a:lnTo>
                  <a:pt x="23" y="33"/>
                </a:lnTo>
                <a:lnTo>
                  <a:pt x="20" y="21"/>
                </a:lnTo>
                <a:lnTo>
                  <a:pt x="22" y="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94" name="Freeform 791">
            <a:extLst>
              <a:ext uri="{FF2B5EF4-FFF2-40B4-BE49-F238E27FC236}">
                <a16:creationId xmlns:a16="http://schemas.microsoft.com/office/drawing/2014/main" id="{B715867E-3EC0-229F-AFF2-6247BCDBE529}"/>
              </a:ext>
            </a:extLst>
          </p:cNvPr>
          <p:cNvSpPr>
            <a:spLocks/>
          </p:cNvSpPr>
          <p:nvPr/>
        </p:nvSpPr>
        <p:spPr bwMode="auto">
          <a:xfrm>
            <a:off x="4379725" y="4384627"/>
            <a:ext cx="108042" cy="43265"/>
          </a:xfrm>
          <a:custGeom>
            <a:avLst/>
            <a:gdLst>
              <a:gd name="T0" fmla="*/ 68810669 w 95"/>
              <a:gd name="T1" fmla="*/ 6786359 h 39"/>
              <a:gd name="T2" fmla="*/ 81044160 w 95"/>
              <a:gd name="T3" fmla="*/ 6786359 h 39"/>
              <a:gd name="T4" fmla="*/ 91747984 w 95"/>
              <a:gd name="T5" fmla="*/ 3393179 h 39"/>
              <a:gd name="T6" fmla="*/ 93276395 w 95"/>
              <a:gd name="T7" fmla="*/ 6786359 h 39"/>
              <a:gd name="T8" fmla="*/ 97864102 w 95"/>
              <a:gd name="T9" fmla="*/ 1697241 h 39"/>
              <a:gd name="T10" fmla="*/ 140679397 w 95"/>
              <a:gd name="T11" fmla="*/ 0 h 39"/>
              <a:gd name="T12" fmla="*/ 143737456 w 95"/>
              <a:gd name="T13" fmla="*/ 10179537 h 39"/>
              <a:gd name="T14" fmla="*/ 137621339 w 95"/>
              <a:gd name="T15" fmla="*/ 35630335 h 39"/>
              <a:gd name="T16" fmla="*/ 126917515 w 95"/>
              <a:gd name="T17" fmla="*/ 64473011 h 39"/>
              <a:gd name="T18" fmla="*/ 103980219 w 95"/>
              <a:gd name="T19" fmla="*/ 49203058 h 39"/>
              <a:gd name="T20" fmla="*/ 64222963 w 95"/>
              <a:gd name="T21" fmla="*/ 42416691 h 39"/>
              <a:gd name="T22" fmla="*/ 27523775 w 95"/>
              <a:gd name="T23" fmla="*/ 50900298 h 39"/>
              <a:gd name="T24" fmla="*/ 22937305 w 95"/>
              <a:gd name="T25" fmla="*/ 50900298 h 39"/>
              <a:gd name="T26" fmla="*/ 1529648 w 95"/>
              <a:gd name="T27" fmla="*/ 54293476 h 39"/>
              <a:gd name="T28" fmla="*/ 0 w 95"/>
              <a:gd name="T29" fmla="*/ 37326272 h 39"/>
              <a:gd name="T30" fmla="*/ 13761888 w 95"/>
              <a:gd name="T31" fmla="*/ 8483599 h 39"/>
              <a:gd name="T32" fmla="*/ 30583070 w 95"/>
              <a:gd name="T33" fmla="*/ 3393179 h 39"/>
              <a:gd name="T34" fmla="*/ 65752611 w 95"/>
              <a:gd name="T35" fmla="*/ 30539916 h 39"/>
              <a:gd name="T36" fmla="*/ 68810669 w 95"/>
              <a:gd name="T37" fmla="*/ 6786359 h 39"/>
              <a:gd name="T38" fmla="*/ 68810669 w 95"/>
              <a:gd name="T39" fmla="*/ 6786359 h 3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95"/>
              <a:gd name="T61" fmla="*/ 0 h 39"/>
              <a:gd name="T62" fmla="*/ 95 w 95"/>
              <a:gd name="T63" fmla="*/ 39 h 3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95" h="39">
                <a:moveTo>
                  <a:pt x="45" y="4"/>
                </a:moveTo>
                <a:lnTo>
                  <a:pt x="53" y="4"/>
                </a:lnTo>
                <a:lnTo>
                  <a:pt x="60" y="2"/>
                </a:lnTo>
                <a:lnTo>
                  <a:pt x="61" y="4"/>
                </a:lnTo>
                <a:lnTo>
                  <a:pt x="64" y="1"/>
                </a:lnTo>
                <a:lnTo>
                  <a:pt x="92" y="0"/>
                </a:lnTo>
                <a:lnTo>
                  <a:pt x="94" y="6"/>
                </a:lnTo>
                <a:lnTo>
                  <a:pt x="90" y="21"/>
                </a:lnTo>
                <a:lnTo>
                  <a:pt x="83" y="38"/>
                </a:lnTo>
                <a:lnTo>
                  <a:pt x="68" y="29"/>
                </a:lnTo>
                <a:lnTo>
                  <a:pt x="42" y="25"/>
                </a:lnTo>
                <a:lnTo>
                  <a:pt x="18" y="30"/>
                </a:lnTo>
                <a:lnTo>
                  <a:pt x="15" y="30"/>
                </a:lnTo>
                <a:lnTo>
                  <a:pt x="1" y="32"/>
                </a:lnTo>
                <a:lnTo>
                  <a:pt x="0" y="22"/>
                </a:lnTo>
                <a:lnTo>
                  <a:pt x="9" y="5"/>
                </a:lnTo>
                <a:lnTo>
                  <a:pt x="20" y="2"/>
                </a:lnTo>
                <a:lnTo>
                  <a:pt x="43" y="18"/>
                </a:lnTo>
                <a:lnTo>
                  <a:pt x="45" y="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95" name="Freeform 792">
            <a:extLst>
              <a:ext uri="{FF2B5EF4-FFF2-40B4-BE49-F238E27FC236}">
                <a16:creationId xmlns:a16="http://schemas.microsoft.com/office/drawing/2014/main" id="{310E38F3-23BE-2386-0819-C23B32EA3395}"/>
              </a:ext>
            </a:extLst>
          </p:cNvPr>
          <p:cNvSpPr>
            <a:spLocks/>
          </p:cNvSpPr>
          <p:nvPr/>
        </p:nvSpPr>
        <p:spPr bwMode="auto">
          <a:xfrm>
            <a:off x="4265845" y="4605013"/>
            <a:ext cx="52561" cy="28393"/>
          </a:xfrm>
          <a:custGeom>
            <a:avLst/>
            <a:gdLst>
              <a:gd name="T0" fmla="*/ 0 w 47"/>
              <a:gd name="T1" fmla="*/ 42676691 h 25"/>
              <a:gd name="T2" fmla="*/ 0 w 47"/>
              <a:gd name="T3" fmla="*/ 42676691 h 25"/>
              <a:gd name="T4" fmla="*/ 0 w 47"/>
              <a:gd name="T5" fmla="*/ 12446704 h 25"/>
              <a:gd name="T6" fmla="*/ 47314124 w 47"/>
              <a:gd name="T7" fmla="*/ 0 h 25"/>
              <a:gd name="T8" fmla="*/ 59141738 w 47"/>
              <a:gd name="T9" fmla="*/ 8890311 h 25"/>
              <a:gd name="T10" fmla="*/ 68013361 w 47"/>
              <a:gd name="T11" fmla="*/ 17781956 h 25"/>
              <a:gd name="T12" fmla="*/ 48792728 w 47"/>
              <a:gd name="T13" fmla="*/ 24894741 h 25"/>
              <a:gd name="T14" fmla="*/ 28092265 w 47"/>
              <a:gd name="T15" fmla="*/ 37341439 h 25"/>
              <a:gd name="T16" fmla="*/ 10350231 w 47"/>
              <a:gd name="T17" fmla="*/ 37341439 h 25"/>
              <a:gd name="T18" fmla="*/ 0 w 47"/>
              <a:gd name="T19" fmla="*/ 42676691 h 25"/>
              <a:gd name="T20" fmla="*/ 0 w 47"/>
              <a:gd name="T21" fmla="*/ 42676691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7"/>
              <a:gd name="T34" fmla="*/ 0 h 25"/>
              <a:gd name="T35" fmla="*/ 47 w 47"/>
              <a:gd name="T36" fmla="*/ 25 h 2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7" h="25">
                <a:moveTo>
                  <a:pt x="0" y="24"/>
                </a:moveTo>
                <a:lnTo>
                  <a:pt x="0" y="24"/>
                </a:lnTo>
                <a:lnTo>
                  <a:pt x="0" y="7"/>
                </a:lnTo>
                <a:lnTo>
                  <a:pt x="32" y="0"/>
                </a:lnTo>
                <a:lnTo>
                  <a:pt x="40" y="5"/>
                </a:lnTo>
                <a:lnTo>
                  <a:pt x="46" y="10"/>
                </a:lnTo>
                <a:lnTo>
                  <a:pt x="33" y="14"/>
                </a:lnTo>
                <a:lnTo>
                  <a:pt x="19" y="21"/>
                </a:lnTo>
                <a:lnTo>
                  <a:pt x="7" y="21"/>
                </a:lnTo>
                <a:lnTo>
                  <a:pt x="0" y="2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96" name="Freeform 793">
            <a:extLst>
              <a:ext uri="{FF2B5EF4-FFF2-40B4-BE49-F238E27FC236}">
                <a16:creationId xmlns:a16="http://schemas.microsoft.com/office/drawing/2014/main" id="{1C05361D-9F6F-5DCD-9D1B-3A519B1ED438}"/>
              </a:ext>
            </a:extLst>
          </p:cNvPr>
          <p:cNvSpPr>
            <a:spLocks/>
          </p:cNvSpPr>
          <p:nvPr/>
        </p:nvSpPr>
        <p:spPr bwMode="auto">
          <a:xfrm>
            <a:off x="4375346" y="4695601"/>
            <a:ext cx="39420" cy="21633"/>
          </a:xfrm>
          <a:custGeom>
            <a:avLst/>
            <a:gdLst>
              <a:gd name="T0" fmla="*/ 0 w 32"/>
              <a:gd name="T1" fmla="*/ 12903200 h 20"/>
              <a:gd name="T2" fmla="*/ 10765308 w 32"/>
              <a:gd name="T3" fmla="*/ 30645098 h 20"/>
              <a:gd name="T4" fmla="*/ 55620095 w 32"/>
              <a:gd name="T5" fmla="*/ 17741898 h 20"/>
              <a:gd name="T6" fmla="*/ 46648337 w 32"/>
              <a:gd name="T7" fmla="*/ 0 h 20"/>
              <a:gd name="T8" fmla="*/ 3588436 w 32"/>
              <a:gd name="T9" fmla="*/ 14516099 h 20"/>
              <a:gd name="T10" fmla="*/ 0 w 32"/>
              <a:gd name="T11" fmla="*/ 12903200 h 20"/>
              <a:gd name="T12" fmla="*/ 0 w 32"/>
              <a:gd name="T13" fmla="*/ 12903200 h 2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2"/>
              <a:gd name="T22" fmla="*/ 0 h 20"/>
              <a:gd name="T23" fmla="*/ 32 w 32"/>
              <a:gd name="T24" fmla="*/ 20 h 2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2" h="20">
                <a:moveTo>
                  <a:pt x="0" y="8"/>
                </a:moveTo>
                <a:lnTo>
                  <a:pt x="6" y="19"/>
                </a:lnTo>
                <a:lnTo>
                  <a:pt x="31" y="11"/>
                </a:lnTo>
                <a:lnTo>
                  <a:pt x="26" y="0"/>
                </a:lnTo>
                <a:lnTo>
                  <a:pt x="2" y="9"/>
                </a:lnTo>
                <a:lnTo>
                  <a:pt x="0" y="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97" name="Freeform 794">
            <a:extLst>
              <a:ext uri="{FF2B5EF4-FFF2-40B4-BE49-F238E27FC236}">
                <a16:creationId xmlns:a16="http://schemas.microsoft.com/office/drawing/2014/main" id="{18688575-2C97-1AEB-E275-B315AC4E6F3D}"/>
              </a:ext>
            </a:extLst>
          </p:cNvPr>
          <p:cNvSpPr>
            <a:spLocks/>
          </p:cNvSpPr>
          <p:nvPr/>
        </p:nvSpPr>
        <p:spPr bwMode="auto">
          <a:xfrm>
            <a:off x="4341766" y="4621237"/>
            <a:ext cx="67161" cy="86532"/>
          </a:xfrm>
          <a:custGeom>
            <a:avLst/>
            <a:gdLst>
              <a:gd name="T0" fmla="*/ 25363600 w 58"/>
              <a:gd name="T1" fmla="*/ 23155799 h 79"/>
              <a:gd name="T2" fmla="*/ 34874474 w 58"/>
              <a:gd name="T3" fmla="*/ 0 h 79"/>
              <a:gd name="T4" fmla="*/ 90357122 w 58"/>
              <a:gd name="T5" fmla="*/ 52927169 h 79"/>
              <a:gd name="T6" fmla="*/ 80846228 w 58"/>
              <a:gd name="T7" fmla="*/ 89315408 h 79"/>
              <a:gd name="T8" fmla="*/ 88771976 w 58"/>
              <a:gd name="T9" fmla="*/ 109163411 h 79"/>
              <a:gd name="T10" fmla="*/ 31704183 w 58"/>
              <a:gd name="T11" fmla="*/ 129011413 h 79"/>
              <a:gd name="T12" fmla="*/ 0 w 58"/>
              <a:gd name="T13" fmla="*/ 104201732 h 79"/>
              <a:gd name="T14" fmla="*/ 41215057 w 58"/>
              <a:gd name="T15" fmla="*/ 100893946 h 79"/>
              <a:gd name="T16" fmla="*/ 49142055 w 58"/>
              <a:gd name="T17" fmla="*/ 72775172 h 79"/>
              <a:gd name="T18" fmla="*/ 25363600 w 58"/>
              <a:gd name="T19" fmla="*/ 23155799 h 79"/>
              <a:gd name="T20" fmla="*/ 25363600 w 58"/>
              <a:gd name="T21" fmla="*/ 23155799 h 7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8"/>
              <a:gd name="T34" fmla="*/ 0 h 79"/>
              <a:gd name="T35" fmla="*/ 58 w 58"/>
              <a:gd name="T36" fmla="*/ 79 h 7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8" h="79">
                <a:moveTo>
                  <a:pt x="16" y="14"/>
                </a:moveTo>
                <a:lnTo>
                  <a:pt x="22" y="0"/>
                </a:lnTo>
                <a:lnTo>
                  <a:pt x="57" y="32"/>
                </a:lnTo>
                <a:lnTo>
                  <a:pt x="51" y="54"/>
                </a:lnTo>
                <a:lnTo>
                  <a:pt x="56" y="66"/>
                </a:lnTo>
                <a:lnTo>
                  <a:pt x="20" y="78"/>
                </a:lnTo>
                <a:lnTo>
                  <a:pt x="0" y="63"/>
                </a:lnTo>
                <a:lnTo>
                  <a:pt x="26" y="61"/>
                </a:lnTo>
                <a:lnTo>
                  <a:pt x="31" y="44"/>
                </a:lnTo>
                <a:lnTo>
                  <a:pt x="16" y="1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98" name="Freeform 795">
            <a:extLst>
              <a:ext uri="{FF2B5EF4-FFF2-40B4-BE49-F238E27FC236}">
                <a16:creationId xmlns:a16="http://schemas.microsoft.com/office/drawing/2014/main" id="{78C45E6F-B7B1-9DCF-B4C2-584350625296}"/>
              </a:ext>
            </a:extLst>
          </p:cNvPr>
          <p:cNvSpPr>
            <a:spLocks/>
          </p:cNvSpPr>
          <p:nvPr/>
        </p:nvSpPr>
        <p:spPr bwMode="auto">
          <a:xfrm>
            <a:off x="4262926" y="4615830"/>
            <a:ext cx="108042" cy="75715"/>
          </a:xfrm>
          <a:custGeom>
            <a:avLst/>
            <a:gdLst>
              <a:gd name="T0" fmla="*/ 4891812 w 92"/>
              <a:gd name="T1" fmla="*/ 24317568 h 65"/>
              <a:gd name="T2" fmla="*/ 35870734 w 92"/>
              <a:gd name="T3" fmla="*/ 18705924 h 65"/>
              <a:gd name="T4" fmla="*/ 58696640 w 92"/>
              <a:gd name="T5" fmla="*/ 1871003 h 65"/>
              <a:gd name="T6" fmla="*/ 78262605 w 92"/>
              <a:gd name="T7" fmla="*/ 0 h 65"/>
              <a:gd name="T8" fmla="*/ 99459194 w 92"/>
              <a:gd name="T9" fmla="*/ 18705924 h 65"/>
              <a:gd name="T10" fmla="*/ 148373469 w 92"/>
              <a:gd name="T11" fmla="*/ 7482644 h 65"/>
              <a:gd name="T12" fmla="*/ 130438108 w 92"/>
              <a:gd name="T13" fmla="*/ 54246776 h 65"/>
              <a:gd name="T14" fmla="*/ 83154416 w 92"/>
              <a:gd name="T15" fmla="*/ 57987413 h 65"/>
              <a:gd name="T16" fmla="*/ 99459194 w 92"/>
              <a:gd name="T17" fmla="*/ 93529637 h 65"/>
              <a:gd name="T18" fmla="*/ 99459194 w 92"/>
              <a:gd name="T19" fmla="*/ 119716830 h 65"/>
              <a:gd name="T20" fmla="*/ 55436709 w 92"/>
              <a:gd name="T21" fmla="*/ 87917977 h 65"/>
              <a:gd name="T22" fmla="*/ 17935367 w 92"/>
              <a:gd name="T23" fmla="*/ 41152485 h 65"/>
              <a:gd name="T24" fmla="*/ 0 w 92"/>
              <a:gd name="T25" fmla="*/ 44894500 h 65"/>
              <a:gd name="T26" fmla="*/ 4891812 w 92"/>
              <a:gd name="T27" fmla="*/ 24317568 h 65"/>
              <a:gd name="T28" fmla="*/ 4891812 w 92"/>
              <a:gd name="T29" fmla="*/ 24317568 h 6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92"/>
              <a:gd name="T46" fmla="*/ 0 h 65"/>
              <a:gd name="T47" fmla="*/ 92 w 92"/>
              <a:gd name="T48" fmla="*/ 65 h 6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92" h="65">
                <a:moveTo>
                  <a:pt x="3" y="13"/>
                </a:moveTo>
                <a:lnTo>
                  <a:pt x="22" y="10"/>
                </a:lnTo>
                <a:lnTo>
                  <a:pt x="36" y="1"/>
                </a:lnTo>
                <a:lnTo>
                  <a:pt x="48" y="0"/>
                </a:lnTo>
                <a:lnTo>
                  <a:pt x="61" y="10"/>
                </a:lnTo>
                <a:lnTo>
                  <a:pt x="91" y="4"/>
                </a:lnTo>
                <a:lnTo>
                  <a:pt x="80" y="29"/>
                </a:lnTo>
                <a:lnTo>
                  <a:pt x="51" y="31"/>
                </a:lnTo>
                <a:lnTo>
                  <a:pt x="61" y="50"/>
                </a:lnTo>
                <a:lnTo>
                  <a:pt x="61" y="64"/>
                </a:lnTo>
                <a:lnTo>
                  <a:pt x="34" y="47"/>
                </a:lnTo>
                <a:lnTo>
                  <a:pt x="11" y="22"/>
                </a:lnTo>
                <a:lnTo>
                  <a:pt x="0" y="24"/>
                </a:lnTo>
                <a:lnTo>
                  <a:pt x="3" y="1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99" name="Freeform 796">
            <a:extLst>
              <a:ext uri="{FF2B5EF4-FFF2-40B4-BE49-F238E27FC236}">
                <a16:creationId xmlns:a16="http://schemas.microsoft.com/office/drawing/2014/main" id="{D4E10BB7-5D38-E103-8716-DEC981F4DE68}"/>
              </a:ext>
            </a:extLst>
          </p:cNvPr>
          <p:cNvSpPr>
            <a:spLocks/>
          </p:cNvSpPr>
          <p:nvPr/>
        </p:nvSpPr>
        <p:spPr bwMode="auto">
          <a:xfrm>
            <a:off x="3917802" y="4784959"/>
            <a:ext cx="318103" cy="295042"/>
          </a:xfrm>
          <a:custGeom>
            <a:avLst/>
            <a:gdLst>
              <a:gd name="T0" fmla="*/ 0 w 278"/>
              <a:gd name="T1" fmla="*/ 141 h 265"/>
              <a:gd name="T2" fmla="*/ 0 w 278"/>
              <a:gd name="T3" fmla="*/ 141 h 265"/>
              <a:gd name="T4" fmla="*/ 1 w 278"/>
              <a:gd name="T5" fmla="*/ 146 h 265"/>
              <a:gd name="T6" fmla="*/ 52 w 278"/>
              <a:gd name="T7" fmla="*/ 179 h 265"/>
              <a:gd name="T8" fmla="*/ 161 w 278"/>
              <a:gd name="T9" fmla="*/ 251 h 265"/>
              <a:gd name="T10" fmla="*/ 162 w 278"/>
              <a:gd name="T11" fmla="*/ 264 h 265"/>
              <a:gd name="T12" fmla="*/ 173 w 278"/>
              <a:gd name="T13" fmla="*/ 262 h 265"/>
              <a:gd name="T14" fmla="*/ 194 w 278"/>
              <a:gd name="T15" fmla="*/ 257 h 265"/>
              <a:gd name="T16" fmla="*/ 277 w 278"/>
              <a:gd name="T17" fmla="*/ 200 h 265"/>
              <a:gd name="T18" fmla="*/ 245 w 278"/>
              <a:gd name="T19" fmla="*/ 162 h 265"/>
              <a:gd name="T20" fmla="*/ 245 w 278"/>
              <a:gd name="T21" fmla="*/ 101 h 265"/>
              <a:gd name="T22" fmla="*/ 241 w 278"/>
              <a:gd name="T23" fmla="*/ 74 h 265"/>
              <a:gd name="T24" fmla="*/ 218 w 278"/>
              <a:gd name="T25" fmla="*/ 46 h 265"/>
              <a:gd name="T26" fmla="*/ 230 w 278"/>
              <a:gd name="T27" fmla="*/ 37 h 265"/>
              <a:gd name="T28" fmla="*/ 236 w 278"/>
              <a:gd name="T29" fmla="*/ 0 h 265"/>
              <a:gd name="T30" fmla="*/ 138 w 278"/>
              <a:gd name="T31" fmla="*/ 6 h 265"/>
              <a:gd name="T32" fmla="*/ 88 w 278"/>
              <a:gd name="T33" fmla="*/ 28 h 265"/>
              <a:gd name="T34" fmla="*/ 100 w 278"/>
              <a:gd name="T35" fmla="*/ 73 h 265"/>
              <a:gd name="T36" fmla="*/ 79 w 278"/>
              <a:gd name="T37" fmla="*/ 74 h 265"/>
              <a:gd name="T38" fmla="*/ 67 w 278"/>
              <a:gd name="T39" fmla="*/ 79 h 265"/>
              <a:gd name="T40" fmla="*/ 69 w 278"/>
              <a:gd name="T41" fmla="*/ 91 h 265"/>
              <a:gd name="T42" fmla="*/ 7 w 278"/>
              <a:gd name="T43" fmla="*/ 118 h 265"/>
              <a:gd name="T44" fmla="*/ 0 w 278"/>
              <a:gd name="T45" fmla="*/ 141 h 265"/>
              <a:gd name="T46" fmla="*/ 0 w 278"/>
              <a:gd name="T47" fmla="*/ 141 h 26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78"/>
              <a:gd name="T73" fmla="*/ 0 h 265"/>
              <a:gd name="T74" fmla="*/ 278 w 278"/>
              <a:gd name="T75" fmla="*/ 265 h 26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78" h="265">
                <a:moveTo>
                  <a:pt x="0" y="141"/>
                </a:moveTo>
                <a:lnTo>
                  <a:pt x="0" y="141"/>
                </a:lnTo>
                <a:lnTo>
                  <a:pt x="1" y="146"/>
                </a:lnTo>
                <a:lnTo>
                  <a:pt x="52" y="179"/>
                </a:lnTo>
                <a:lnTo>
                  <a:pt x="161" y="251"/>
                </a:lnTo>
                <a:lnTo>
                  <a:pt x="162" y="264"/>
                </a:lnTo>
                <a:lnTo>
                  <a:pt x="173" y="262"/>
                </a:lnTo>
                <a:lnTo>
                  <a:pt x="194" y="257"/>
                </a:lnTo>
                <a:lnTo>
                  <a:pt x="277" y="200"/>
                </a:lnTo>
                <a:lnTo>
                  <a:pt x="245" y="162"/>
                </a:lnTo>
                <a:lnTo>
                  <a:pt x="245" y="101"/>
                </a:lnTo>
                <a:lnTo>
                  <a:pt x="241" y="74"/>
                </a:lnTo>
                <a:lnTo>
                  <a:pt x="218" y="46"/>
                </a:lnTo>
                <a:lnTo>
                  <a:pt x="230" y="37"/>
                </a:lnTo>
                <a:lnTo>
                  <a:pt x="236" y="0"/>
                </a:lnTo>
                <a:lnTo>
                  <a:pt x="138" y="6"/>
                </a:lnTo>
                <a:lnTo>
                  <a:pt x="88" y="28"/>
                </a:lnTo>
                <a:lnTo>
                  <a:pt x="100" y="73"/>
                </a:lnTo>
                <a:lnTo>
                  <a:pt x="79" y="74"/>
                </a:lnTo>
                <a:lnTo>
                  <a:pt x="67" y="79"/>
                </a:lnTo>
                <a:lnTo>
                  <a:pt x="69" y="91"/>
                </a:lnTo>
                <a:lnTo>
                  <a:pt x="7" y="118"/>
                </a:lnTo>
                <a:lnTo>
                  <a:pt x="0" y="141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0" name="Freeform 797">
            <a:extLst>
              <a:ext uri="{FF2B5EF4-FFF2-40B4-BE49-F238E27FC236}">
                <a16:creationId xmlns:a16="http://schemas.microsoft.com/office/drawing/2014/main" id="{58050445-07FC-27BB-7BE2-88D8516C1C82}"/>
              </a:ext>
            </a:extLst>
          </p:cNvPr>
          <p:cNvSpPr>
            <a:spLocks/>
          </p:cNvSpPr>
          <p:nvPr/>
        </p:nvSpPr>
        <p:spPr bwMode="auto">
          <a:xfrm>
            <a:off x="4655847" y="4779393"/>
            <a:ext cx="155619" cy="139171"/>
          </a:xfrm>
          <a:custGeom>
            <a:avLst/>
            <a:gdLst>
              <a:gd name="T0" fmla="*/ 0 w 136"/>
              <a:gd name="T1" fmla="*/ 60 h 125"/>
              <a:gd name="T2" fmla="*/ 0 w 136"/>
              <a:gd name="T3" fmla="*/ 60 h 125"/>
              <a:gd name="T4" fmla="*/ 6 w 136"/>
              <a:gd name="T5" fmla="*/ 78 h 125"/>
              <a:gd name="T6" fmla="*/ 68 w 136"/>
              <a:gd name="T7" fmla="*/ 105 h 125"/>
              <a:gd name="T8" fmla="*/ 68 w 136"/>
              <a:gd name="T9" fmla="*/ 115 h 125"/>
              <a:gd name="T10" fmla="*/ 83 w 136"/>
              <a:gd name="T11" fmla="*/ 122 h 125"/>
              <a:gd name="T12" fmla="*/ 108 w 136"/>
              <a:gd name="T13" fmla="*/ 124 h 125"/>
              <a:gd name="T14" fmla="*/ 128 w 136"/>
              <a:gd name="T15" fmla="*/ 111 h 125"/>
              <a:gd name="T16" fmla="*/ 135 w 136"/>
              <a:gd name="T17" fmla="*/ 110 h 125"/>
              <a:gd name="T18" fmla="*/ 117 w 136"/>
              <a:gd name="T19" fmla="*/ 75 h 125"/>
              <a:gd name="T20" fmla="*/ 92 w 136"/>
              <a:gd name="T21" fmla="*/ 54 h 125"/>
              <a:gd name="T22" fmla="*/ 104 w 136"/>
              <a:gd name="T23" fmla="*/ 22 h 125"/>
              <a:gd name="T24" fmla="*/ 93 w 136"/>
              <a:gd name="T25" fmla="*/ 18 h 125"/>
              <a:gd name="T26" fmla="*/ 83 w 136"/>
              <a:gd name="T27" fmla="*/ 0 h 125"/>
              <a:gd name="T28" fmla="*/ 53 w 136"/>
              <a:gd name="T29" fmla="*/ 2 h 125"/>
              <a:gd name="T30" fmla="*/ 38 w 136"/>
              <a:gd name="T31" fmla="*/ 13 h 125"/>
              <a:gd name="T32" fmla="*/ 33 w 136"/>
              <a:gd name="T33" fmla="*/ 42 h 125"/>
              <a:gd name="T34" fmla="*/ 0 w 136"/>
              <a:gd name="T35" fmla="*/ 60 h 125"/>
              <a:gd name="T36" fmla="*/ 0 w 136"/>
              <a:gd name="T37" fmla="*/ 60 h 12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36"/>
              <a:gd name="T58" fmla="*/ 0 h 125"/>
              <a:gd name="T59" fmla="*/ 136 w 136"/>
              <a:gd name="T60" fmla="*/ 125 h 125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36" h="125">
                <a:moveTo>
                  <a:pt x="0" y="60"/>
                </a:moveTo>
                <a:lnTo>
                  <a:pt x="0" y="60"/>
                </a:lnTo>
                <a:lnTo>
                  <a:pt x="6" y="78"/>
                </a:lnTo>
                <a:lnTo>
                  <a:pt x="68" y="105"/>
                </a:lnTo>
                <a:lnTo>
                  <a:pt x="68" y="115"/>
                </a:lnTo>
                <a:lnTo>
                  <a:pt x="83" y="122"/>
                </a:lnTo>
                <a:lnTo>
                  <a:pt x="108" y="124"/>
                </a:lnTo>
                <a:lnTo>
                  <a:pt x="128" y="111"/>
                </a:lnTo>
                <a:lnTo>
                  <a:pt x="135" y="110"/>
                </a:lnTo>
                <a:lnTo>
                  <a:pt x="117" y="75"/>
                </a:lnTo>
                <a:lnTo>
                  <a:pt x="92" y="54"/>
                </a:lnTo>
                <a:lnTo>
                  <a:pt x="104" y="22"/>
                </a:lnTo>
                <a:lnTo>
                  <a:pt x="93" y="18"/>
                </a:lnTo>
                <a:lnTo>
                  <a:pt x="83" y="0"/>
                </a:lnTo>
                <a:lnTo>
                  <a:pt x="53" y="2"/>
                </a:lnTo>
                <a:lnTo>
                  <a:pt x="38" y="13"/>
                </a:lnTo>
                <a:lnTo>
                  <a:pt x="33" y="42"/>
                </a:lnTo>
                <a:lnTo>
                  <a:pt x="0" y="6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1" name="Freeform 798">
            <a:extLst>
              <a:ext uri="{FF2B5EF4-FFF2-40B4-BE49-F238E27FC236}">
                <a16:creationId xmlns:a16="http://schemas.microsoft.com/office/drawing/2014/main" id="{0F020BEF-D618-B90C-7BA1-4EC954A990B1}"/>
              </a:ext>
            </a:extLst>
          </p:cNvPr>
          <p:cNvSpPr>
            <a:spLocks/>
          </p:cNvSpPr>
          <p:nvPr/>
        </p:nvSpPr>
        <p:spPr bwMode="auto">
          <a:xfrm>
            <a:off x="4592913" y="4866236"/>
            <a:ext cx="329546" cy="267209"/>
          </a:xfrm>
          <a:custGeom>
            <a:avLst/>
            <a:gdLst>
              <a:gd name="T0" fmla="*/ 0 w 288"/>
              <a:gd name="T1" fmla="*/ 62 h 240"/>
              <a:gd name="T2" fmla="*/ 0 w 288"/>
              <a:gd name="T3" fmla="*/ 62 h 240"/>
              <a:gd name="T4" fmla="*/ 4 w 288"/>
              <a:gd name="T5" fmla="*/ 41 h 240"/>
              <a:gd name="T6" fmla="*/ 19 w 288"/>
              <a:gd name="T7" fmla="*/ 46 h 240"/>
              <a:gd name="T8" fmla="*/ 38 w 288"/>
              <a:gd name="T9" fmla="*/ 33 h 240"/>
              <a:gd name="T10" fmla="*/ 46 w 288"/>
              <a:gd name="T11" fmla="*/ 24 h 240"/>
              <a:gd name="T12" fmla="*/ 30 w 288"/>
              <a:gd name="T13" fmla="*/ 10 h 240"/>
              <a:gd name="T14" fmla="*/ 61 w 288"/>
              <a:gd name="T15" fmla="*/ 0 h 240"/>
              <a:gd name="T16" fmla="*/ 123 w 288"/>
              <a:gd name="T17" fmla="*/ 27 h 240"/>
              <a:gd name="T18" fmla="*/ 123 w 288"/>
              <a:gd name="T19" fmla="*/ 37 h 240"/>
              <a:gd name="T20" fmla="*/ 138 w 288"/>
              <a:gd name="T21" fmla="*/ 44 h 240"/>
              <a:gd name="T22" fmla="*/ 151 w 288"/>
              <a:gd name="T23" fmla="*/ 51 h 240"/>
              <a:gd name="T24" fmla="*/ 163 w 288"/>
              <a:gd name="T25" fmla="*/ 46 h 240"/>
              <a:gd name="T26" fmla="*/ 187 w 288"/>
              <a:gd name="T27" fmla="*/ 54 h 240"/>
              <a:gd name="T28" fmla="*/ 220 w 288"/>
              <a:gd name="T29" fmla="*/ 108 h 240"/>
              <a:gd name="T30" fmla="*/ 224 w 288"/>
              <a:gd name="T31" fmla="*/ 112 h 240"/>
              <a:gd name="T32" fmla="*/ 237 w 288"/>
              <a:gd name="T33" fmla="*/ 133 h 240"/>
              <a:gd name="T34" fmla="*/ 280 w 288"/>
              <a:gd name="T35" fmla="*/ 139 h 240"/>
              <a:gd name="T36" fmla="*/ 287 w 288"/>
              <a:gd name="T37" fmla="*/ 149 h 240"/>
              <a:gd name="T38" fmla="*/ 277 w 288"/>
              <a:gd name="T39" fmla="*/ 177 h 240"/>
              <a:gd name="T40" fmla="*/ 237 w 288"/>
              <a:gd name="T41" fmla="*/ 191 h 240"/>
              <a:gd name="T42" fmla="*/ 193 w 288"/>
              <a:gd name="T43" fmla="*/ 200 h 240"/>
              <a:gd name="T44" fmla="*/ 159 w 288"/>
              <a:gd name="T45" fmla="*/ 239 h 240"/>
              <a:gd name="T46" fmla="*/ 159 w 288"/>
              <a:gd name="T47" fmla="*/ 224 h 240"/>
              <a:gd name="T48" fmla="*/ 134 w 288"/>
              <a:gd name="T49" fmla="*/ 214 h 240"/>
              <a:gd name="T50" fmla="*/ 109 w 288"/>
              <a:gd name="T51" fmla="*/ 227 h 240"/>
              <a:gd name="T52" fmla="*/ 84 w 288"/>
              <a:gd name="T53" fmla="*/ 184 h 240"/>
              <a:gd name="T54" fmla="*/ 64 w 288"/>
              <a:gd name="T55" fmla="*/ 167 h 240"/>
              <a:gd name="T56" fmla="*/ 51 w 288"/>
              <a:gd name="T57" fmla="*/ 122 h 240"/>
              <a:gd name="T58" fmla="*/ 0 w 288"/>
              <a:gd name="T59" fmla="*/ 62 h 240"/>
              <a:gd name="T60" fmla="*/ 0 w 288"/>
              <a:gd name="T61" fmla="*/ 62 h 24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288"/>
              <a:gd name="T94" fmla="*/ 0 h 240"/>
              <a:gd name="T95" fmla="*/ 288 w 288"/>
              <a:gd name="T96" fmla="*/ 240 h 24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288" h="240">
                <a:moveTo>
                  <a:pt x="0" y="62"/>
                </a:moveTo>
                <a:lnTo>
                  <a:pt x="0" y="62"/>
                </a:lnTo>
                <a:lnTo>
                  <a:pt x="4" y="41"/>
                </a:lnTo>
                <a:lnTo>
                  <a:pt x="19" y="46"/>
                </a:lnTo>
                <a:lnTo>
                  <a:pt x="38" y="33"/>
                </a:lnTo>
                <a:lnTo>
                  <a:pt x="46" y="24"/>
                </a:lnTo>
                <a:lnTo>
                  <a:pt x="30" y="10"/>
                </a:lnTo>
                <a:lnTo>
                  <a:pt x="61" y="0"/>
                </a:lnTo>
                <a:lnTo>
                  <a:pt x="123" y="27"/>
                </a:lnTo>
                <a:lnTo>
                  <a:pt x="123" y="37"/>
                </a:lnTo>
                <a:lnTo>
                  <a:pt x="138" y="44"/>
                </a:lnTo>
                <a:lnTo>
                  <a:pt x="151" y="51"/>
                </a:lnTo>
                <a:lnTo>
                  <a:pt x="163" y="46"/>
                </a:lnTo>
                <a:lnTo>
                  <a:pt x="187" y="54"/>
                </a:lnTo>
                <a:lnTo>
                  <a:pt x="220" y="108"/>
                </a:lnTo>
                <a:lnTo>
                  <a:pt x="224" y="112"/>
                </a:lnTo>
                <a:lnTo>
                  <a:pt x="237" y="133"/>
                </a:lnTo>
                <a:lnTo>
                  <a:pt x="280" y="139"/>
                </a:lnTo>
                <a:lnTo>
                  <a:pt x="287" y="149"/>
                </a:lnTo>
                <a:lnTo>
                  <a:pt x="277" y="177"/>
                </a:lnTo>
                <a:lnTo>
                  <a:pt x="237" y="191"/>
                </a:lnTo>
                <a:lnTo>
                  <a:pt x="193" y="200"/>
                </a:lnTo>
                <a:lnTo>
                  <a:pt x="159" y="239"/>
                </a:lnTo>
                <a:lnTo>
                  <a:pt x="159" y="224"/>
                </a:lnTo>
                <a:lnTo>
                  <a:pt x="134" y="214"/>
                </a:lnTo>
                <a:lnTo>
                  <a:pt x="109" y="227"/>
                </a:lnTo>
                <a:lnTo>
                  <a:pt x="84" y="184"/>
                </a:lnTo>
                <a:lnTo>
                  <a:pt x="64" y="167"/>
                </a:lnTo>
                <a:lnTo>
                  <a:pt x="51" y="122"/>
                </a:lnTo>
                <a:lnTo>
                  <a:pt x="0" y="6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2" name="Freeform 799">
            <a:extLst>
              <a:ext uri="{FF2B5EF4-FFF2-40B4-BE49-F238E27FC236}">
                <a16:creationId xmlns:a16="http://schemas.microsoft.com/office/drawing/2014/main" id="{D83F0241-523E-AD3B-A9C8-B992F9C64454}"/>
              </a:ext>
            </a:extLst>
          </p:cNvPr>
          <p:cNvSpPr>
            <a:spLocks/>
          </p:cNvSpPr>
          <p:nvPr/>
        </p:nvSpPr>
        <p:spPr bwMode="auto">
          <a:xfrm>
            <a:off x="4605500" y="4781620"/>
            <a:ext cx="112137" cy="83502"/>
          </a:xfrm>
          <a:custGeom>
            <a:avLst/>
            <a:gdLst>
              <a:gd name="T0" fmla="*/ 0 w 98"/>
              <a:gd name="T1" fmla="*/ 68 h 75"/>
              <a:gd name="T2" fmla="*/ 0 w 98"/>
              <a:gd name="T3" fmla="*/ 68 h 75"/>
              <a:gd name="T4" fmla="*/ 1 w 98"/>
              <a:gd name="T5" fmla="*/ 61 h 75"/>
              <a:gd name="T6" fmla="*/ 15 w 98"/>
              <a:gd name="T7" fmla="*/ 45 h 75"/>
              <a:gd name="T8" fmla="*/ 8 w 98"/>
              <a:gd name="T9" fmla="*/ 38 h 75"/>
              <a:gd name="T10" fmla="*/ 7 w 98"/>
              <a:gd name="T11" fmla="*/ 19 h 75"/>
              <a:gd name="T12" fmla="*/ 15 w 98"/>
              <a:gd name="T13" fmla="*/ 3 h 75"/>
              <a:gd name="T14" fmla="*/ 97 w 98"/>
              <a:gd name="T15" fmla="*/ 0 h 75"/>
              <a:gd name="T16" fmla="*/ 82 w 98"/>
              <a:gd name="T17" fmla="*/ 11 h 75"/>
              <a:gd name="T18" fmla="*/ 77 w 98"/>
              <a:gd name="T19" fmla="*/ 40 h 75"/>
              <a:gd name="T20" fmla="*/ 44 w 98"/>
              <a:gd name="T21" fmla="*/ 58 h 75"/>
              <a:gd name="T22" fmla="*/ 14 w 98"/>
              <a:gd name="T23" fmla="*/ 74 h 75"/>
              <a:gd name="T24" fmla="*/ 0 w 98"/>
              <a:gd name="T25" fmla="*/ 68 h 75"/>
              <a:gd name="T26" fmla="*/ 0 w 98"/>
              <a:gd name="T27" fmla="*/ 68 h 7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98"/>
              <a:gd name="T43" fmla="*/ 0 h 75"/>
              <a:gd name="T44" fmla="*/ 98 w 98"/>
              <a:gd name="T45" fmla="*/ 75 h 7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98" h="75">
                <a:moveTo>
                  <a:pt x="0" y="68"/>
                </a:moveTo>
                <a:lnTo>
                  <a:pt x="0" y="68"/>
                </a:lnTo>
                <a:lnTo>
                  <a:pt x="1" y="61"/>
                </a:lnTo>
                <a:lnTo>
                  <a:pt x="15" y="45"/>
                </a:lnTo>
                <a:lnTo>
                  <a:pt x="8" y="38"/>
                </a:lnTo>
                <a:lnTo>
                  <a:pt x="7" y="19"/>
                </a:lnTo>
                <a:lnTo>
                  <a:pt x="15" y="3"/>
                </a:lnTo>
                <a:lnTo>
                  <a:pt x="97" y="0"/>
                </a:lnTo>
                <a:lnTo>
                  <a:pt x="82" y="11"/>
                </a:lnTo>
                <a:lnTo>
                  <a:pt x="77" y="40"/>
                </a:lnTo>
                <a:lnTo>
                  <a:pt x="44" y="58"/>
                </a:lnTo>
                <a:lnTo>
                  <a:pt x="14" y="74"/>
                </a:lnTo>
                <a:lnTo>
                  <a:pt x="0" y="6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3" name="Freeform 800">
            <a:extLst>
              <a:ext uri="{FF2B5EF4-FFF2-40B4-BE49-F238E27FC236}">
                <a16:creationId xmlns:a16="http://schemas.microsoft.com/office/drawing/2014/main" id="{91E74EED-837C-57F3-1436-1B1F6D2BEFAD}"/>
              </a:ext>
            </a:extLst>
          </p:cNvPr>
          <p:cNvSpPr>
            <a:spLocks/>
          </p:cNvSpPr>
          <p:nvPr/>
        </p:nvSpPr>
        <p:spPr bwMode="auto">
          <a:xfrm>
            <a:off x="4849226" y="4966439"/>
            <a:ext cx="82387" cy="55669"/>
          </a:xfrm>
          <a:custGeom>
            <a:avLst/>
            <a:gdLst>
              <a:gd name="T0" fmla="*/ 0 w 72"/>
              <a:gd name="T1" fmla="*/ 22 h 50"/>
              <a:gd name="T2" fmla="*/ 0 w 72"/>
              <a:gd name="T3" fmla="*/ 22 h 50"/>
              <a:gd name="T4" fmla="*/ 4 w 72"/>
              <a:gd name="T5" fmla="*/ 21 h 50"/>
              <a:gd name="T6" fmla="*/ 10 w 72"/>
              <a:gd name="T7" fmla="*/ 29 h 50"/>
              <a:gd name="T8" fmla="*/ 40 w 72"/>
              <a:gd name="T9" fmla="*/ 28 h 50"/>
              <a:gd name="T10" fmla="*/ 67 w 72"/>
              <a:gd name="T11" fmla="*/ 0 h 50"/>
              <a:gd name="T12" fmla="*/ 71 w 72"/>
              <a:gd name="T13" fmla="*/ 17 h 50"/>
              <a:gd name="T14" fmla="*/ 63 w 72"/>
              <a:gd name="T15" fmla="*/ 18 h 50"/>
              <a:gd name="T16" fmla="*/ 67 w 72"/>
              <a:gd name="T17" fmla="*/ 28 h 50"/>
              <a:gd name="T18" fmla="*/ 56 w 72"/>
              <a:gd name="T19" fmla="*/ 49 h 50"/>
              <a:gd name="T20" fmla="*/ 13 w 72"/>
              <a:gd name="T21" fmla="*/ 43 h 50"/>
              <a:gd name="T22" fmla="*/ 0 w 72"/>
              <a:gd name="T23" fmla="*/ 22 h 50"/>
              <a:gd name="T24" fmla="*/ 0 w 72"/>
              <a:gd name="T25" fmla="*/ 22 h 5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72"/>
              <a:gd name="T40" fmla="*/ 0 h 50"/>
              <a:gd name="T41" fmla="*/ 72 w 72"/>
              <a:gd name="T42" fmla="*/ 50 h 5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72" h="50">
                <a:moveTo>
                  <a:pt x="0" y="22"/>
                </a:moveTo>
                <a:lnTo>
                  <a:pt x="0" y="22"/>
                </a:lnTo>
                <a:lnTo>
                  <a:pt x="4" y="21"/>
                </a:lnTo>
                <a:lnTo>
                  <a:pt x="10" y="29"/>
                </a:lnTo>
                <a:lnTo>
                  <a:pt x="40" y="28"/>
                </a:lnTo>
                <a:lnTo>
                  <a:pt x="67" y="0"/>
                </a:lnTo>
                <a:lnTo>
                  <a:pt x="71" y="17"/>
                </a:lnTo>
                <a:lnTo>
                  <a:pt x="63" y="18"/>
                </a:lnTo>
                <a:lnTo>
                  <a:pt x="67" y="28"/>
                </a:lnTo>
                <a:lnTo>
                  <a:pt x="56" y="49"/>
                </a:lnTo>
                <a:lnTo>
                  <a:pt x="13" y="43"/>
                </a:lnTo>
                <a:lnTo>
                  <a:pt x="0" y="2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4" name="Freeform 801">
            <a:extLst>
              <a:ext uri="{FF2B5EF4-FFF2-40B4-BE49-F238E27FC236}">
                <a16:creationId xmlns:a16="http://schemas.microsoft.com/office/drawing/2014/main" id="{78E5F22F-E21C-4774-D39F-700855D7D291}"/>
              </a:ext>
            </a:extLst>
          </p:cNvPr>
          <p:cNvSpPr>
            <a:spLocks/>
          </p:cNvSpPr>
          <p:nvPr/>
        </p:nvSpPr>
        <p:spPr bwMode="auto">
          <a:xfrm>
            <a:off x="4730224" y="5078889"/>
            <a:ext cx="151042" cy="99090"/>
          </a:xfrm>
          <a:custGeom>
            <a:avLst/>
            <a:gdLst>
              <a:gd name="T0" fmla="*/ 0 w 132"/>
              <a:gd name="T1" fmla="*/ 88 h 89"/>
              <a:gd name="T2" fmla="*/ 0 w 132"/>
              <a:gd name="T3" fmla="*/ 88 h 89"/>
              <a:gd name="T4" fmla="*/ 35 w 132"/>
              <a:gd name="T5" fmla="*/ 68 h 89"/>
              <a:gd name="T6" fmla="*/ 29 w 132"/>
              <a:gd name="T7" fmla="*/ 59 h 89"/>
              <a:gd name="T8" fmla="*/ 39 w 132"/>
              <a:gd name="T9" fmla="*/ 48 h 89"/>
              <a:gd name="T10" fmla="*/ 73 w 132"/>
              <a:gd name="T11" fmla="*/ 9 h 89"/>
              <a:gd name="T12" fmla="*/ 117 w 132"/>
              <a:gd name="T13" fmla="*/ 0 h 89"/>
              <a:gd name="T14" fmla="*/ 131 w 132"/>
              <a:gd name="T15" fmla="*/ 34 h 89"/>
              <a:gd name="T16" fmla="*/ 120 w 132"/>
              <a:gd name="T17" fmla="*/ 48 h 89"/>
              <a:gd name="T18" fmla="*/ 70 w 132"/>
              <a:gd name="T19" fmla="*/ 71 h 89"/>
              <a:gd name="T20" fmla="*/ 0 w 132"/>
              <a:gd name="T21" fmla="*/ 88 h 89"/>
              <a:gd name="T22" fmla="*/ 0 w 132"/>
              <a:gd name="T23" fmla="*/ 88 h 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32"/>
              <a:gd name="T37" fmla="*/ 0 h 89"/>
              <a:gd name="T38" fmla="*/ 132 w 132"/>
              <a:gd name="T39" fmla="*/ 89 h 8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32" h="89">
                <a:moveTo>
                  <a:pt x="0" y="88"/>
                </a:moveTo>
                <a:lnTo>
                  <a:pt x="0" y="88"/>
                </a:lnTo>
                <a:lnTo>
                  <a:pt x="35" y="68"/>
                </a:lnTo>
                <a:lnTo>
                  <a:pt x="29" y="59"/>
                </a:lnTo>
                <a:lnTo>
                  <a:pt x="39" y="48"/>
                </a:lnTo>
                <a:lnTo>
                  <a:pt x="73" y="9"/>
                </a:lnTo>
                <a:lnTo>
                  <a:pt x="117" y="0"/>
                </a:lnTo>
                <a:lnTo>
                  <a:pt x="131" y="34"/>
                </a:lnTo>
                <a:lnTo>
                  <a:pt x="120" y="48"/>
                </a:lnTo>
                <a:lnTo>
                  <a:pt x="70" y="71"/>
                </a:lnTo>
                <a:lnTo>
                  <a:pt x="0" y="8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5" name="Freeform 802">
            <a:extLst>
              <a:ext uri="{FF2B5EF4-FFF2-40B4-BE49-F238E27FC236}">
                <a16:creationId xmlns:a16="http://schemas.microsoft.com/office/drawing/2014/main" id="{2E314051-5A4C-E9DD-6EC3-237C33F4D4B8}"/>
              </a:ext>
            </a:extLst>
          </p:cNvPr>
          <p:cNvSpPr>
            <a:spLocks/>
          </p:cNvSpPr>
          <p:nvPr/>
        </p:nvSpPr>
        <p:spPr bwMode="auto">
          <a:xfrm>
            <a:off x="4717637" y="5104496"/>
            <a:ext cx="58357" cy="73483"/>
          </a:xfrm>
          <a:custGeom>
            <a:avLst/>
            <a:gdLst>
              <a:gd name="T0" fmla="*/ 0 w 51"/>
              <a:gd name="T1" fmla="*/ 13 h 66"/>
              <a:gd name="T2" fmla="*/ 0 w 51"/>
              <a:gd name="T3" fmla="*/ 13 h 66"/>
              <a:gd name="T4" fmla="*/ 11 w 51"/>
              <a:gd name="T5" fmla="*/ 65 h 66"/>
              <a:gd name="T6" fmla="*/ 46 w 51"/>
              <a:gd name="T7" fmla="*/ 45 h 66"/>
              <a:gd name="T8" fmla="*/ 40 w 51"/>
              <a:gd name="T9" fmla="*/ 36 h 66"/>
              <a:gd name="T10" fmla="*/ 50 w 51"/>
              <a:gd name="T11" fmla="*/ 25 h 66"/>
              <a:gd name="T12" fmla="*/ 50 w 51"/>
              <a:gd name="T13" fmla="*/ 10 h 66"/>
              <a:gd name="T14" fmla="*/ 25 w 51"/>
              <a:gd name="T15" fmla="*/ 0 h 66"/>
              <a:gd name="T16" fmla="*/ 0 w 51"/>
              <a:gd name="T17" fmla="*/ 13 h 66"/>
              <a:gd name="T18" fmla="*/ 0 w 51"/>
              <a:gd name="T19" fmla="*/ 13 h 6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1"/>
              <a:gd name="T31" fmla="*/ 0 h 66"/>
              <a:gd name="T32" fmla="*/ 51 w 51"/>
              <a:gd name="T33" fmla="*/ 66 h 6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1" h="66">
                <a:moveTo>
                  <a:pt x="0" y="13"/>
                </a:moveTo>
                <a:lnTo>
                  <a:pt x="0" y="13"/>
                </a:lnTo>
                <a:lnTo>
                  <a:pt x="11" y="65"/>
                </a:lnTo>
                <a:lnTo>
                  <a:pt x="46" y="45"/>
                </a:lnTo>
                <a:lnTo>
                  <a:pt x="40" y="36"/>
                </a:lnTo>
                <a:lnTo>
                  <a:pt x="50" y="25"/>
                </a:lnTo>
                <a:lnTo>
                  <a:pt x="50" y="10"/>
                </a:lnTo>
                <a:lnTo>
                  <a:pt x="25" y="0"/>
                </a:lnTo>
                <a:lnTo>
                  <a:pt x="0" y="1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6" name="Freeform 803">
            <a:extLst>
              <a:ext uri="{FF2B5EF4-FFF2-40B4-BE49-F238E27FC236}">
                <a16:creationId xmlns:a16="http://schemas.microsoft.com/office/drawing/2014/main" id="{408844A1-0974-6FB2-4242-B497DFF32EDB}"/>
              </a:ext>
            </a:extLst>
          </p:cNvPr>
          <p:cNvSpPr>
            <a:spLocks/>
          </p:cNvSpPr>
          <p:nvPr/>
        </p:nvSpPr>
        <p:spPr bwMode="auto">
          <a:xfrm>
            <a:off x="4232473" y="5455207"/>
            <a:ext cx="199100" cy="189272"/>
          </a:xfrm>
          <a:custGeom>
            <a:avLst/>
            <a:gdLst>
              <a:gd name="T0" fmla="*/ 0 w 174"/>
              <a:gd name="T1" fmla="*/ 159 h 170"/>
              <a:gd name="T2" fmla="*/ 0 w 174"/>
              <a:gd name="T3" fmla="*/ 159 h 170"/>
              <a:gd name="T4" fmla="*/ 23 w 174"/>
              <a:gd name="T5" fmla="*/ 153 h 170"/>
              <a:gd name="T6" fmla="*/ 134 w 174"/>
              <a:gd name="T7" fmla="*/ 169 h 170"/>
              <a:gd name="T8" fmla="*/ 159 w 174"/>
              <a:gd name="T9" fmla="*/ 162 h 170"/>
              <a:gd name="T10" fmla="*/ 142 w 174"/>
              <a:gd name="T11" fmla="*/ 149 h 170"/>
              <a:gd name="T12" fmla="*/ 142 w 174"/>
              <a:gd name="T13" fmla="*/ 98 h 170"/>
              <a:gd name="T14" fmla="*/ 173 w 174"/>
              <a:gd name="T15" fmla="*/ 98 h 170"/>
              <a:gd name="T16" fmla="*/ 170 w 174"/>
              <a:gd name="T17" fmla="*/ 70 h 170"/>
              <a:gd name="T18" fmla="*/ 142 w 174"/>
              <a:gd name="T19" fmla="*/ 73 h 170"/>
              <a:gd name="T20" fmla="*/ 139 w 174"/>
              <a:gd name="T21" fmla="*/ 24 h 170"/>
              <a:gd name="T22" fmla="*/ 127 w 174"/>
              <a:gd name="T23" fmla="*/ 15 h 170"/>
              <a:gd name="T24" fmla="*/ 109 w 174"/>
              <a:gd name="T25" fmla="*/ 16 h 170"/>
              <a:gd name="T26" fmla="*/ 105 w 174"/>
              <a:gd name="T27" fmla="*/ 30 h 170"/>
              <a:gd name="T28" fmla="*/ 86 w 174"/>
              <a:gd name="T29" fmla="*/ 32 h 170"/>
              <a:gd name="T30" fmla="*/ 63 w 174"/>
              <a:gd name="T31" fmla="*/ 0 h 170"/>
              <a:gd name="T32" fmla="*/ 11 w 174"/>
              <a:gd name="T33" fmla="*/ 7 h 170"/>
              <a:gd name="T34" fmla="*/ 30 w 174"/>
              <a:gd name="T35" fmla="*/ 71 h 170"/>
              <a:gd name="T36" fmla="*/ 0 w 174"/>
              <a:gd name="T37" fmla="*/ 159 h 170"/>
              <a:gd name="T38" fmla="*/ 0 w 174"/>
              <a:gd name="T39" fmla="*/ 159 h 17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74"/>
              <a:gd name="T61" fmla="*/ 0 h 170"/>
              <a:gd name="T62" fmla="*/ 174 w 174"/>
              <a:gd name="T63" fmla="*/ 170 h 17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74" h="170">
                <a:moveTo>
                  <a:pt x="0" y="159"/>
                </a:moveTo>
                <a:lnTo>
                  <a:pt x="0" y="159"/>
                </a:lnTo>
                <a:lnTo>
                  <a:pt x="23" y="153"/>
                </a:lnTo>
                <a:lnTo>
                  <a:pt x="134" y="169"/>
                </a:lnTo>
                <a:lnTo>
                  <a:pt x="159" y="162"/>
                </a:lnTo>
                <a:lnTo>
                  <a:pt x="142" y="149"/>
                </a:lnTo>
                <a:lnTo>
                  <a:pt x="142" y="98"/>
                </a:lnTo>
                <a:lnTo>
                  <a:pt x="173" y="98"/>
                </a:lnTo>
                <a:lnTo>
                  <a:pt x="170" y="70"/>
                </a:lnTo>
                <a:lnTo>
                  <a:pt x="142" y="73"/>
                </a:lnTo>
                <a:lnTo>
                  <a:pt x="139" y="24"/>
                </a:lnTo>
                <a:lnTo>
                  <a:pt x="127" y="15"/>
                </a:lnTo>
                <a:lnTo>
                  <a:pt x="109" y="16"/>
                </a:lnTo>
                <a:lnTo>
                  <a:pt x="105" y="30"/>
                </a:lnTo>
                <a:lnTo>
                  <a:pt x="86" y="32"/>
                </a:lnTo>
                <a:lnTo>
                  <a:pt x="63" y="0"/>
                </a:lnTo>
                <a:lnTo>
                  <a:pt x="11" y="7"/>
                </a:lnTo>
                <a:lnTo>
                  <a:pt x="30" y="71"/>
                </a:lnTo>
                <a:lnTo>
                  <a:pt x="0" y="15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7" name="Freeform 804">
            <a:extLst>
              <a:ext uri="{FF2B5EF4-FFF2-40B4-BE49-F238E27FC236}">
                <a16:creationId xmlns:a16="http://schemas.microsoft.com/office/drawing/2014/main" id="{75A97D65-0739-B53B-62FE-7FC1F8610083}"/>
              </a:ext>
            </a:extLst>
          </p:cNvPr>
          <p:cNvSpPr>
            <a:spLocks/>
          </p:cNvSpPr>
          <p:nvPr/>
        </p:nvSpPr>
        <p:spPr bwMode="auto">
          <a:xfrm>
            <a:off x="4238194" y="5439620"/>
            <a:ext cx="17164" cy="16700"/>
          </a:xfrm>
          <a:custGeom>
            <a:avLst/>
            <a:gdLst>
              <a:gd name="T0" fmla="*/ 0 w 15"/>
              <a:gd name="T1" fmla="*/ 4 h 15"/>
              <a:gd name="T2" fmla="*/ 0 w 15"/>
              <a:gd name="T3" fmla="*/ 4 h 15"/>
              <a:gd name="T4" fmla="*/ 5 w 15"/>
              <a:gd name="T5" fmla="*/ 14 h 15"/>
              <a:gd name="T6" fmla="*/ 14 w 15"/>
              <a:gd name="T7" fmla="*/ 0 h 15"/>
              <a:gd name="T8" fmla="*/ 0 w 15"/>
              <a:gd name="T9" fmla="*/ 4 h 15"/>
              <a:gd name="T10" fmla="*/ 0 w 15"/>
              <a:gd name="T11" fmla="*/ 4 h 1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"/>
              <a:gd name="T19" fmla="*/ 0 h 15"/>
              <a:gd name="T20" fmla="*/ 15 w 15"/>
              <a:gd name="T21" fmla="*/ 15 h 1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" h="15">
                <a:moveTo>
                  <a:pt x="0" y="4"/>
                </a:moveTo>
                <a:lnTo>
                  <a:pt x="0" y="4"/>
                </a:lnTo>
                <a:lnTo>
                  <a:pt x="5" y="14"/>
                </a:lnTo>
                <a:lnTo>
                  <a:pt x="14" y="0"/>
                </a:lnTo>
                <a:lnTo>
                  <a:pt x="0" y="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8" name="Freeform 805">
            <a:extLst>
              <a:ext uri="{FF2B5EF4-FFF2-40B4-BE49-F238E27FC236}">
                <a16:creationId xmlns:a16="http://schemas.microsoft.com/office/drawing/2014/main" id="{2D71820E-397F-72C4-ABDB-637CD59CB291}"/>
              </a:ext>
            </a:extLst>
          </p:cNvPr>
          <p:cNvSpPr>
            <a:spLocks/>
          </p:cNvSpPr>
          <p:nvPr/>
        </p:nvSpPr>
        <p:spPr bwMode="auto">
          <a:xfrm>
            <a:off x="4362918" y="5638913"/>
            <a:ext cx="146465" cy="142511"/>
          </a:xfrm>
          <a:custGeom>
            <a:avLst/>
            <a:gdLst>
              <a:gd name="T0" fmla="*/ 0 w 128"/>
              <a:gd name="T1" fmla="*/ 98 h 128"/>
              <a:gd name="T2" fmla="*/ 0 w 128"/>
              <a:gd name="T3" fmla="*/ 98 h 128"/>
              <a:gd name="T4" fmla="*/ 0 w 128"/>
              <a:gd name="T5" fmla="*/ 59 h 128"/>
              <a:gd name="T6" fmla="*/ 14 w 128"/>
              <a:gd name="T7" fmla="*/ 59 h 128"/>
              <a:gd name="T8" fmla="*/ 14 w 128"/>
              <a:gd name="T9" fmla="*/ 10 h 128"/>
              <a:gd name="T10" fmla="*/ 40 w 128"/>
              <a:gd name="T11" fmla="*/ 4 h 128"/>
              <a:gd name="T12" fmla="*/ 48 w 128"/>
              <a:gd name="T13" fmla="*/ 13 h 128"/>
              <a:gd name="T14" fmla="*/ 71 w 128"/>
              <a:gd name="T15" fmla="*/ 0 h 128"/>
              <a:gd name="T16" fmla="*/ 109 w 128"/>
              <a:gd name="T17" fmla="*/ 53 h 128"/>
              <a:gd name="T18" fmla="*/ 127 w 128"/>
              <a:gd name="T19" fmla="*/ 62 h 128"/>
              <a:gd name="T20" fmla="*/ 76 w 128"/>
              <a:gd name="T21" fmla="*/ 109 h 128"/>
              <a:gd name="T22" fmla="*/ 46 w 128"/>
              <a:gd name="T23" fmla="*/ 109 h 128"/>
              <a:gd name="T24" fmla="*/ 30 w 128"/>
              <a:gd name="T25" fmla="*/ 126 h 128"/>
              <a:gd name="T26" fmla="*/ 11 w 128"/>
              <a:gd name="T27" fmla="*/ 127 h 128"/>
              <a:gd name="T28" fmla="*/ 11 w 128"/>
              <a:gd name="T29" fmla="*/ 112 h 128"/>
              <a:gd name="T30" fmla="*/ 0 w 128"/>
              <a:gd name="T31" fmla="*/ 98 h 128"/>
              <a:gd name="T32" fmla="*/ 0 w 128"/>
              <a:gd name="T33" fmla="*/ 98 h 12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8"/>
              <a:gd name="T52" fmla="*/ 0 h 128"/>
              <a:gd name="T53" fmla="*/ 128 w 128"/>
              <a:gd name="T54" fmla="*/ 128 h 12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8" h="128">
                <a:moveTo>
                  <a:pt x="0" y="98"/>
                </a:moveTo>
                <a:lnTo>
                  <a:pt x="0" y="98"/>
                </a:lnTo>
                <a:lnTo>
                  <a:pt x="0" y="59"/>
                </a:lnTo>
                <a:lnTo>
                  <a:pt x="14" y="59"/>
                </a:lnTo>
                <a:lnTo>
                  <a:pt x="14" y="10"/>
                </a:lnTo>
                <a:lnTo>
                  <a:pt x="40" y="4"/>
                </a:lnTo>
                <a:lnTo>
                  <a:pt x="48" y="13"/>
                </a:lnTo>
                <a:lnTo>
                  <a:pt x="71" y="0"/>
                </a:lnTo>
                <a:lnTo>
                  <a:pt x="109" y="53"/>
                </a:lnTo>
                <a:lnTo>
                  <a:pt x="127" y="62"/>
                </a:lnTo>
                <a:lnTo>
                  <a:pt x="76" y="109"/>
                </a:lnTo>
                <a:lnTo>
                  <a:pt x="46" y="109"/>
                </a:lnTo>
                <a:lnTo>
                  <a:pt x="30" y="126"/>
                </a:lnTo>
                <a:lnTo>
                  <a:pt x="11" y="127"/>
                </a:lnTo>
                <a:lnTo>
                  <a:pt x="11" y="112"/>
                </a:lnTo>
                <a:lnTo>
                  <a:pt x="0" y="9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9" name="Freeform 806">
            <a:extLst>
              <a:ext uri="{FF2B5EF4-FFF2-40B4-BE49-F238E27FC236}">
                <a16:creationId xmlns:a16="http://schemas.microsoft.com/office/drawing/2014/main" id="{196E1276-B5CC-AF6D-6A03-A6DC76637F5F}"/>
              </a:ext>
            </a:extLst>
          </p:cNvPr>
          <p:cNvSpPr>
            <a:spLocks/>
          </p:cNvSpPr>
          <p:nvPr/>
        </p:nvSpPr>
        <p:spPr bwMode="auto">
          <a:xfrm>
            <a:off x="4505950" y="5403992"/>
            <a:ext cx="28607" cy="31174"/>
          </a:xfrm>
          <a:custGeom>
            <a:avLst/>
            <a:gdLst>
              <a:gd name="T0" fmla="*/ 0 w 25"/>
              <a:gd name="T1" fmla="*/ 4 h 28"/>
              <a:gd name="T2" fmla="*/ 0 w 25"/>
              <a:gd name="T3" fmla="*/ 4 h 28"/>
              <a:gd name="T4" fmla="*/ 3 w 25"/>
              <a:gd name="T5" fmla="*/ 14 h 28"/>
              <a:gd name="T6" fmla="*/ 9 w 25"/>
              <a:gd name="T7" fmla="*/ 27 h 28"/>
              <a:gd name="T8" fmla="*/ 24 w 25"/>
              <a:gd name="T9" fmla="*/ 11 h 28"/>
              <a:gd name="T10" fmla="*/ 23 w 25"/>
              <a:gd name="T11" fmla="*/ 0 h 28"/>
              <a:gd name="T12" fmla="*/ 0 w 25"/>
              <a:gd name="T13" fmla="*/ 4 h 28"/>
              <a:gd name="T14" fmla="*/ 0 w 25"/>
              <a:gd name="T15" fmla="*/ 4 h 2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5"/>
              <a:gd name="T25" fmla="*/ 0 h 28"/>
              <a:gd name="T26" fmla="*/ 25 w 25"/>
              <a:gd name="T27" fmla="*/ 28 h 2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5" h="28">
                <a:moveTo>
                  <a:pt x="0" y="4"/>
                </a:moveTo>
                <a:lnTo>
                  <a:pt x="0" y="4"/>
                </a:lnTo>
                <a:lnTo>
                  <a:pt x="3" y="14"/>
                </a:lnTo>
                <a:lnTo>
                  <a:pt x="9" y="27"/>
                </a:lnTo>
                <a:lnTo>
                  <a:pt x="24" y="11"/>
                </a:lnTo>
                <a:lnTo>
                  <a:pt x="23" y="0"/>
                </a:lnTo>
                <a:lnTo>
                  <a:pt x="0" y="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0" name="Freeform 807">
            <a:extLst>
              <a:ext uri="{FF2B5EF4-FFF2-40B4-BE49-F238E27FC236}">
                <a16:creationId xmlns:a16="http://schemas.microsoft.com/office/drawing/2014/main" id="{EF0096EF-ADB8-C135-3BF8-C5D5185CF040}"/>
              </a:ext>
            </a:extLst>
          </p:cNvPr>
          <p:cNvSpPr>
            <a:spLocks/>
          </p:cNvSpPr>
          <p:nvPr/>
        </p:nvSpPr>
        <p:spPr bwMode="auto">
          <a:xfrm>
            <a:off x="4183270" y="5175752"/>
            <a:ext cx="121291" cy="170345"/>
          </a:xfrm>
          <a:custGeom>
            <a:avLst/>
            <a:gdLst>
              <a:gd name="T0" fmla="*/ 0 w 106"/>
              <a:gd name="T1" fmla="*/ 109 h 153"/>
              <a:gd name="T2" fmla="*/ 0 w 106"/>
              <a:gd name="T3" fmla="*/ 109 h 153"/>
              <a:gd name="T4" fmla="*/ 14 w 106"/>
              <a:gd name="T5" fmla="*/ 80 h 153"/>
              <a:gd name="T6" fmla="*/ 40 w 106"/>
              <a:gd name="T7" fmla="*/ 84 h 153"/>
              <a:gd name="T8" fmla="*/ 68 w 106"/>
              <a:gd name="T9" fmla="*/ 25 h 153"/>
              <a:gd name="T10" fmla="*/ 82 w 106"/>
              <a:gd name="T11" fmla="*/ 14 h 153"/>
              <a:gd name="T12" fmla="*/ 77 w 106"/>
              <a:gd name="T13" fmla="*/ 2 h 153"/>
              <a:gd name="T14" fmla="*/ 84 w 106"/>
              <a:gd name="T15" fmla="*/ 0 h 153"/>
              <a:gd name="T16" fmla="*/ 94 w 106"/>
              <a:gd name="T17" fmla="*/ 37 h 153"/>
              <a:gd name="T18" fmla="*/ 77 w 106"/>
              <a:gd name="T19" fmla="*/ 44 h 153"/>
              <a:gd name="T20" fmla="*/ 96 w 106"/>
              <a:gd name="T21" fmla="*/ 73 h 153"/>
              <a:gd name="T22" fmla="*/ 84 w 106"/>
              <a:gd name="T23" fmla="*/ 107 h 153"/>
              <a:gd name="T24" fmla="*/ 105 w 106"/>
              <a:gd name="T25" fmla="*/ 134 h 153"/>
              <a:gd name="T26" fmla="*/ 103 w 106"/>
              <a:gd name="T27" fmla="*/ 152 h 153"/>
              <a:gd name="T28" fmla="*/ 67 w 106"/>
              <a:gd name="T29" fmla="*/ 144 h 153"/>
              <a:gd name="T30" fmla="*/ 39 w 106"/>
              <a:gd name="T31" fmla="*/ 143 h 153"/>
              <a:gd name="T32" fmla="*/ 17 w 106"/>
              <a:gd name="T33" fmla="*/ 144 h 153"/>
              <a:gd name="T34" fmla="*/ 16 w 106"/>
              <a:gd name="T35" fmla="*/ 119 h 153"/>
              <a:gd name="T36" fmla="*/ 0 w 106"/>
              <a:gd name="T37" fmla="*/ 109 h 153"/>
              <a:gd name="T38" fmla="*/ 0 w 106"/>
              <a:gd name="T39" fmla="*/ 109 h 15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06"/>
              <a:gd name="T61" fmla="*/ 0 h 153"/>
              <a:gd name="T62" fmla="*/ 106 w 106"/>
              <a:gd name="T63" fmla="*/ 153 h 153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06" h="153">
                <a:moveTo>
                  <a:pt x="0" y="109"/>
                </a:moveTo>
                <a:lnTo>
                  <a:pt x="0" y="109"/>
                </a:lnTo>
                <a:lnTo>
                  <a:pt x="14" y="80"/>
                </a:lnTo>
                <a:lnTo>
                  <a:pt x="40" y="84"/>
                </a:lnTo>
                <a:lnTo>
                  <a:pt x="68" y="25"/>
                </a:lnTo>
                <a:lnTo>
                  <a:pt x="82" y="14"/>
                </a:lnTo>
                <a:lnTo>
                  <a:pt x="77" y="2"/>
                </a:lnTo>
                <a:lnTo>
                  <a:pt x="84" y="0"/>
                </a:lnTo>
                <a:lnTo>
                  <a:pt x="94" y="37"/>
                </a:lnTo>
                <a:lnTo>
                  <a:pt x="77" y="44"/>
                </a:lnTo>
                <a:lnTo>
                  <a:pt x="96" y="73"/>
                </a:lnTo>
                <a:lnTo>
                  <a:pt x="84" y="107"/>
                </a:lnTo>
                <a:lnTo>
                  <a:pt x="105" y="134"/>
                </a:lnTo>
                <a:lnTo>
                  <a:pt x="103" y="152"/>
                </a:lnTo>
                <a:lnTo>
                  <a:pt x="67" y="144"/>
                </a:lnTo>
                <a:lnTo>
                  <a:pt x="39" y="143"/>
                </a:lnTo>
                <a:lnTo>
                  <a:pt x="17" y="144"/>
                </a:lnTo>
                <a:lnTo>
                  <a:pt x="16" y="119"/>
                </a:lnTo>
                <a:lnTo>
                  <a:pt x="0" y="10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1" name="Freeform 808">
            <a:extLst>
              <a:ext uri="{FF2B5EF4-FFF2-40B4-BE49-F238E27FC236}">
                <a16:creationId xmlns:a16="http://schemas.microsoft.com/office/drawing/2014/main" id="{FA902B3C-EF3D-BBF8-DE7D-4D84364B2CD7}"/>
              </a:ext>
            </a:extLst>
          </p:cNvPr>
          <p:cNvSpPr>
            <a:spLocks/>
          </p:cNvSpPr>
          <p:nvPr/>
        </p:nvSpPr>
        <p:spPr bwMode="auto">
          <a:xfrm>
            <a:off x="4279387" y="5202473"/>
            <a:ext cx="203678" cy="123584"/>
          </a:xfrm>
          <a:custGeom>
            <a:avLst/>
            <a:gdLst>
              <a:gd name="T0" fmla="*/ 0 w 178"/>
              <a:gd name="T1" fmla="*/ 83 h 111"/>
              <a:gd name="T2" fmla="*/ 0 w 178"/>
              <a:gd name="T3" fmla="*/ 83 h 111"/>
              <a:gd name="T4" fmla="*/ 12 w 178"/>
              <a:gd name="T5" fmla="*/ 49 h 111"/>
              <a:gd name="T6" fmla="*/ 56 w 178"/>
              <a:gd name="T7" fmla="*/ 40 h 111"/>
              <a:gd name="T8" fmla="*/ 61 w 178"/>
              <a:gd name="T9" fmla="*/ 29 h 111"/>
              <a:gd name="T10" fmla="*/ 81 w 178"/>
              <a:gd name="T11" fmla="*/ 25 h 111"/>
              <a:gd name="T12" fmla="*/ 111 w 178"/>
              <a:gd name="T13" fmla="*/ 0 h 111"/>
              <a:gd name="T14" fmla="*/ 121 w 178"/>
              <a:gd name="T15" fmla="*/ 29 h 111"/>
              <a:gd name="T16" fmla="*/ 144 w 178"/>
              <a:gd name="T17" fmla="*/ 40 h 111"/>
              <a:gd name="T18" fmla="*/ 177 w 178"/>
              <a:gd name="T19" fmla="*/ 80 h 111"/>
              <a:gd name="T20" fmla="*/ 95 w 178"/>
              <a:gd name="T21" fmla="*/ 91 h 111"/>
              <a:gd name="T22" fmla="*/ 68 w 178"/>
              <a:gd name="T23" fmla="*/ 80 h 111"/>
              <a:gd name="T24" fmla="*/ 56 w 178"/>
              <a:gd name="T25" fmla="*/ 99 h 111"/>
              <a:gd name="T26" fmla="*/ 33 w 178"/>
              <a:gd name="T27" fmla="*/ 99 h 111"/>
              <a:gd name="T28" fmla="*/ 21 w 178"/>
              <a:gd name="T29" fmla="*/ 110 h 111"/>
              <a:gd name="T30" fmla="*/ 0 w 178"/>
              <a:gd name="T31" fmla="*/ 83 h 111"/>
              <a:gd name="T32" fmla="*/ 0 w 178"/>
              <a:gd name="T33" fmla="*/ 83 h 1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78"/>
              <a:gd name="T52" fmla="*/ 0 h 111"/>
              <a:gd name="T53" fmla="*/ 178 w 178"/>
              <a:gd name="T54" fmla="*/ 111 h 1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78" h="111">
                <a:moveTo>
                  <a:pt x="0" y="83"/>
                </a:moveTo>
                <a:lnTo>
                  <a:pt x="0" y="83"/>
                </a:lnTo>
                <a:lnTo>
                  <a:pt x="12" y="49"/>
                </a:lnTo>
                <a:lnTo>
                  <a:pt x="56" y="40"/>
                </a:lnTo>
                <a:lnTo>
                  <a:pt x="61" y="29"/>
                </a:lnTo>
                <a:lnTo>
                  <a:pt x="81" y="25"/>
                </a:lnTo>
                <a:lnTo>
                  <a:pt x="111" y="0"/>
                </a:lnTo>
                <a:lnTo>
                  <a:pt x="121" y="29"/>
                </a:lnTo>
                <a:lnTo>
                  <a:pt x="144" y="40"/>
                </a:lnTo>
                <a:lnTo>
                  <a:pt x="177" y="80"/>
                </a:lnTo>
                <a:lnTo>
                  <a:pt x="95" y="91"/>
                </a:lnTo>
                <a:lnTo>
                  <a:pt x="68" y="80"/>
                </a:lnTo>
                <a:lnTo>
                  <a:pt x="56" y="99"/>
                </a:lnTo>
                <a:lnTo>
                  <a:pt x="33" y="99"/>
                </a:lnTo>
                <a:lnTo>
                  <a:pt x="21" y="110"/>
                </a:lnTo>
                <a:lnTo>
                  <a:pt x="0" y="8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2" name="Freeform 809">
            <a:extLst>
              <a:ext uri="{FF2B5EF4-FFF2-40B4-BE49-F238E27FC236}">
                <a16:creationId xmlns:a16="http://schemas.microsoft.com/office/drawing/2014/main" id="{6F03DE8D-7E9A-76F5-5B2C-DF8E138CF45C}"/>
              </a:ext>
            </a:extLst>
          </p:cNvPr>
          <p:cNvSpPr>
            <a:spLocks/>
          </p:cNvSpPr>
          <p:nvPr/>
        </p:nvSpPr>
        <p:spPr bwMode="auto">
          <a:xfrm>
            <a:off x="4261079" y="5008747"/>
            <a:ext cx="168205" cy="249395"/>
          </a:xfrm>
          <a:custGeom>
            <a:avLst/>
            <a:gdLst>
              <a:gd name="T0" fmla="*/ 0 w 147"/>
              <a:gd name="T1" fmla="*/ 128 h 224"/>
              <a:gd name="T2" fmla="*/ 0 w 147"/>
              <a:gd name="T3" fmla="*/ 128 h 224"/>
              <a:gd name="T4" fmla="*/ 21 w 147"/>
              <a:gd name="T5" fmla="*/ 139 h 224"/>
              <a:gd name="T6" fmla="*/ 16 w 147"/>
              <a:gd name="T7" fmla="*/ 150 h 224"/>
              <a:gd name="T8" fmla="*/ 26 w 147"/>
              <a:gd name="T9" fmla="*/ 187 h 224"/>
              <a:gd name="T10" fmla="*/ 9 w 147"/>
              <a:gd name="T11" fmla="*/ 194 h 224"/>
              <a:gd name="T12" fmla="*/ 28 w 147"/>
              <a:gd name="T13" fmla="*/ 223 h 224"/>
              <a:gd name="T14" fmla="*/ 72 w 147"/>
              <a:gd name="T15" fmla="*/ 214 h 224"/>
              <a:gd name="T16" fmla="*/ 77 w 147"/>
              <a:gd name="T17" fmla="*/ 203 h 224"/>
              <a:gd name="T18" fmla="*/ 97 w 147"/>
              <a:gd name="T19" fmla="*/ 199 h 224"/>
              <a:gd name="T20" fmla="*/ 127 w 147"/>
              <a:gd name="T21" fmla="*/ 174 h 224"/>
              <a:gd name="T22" fmla="*/ 117 w 147"/>
              <a:gd name="T23" fmla="*/ 147 h 224"/>
              <a:gd name="T24" fmla="*/ 131 w 147"/>
              <a:gd name="T25" fmla="*/ 111 h 224"/>
              <a:gd name="T26" fmla="*/ 145 w 147"/>
              <a:gd name="T27" fmla="*/ 108 h 224"/>
              <a:gd name="T28" fmla="*/ 146 w 147"/>
              <a:gd name="T29" fmla="*/ 56 h 224"/>
              <a:gd name="T30" fmla="*/ 36 w 147"/>
              <a:gd name="T31" fmla="*/ 0 h 224"/>
              <a:gd name="T32" fmla="*/ 22 w 147"/>
              <a:gd name="T33" fmla="*/ 5 h 224"/>
              <a:gd name="T34" fmla="*/ 22 w 147"/>
              <a:gd name="T35" fmla="*/ 27 h 224"/>
              <a:gd name="T36" fmla="*/ 36 w 147"/>
              <a:gd name="T37" fmla="*/ 43 h 224"/>
              <a:gd name="T38" fmla="*/ 28 w 147"/>
              <a:gd name="T39" fmla="*/ 92 h 224"/>
              <a:gd name="T40" fmla="*/ 0 w 147"/>
              <a:gd name="T41" fmla="*/ 128 h 224"/>
              <a:gd name="T42" fmla="*/ 0 w 147"/>
              <a:gd name="T43" fmla="*/ 128 h 22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47"/>
              <a:gd name="T67" fmla="*/ 0 h 224"/>
              <a:gd name="T68" fmla="*/ 147 w 147"/>
              <a:gd name="T69" fmla="*/ 224 h 224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47" h="224">
                <a:moveTo>
                  <a:pt x="0" y="128"/>
                </a:moveTo>
                <a:lnTo>
                  <a:pt x="0" y="128"/>
                </a:lnTo>
                <a:lnTo>
                  <a:pt x="21" y="139"/>
                </a:lnTo>
                <a:lnTo>
                  <a:pt x="16" y="150"/>
                </a:lnTo>
                <a:lnTo>
                  <a:pt x="26" y="187"/>
                </a:lnTo>
                <a:lnTo>
                  <a:pt x="9" y="194"/>
                </a:lnTo>
                <a:lnTo>
                  <a:pt x="28" y="223"/>
                </a:lnTo>
                <a:lnTo>
                  <a:pt x="72" y="214"/>
                </a:lnTo>
                <a:lnTo>
                  <a:pt x="77" y="203"/>
                </a:lnTo>
                <a:lnTo>
                  <a:pt x="97" y="199"/>
                </a:lnTo>
                <a:lnTo>
                  <a:pt x="127" y="174"/>
                </a:lnTo>
                <a:lnTo>
                  <a:pt x="117" y="147"/>
                </a:lnTo>
                <a:lnTo>
                  <a:pt x="131" y="111"/>
                </a:lnTo>
                <a:lnTo>
                  <a:pt x="145" y="108"/>
                </a:lnTo>
                <a:lnTo>
                  <a:pt x="146" y="56"/>
                </a:lnTo>
                <a:lnTo>
                  <a:pt x="36" y="0"/>
                </a:lnTo>
                <a:lnTo>
                  <a:pt x="22" y="5"/>
                </a:lnTo>
                <a:lnTo>
                  <a:pt x="22" y="27"/>
                </a:lnTo>
                <a:lnTo>
                  <a:pt x="36" y="43"/>
                </a:lnTo>
                <a:lnTo>
                  <a:pt x="28" y="92"/>
                </a:lnTo>
                <a:lnTo>
                  <a:pt x="0" y="128"/>
                </a:lnTo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3" name="Freeform 810">
            <a:extLst>
              <a:ext uri="{FF2B5EF4-FFF2-40B4-BE49-F238E27FC236}">
                <a16:creationId xmlns:a16="http://schemas.microsoft.com/office/drawing/2014/main" id="{43B294EC-1118-AFBE-936C-B6C05E0FBC02}"/>
              </a:ext>
            </a:extLst>
          </p:cNvPr>
          <p:cNvSpPr>
            <a:spLocks/>
          </p:cNvSpPr>
          <p:nvPr/>
        </p:nvSpPr>
        <p:spPr bwMode="auto">
          <a:xfrm>
            <a:off x="4225607" y="5312696"/>
            <a:ext cx="119002" cy="132491"/>
          </a:xfrm>
          <a:custGeom>
            <a:avLst/>
            <a:gdLst>
              <a:gd name="T0" fmla="*/ 0 w 104"/>
              <a:gd name="T1" fmla="*/ 104 h 119"/>
              <a:gd name="T2" fmla="*/ 0 w 104"/>
              <a:gd name="T3" fmla="*/ 104 h 119"/>
              <a:gd name="T4" fmla="*/ 11 w 104"/>
              <a:gd name="T5" fmla="*/ 118 h 119"/>
              <a:gd name="T6" fmla="*/ 25 w 104"/>
              <a:gd name="T7" fmla="*/ 114 h 119"/>
              <a:gd name="T8" fmla="*/ 46 w 104"/>
              <a:gd name="T9" fmla="*/ 115 h 119"/>
              <a:gd name="T10" fmla="*/ 65 w 104"/>
              <a:gd name="T11" fmla="*/ 103 h 119"/>
              <a:gd name="T12" fmla="*/ 70 w 104"/>
              <a:gd name="T13" fmla="*/ 79 h 119"/>
              <a:gd name="T14" fmla="*/ 90 w 104"/>
              <a:gd name="T15" fmla="*/ 59 h 119"/>
              <a:gd name="T16" fmla="*/ 103 w 104"/>
              <a:gd name="T17" fmla="*/ 0 h 119"/>
              <a:gd name="T18" fmla="*/ 80 w 104"/>
              <a:gd name="T19" fmla="*/ 0 h 119"/>
              <a:gd name="T20" fmla="*/ 68 w 104"/>
              <a:gd name="T21" fmla="*/ 11 h 119"/>
              <a:gd name="T22" fmla="*/ 66 w 104"/>
              <a:gd name="T23" fmla="*/ 29 h 119"/>
              <a:gd name="T24" fmla="*/ 30 w 104"/>
              <a:gd name="T25" fmla="*/ 21 h 119"/>
              <a:gd name="T26" fmla="*/ 29 w 104"/>
              <a:gd name="T27" fmla="*/ 33 h 119"/>
              <a:gd name="T28" fmla="*/ 43 w 104"/>
              <a:gd name="T29" fmla="*/ 35 h 119"/>
              <a:gd name="T30" fmla="*/ 39 w 104"/>
              <a:gd name="T31" fmla="*/ 81 h 119"/>
              <a:gd name="T32" fmla="*/ 21 w 104"/>
              <a:gd name="T33" fmla="*/ 76 h 119"/>
              <a:gd name="T34" fmla="*/ 0 w 104"/>
              <a:gd name="T35" fmla="*/ 104 h 119"/>
              <a:gd name="T36" fmla="*/ 0 w 104"/>
              <a:gd name="T37" fmla="*/ 104 h 1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4"/>
              <a:gd name="T58" fmla="*/ 0 h 119"/>
              <a:gd name="T59" fmla="*/ 104 w 104"/>
              <a:gd name="T60" fmla="*/ 119 h 11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4" h="119">
                <a:moveTo>
                  <a:pt x="0" y="104"/>
                </a:moveTo>
                <a:lnTo>
                  <a:pt x="0" y="104"/>
                </a:lnTo>
                <a:lnTo>
                  <a:pt x="11" y="118"/>
                </a:lnTo>
                <a:lnTo>
                  <a:pt x="25" y="114"/>
                </a:lnTo>
                <a:lnTo>
                  <a:pt x="46" y="115"/>
                </a:lnTo>
                <a:lnTo>
                  <a:pt x="65" y="103"/>
                </a:lnTo>
                <a:lnTo>
                  <a:pt x="70" y="79"/>
                </a:lnTo>
                <a:lnTo>
                  <a:pt x="90" y="59"/>
                </a:lnTo>
                <a:lnTo>
                  <a:pt x="103" y="0"/>
                </a:lnTo>
                <a:lnTo>
                  <a:pt x="80" y="0"/>
                </a:lnTo>
                <a:lnTo>
                  <a:pt x="68" y="11"/>
                </a:lnTo>
                <a:lnTo>
                  <a:pt x="66" y="29"/>
                </a:lnTo>
                <a:lnTo>
                  <a:pt x="30" y="21"/>
                </a:lnTo>
                <a:lnTo>
                  <a:pt x="29" y="33"/>
                </a:lnTo>
                <a:lnTo>
                  <a:pt x="43" y="35"/>
                </a:lnTo>
                <a:lnTo>
                  <a:pt x="39" y="81"/>
                </a:lnTo>
                <a:lnTo>
                  <a:pt x="21" y="76"/>
                </a:lnTo>
                <a:lnTo>
                  <a:pt x="0" y="10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4" name="Freeform 811">
            <a:extLst>
              <a:ext uri="{FF2B5EF4-FFF2-40B4-BE49-F238E27FC236}">
                <a16:creationId xmlns:a16="http://schemas.microsoft.com/office/drawing/2014/main" id="{0E8F2058-854A-2ADB-7B63-3D843BEF4F21}"/>
              </a:ext>
            </a:extLst>
          </p:cNvPr>
          <p:cNvSpPr>
            <a:spLocks/>
          </p:cNvSpPr>
          <p:nvPr/>
        </p:nvSpPr>
        <p:spPr bwMode="auto">
          <a:xfrm>
            <a:off x="4243915" y="5291543"/>
            <a:ext cx="297506" cy="278342"/>
          </a:xfrm>
          <a:custGeom>
            <a:avLst/>
            <a:gdLst>
              <a:gd name="T0" fmla="*/ 0 w 260"/>
              <a:gd name="T1" fmla="*/ 147 h 250"/>
              <a:gd name="T2" fmla="*/ 0 w 260"/>
              <a:gd name="T3" fmla="*/ 147 h 250"/>
              <a:gd name="T4" fmla="*/ 1 w 260"/>
              <a:gd name="T5" fmla="*/ 154 h 250"/>
              <a:gd name="T6" fmla="*/ 53 w 260"/>
              <a:gd name="T7" fmla="*/ 147 h 250"/>
              <a:gd name="T8" fmla="*/ 76 w 260"/>
              <a:gd name="T9" fmla="*/ 179 h 250"/>
              <a:gd name="T10" fmla="*/ 95 w 260"/>
              <a:gd name="T11" fmla="*/ 177 h 250"/>
              <a:gd name="T12" fmla="*/ 99 w 260"/>
              <a:gd name="T13" fmla="*/ 163 h 250"/>
              <a:gd name="T14" fmla="*/ 117 w 260"/>
              <a:gd name="T15" fmla="*/ 162 h 250"/>
              <a:gd name="T16" fmla="*/ 129 w 260"/>
              <a:gd name="T17" fmla="*/ 171 h 250"/>
              <a:gd name="T18" fmla="*/ 132 w 260"/>
              <a:gd name="T19" fmla="*/ 220 h 250"/>
              <a:gd name="T20" fmla="*/ 160 w 260"/>
              <a:gd name="T21" fmla="*/ 217 h 250"/>
              <a:gd name="T22" fmla="*/ 238 w 260"/>
              <a:gd name="T23" fmla="*/ 249 h 250"/>
              <a:gd name="T24" fmla="*/ 238 w 260"/>
              <a:gd name="T25" fmla="*/ 235 h 250"/>
              <a:gd name="T26" fmla="*/ 222 w 260"/>
              <a:gd name="T27" fmla="*/ 228 h 250"/>
              <a:gd name="T28" fmla="*/ 225 w 260"/>
              <a:gd name="T29" fmla="*/ 192 h 250"/>
              <a:gd name="T30" fmla="*/ 250 w 260"/>
              <a:gd name="T31" fmla="*/ 180 h 250"/>
              <a:gd name="T32" fmla="*/ 234 w 260"/>
              <a:gd name="T33" fmla="*/ 156 h 250"/>
              <a:gd name="T34" fmla="*/ 232 w 260"/>
              <a:gd name="T35" fmla="*/ 115 h 250"/>
              <a:gd name="T36" fmla="*/ 229 w 260"/>
              <a:gd name="T37" fmla="*/ 105 h 250"/>
              <a:gd name="T38" fmla="*/ 238 w 260"/>
              <a:gd name="T39" fmla="*/ 87 h 250"/>
              <a:gd name="T40" fmla="*/ 250 w 260"/>
              <a:gd name="T41" fmla="*/ 52 h 250"/>
              <a:gd name="T42" fmla="*/ 259 w 260"/>
              <a:gd name="T43" fmla="*/ 39 h 250"/>
              <a:gd name="T44" fmla="*/ 254 w 260"/>
              <a:gd name="T45" fmla="*/ 20 h 250"/>
              <a:gd name="T46" fmla="*/ 208 w 260"/>
              <a:gd name="T47" fmla="*/ 0 h 250"/>
              <a:gd name="T48" fmla="*/ 126 w 260"/>
              <a:gd name="T49" fmla="*/ 11 h 250"/>
              <a:gd name="T50" fmla="*/ 99 w 260"/>
              <a:gd name="T51" fmla="*/ 0 h 250"/>
              <a:gd name="T52" fmla="*/ 87 w 260"/>
              <a:gd name="T53" fmla="*/ 19 h 250"/>
              <a:gd name="T54" fmla="*/ 74 w 260"/>
              <a:gd name="T55" fmla="*/ 78 h 250"/>
              <a:gd name="T56" fmla="*/ 54 w 260"/>
              <a:gd name="T57" fmla="*/ 98 h 250"/>
              <a:gd name="T58" fmla="*/ 49 w 260"/>
              <a:gd name="T59" fmla="*/ 122 h 250"/>
              <a:gd name="T60" fmla="*/ 30 w 260"/>
              <a:gd name="T61" fmla="*/ 134 h 250"/>
              <a:gd name="T62" fmla="*/ 9 w 260"/>
              <a:gd name="T63" fmla="*/ 133 h 250"/>
              <a:gd name="T64" fmla="*/ 0 w 260"/>
              <a:gd name="T65" fmla="*/ 147 h 250"/>
              <a:gd name="T66" fmla="*/ 0 w 260"/>
              <a:gd name="T67" fmla="*/ 147 h 25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60"/>
              <a:gd name="T103" fmla="*/ 0 h 250"/>
              <a:gd name="T104" fmla="*/ 260 w 260"/>
              <a:gd name="T105" fmla="*/ 250 h 25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60" h="250">
                <a:moveTo>
                  <a:pt x="0" y="147"/>
                </a:moveTo>
                <a:lnTo>
                  <a:pt x="0" y="147"/>
                </a:lnTo>
                <a:lnTo>
                  <a:pt x="1" y="154"/>
                </a:lnTo>
                <a:lnTo>
                  <a:pt x="53" y="147"/>
                </a:lnTo>
                <a:lnTo>
                  <a:pt x="76" y="179"/>
                </a:lnTo>
                <a:lnTo>
                  <a:pt x="95" y="177"/>
                </a:lnTo>
                <a:lnTo>
                  <a:pt x="99" y="163"/>
                </a:lnTo>
                <a:lnTo>
                  <a:pt x="117" y="162"/>
                </a:lnTo>
                <a:lnTo>
                  <a:pt x="129" y="171"/>
                </a:lnTo>
                <a:lnTo>
                  <a:pt x="132" y="220"/>
                </a:lnTo>
                <a:lnTo>
                  <a:pt x="160" y="217"/>
                </a:lnTo>
                <a:lnTo>
                  <a:pt x="238" y="249"/>
                </a:lnTo>
                <a:lnTo>
                  <a:pt x="238" y="235"/>
                </a:lnTo>
                <a:lnTo>
                  <a:pt x="222" y="228"/>
                </a:lnTo>
                <a:lnTo>
                  <a:pt x="225" y="192"/>
                </a:lnTo>
                <a:lnTo>
                  <a:pt x="250" y="180"/>
                </a:lnTo>
                <a:lnTo>
                  <a:pt x="234" y="156"/>
                </a:lnTo>
                <a:lnTo>
                  <a:pt x="232" y="115"/>
                </a:lnTo>
                <a:lnTo>
                  <a:pt x="229" y="105"/>
                </a:lnTo>
                <a:lnTo>
                  <a:pt x="238" y="87"/>
                </a:lnTo>
                <a:lnTo>
                  <a:pt x="250" y="52"/>
                </a:lnTo>
                <a:lnTo>
                  <a:pt x="259" y="39"/>
                </a:lnTo>
                <a:lnTo>
                  <a:pt x="254" y="20"/>
                </a:lnTo>
                <a:lnTo>
                  <a:pt x="208" y="0"/>
                </a:lnTo>
                <a:lnTo>
                  <a:pt x="126" y="11"/>
                </a:lnTo>
                <a:lnTo>
                  <a:pt x="99" y="0"/>
                </a:lnTo>
                <a:lnTo>
                  <a:pt x="87" y="19"/>
                </a:lnTo>
                <a:lnTo>
                  <a:pt x="74" y="78"/>
                </a:lnTo>
                <a:lnTo>
                  <a:pt x="54" y="98"/>
                </a:lnTo>
                <a:lnTo>
                  <a:pt x="49" y="122"/>
                </a:lnTo>
                <a:lnTo>
                  <a:pt x="30" y="134"/>
                </a:lnTo>
                <a:lnTo>
                  <a:pt x="9" y="133"/>
                </a:lnTo>
                <a:lnTo>
                  <a:pt x="0" y="147"/>
                </a:lnTo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5" name="Freeform 812">
            <a:extLst>
              <a:ext uri="{FF2B5EF4-FFF2-40B4-BE49-F238E27FC236}">
                <a16:creationId xmlns:a16="http://schemas.microsoft.com/office/drawing/2014/main" id="{7F5CF62C-29C7-4BCB-108A-829BA1B3C1D3}"/>
              </a:ext>
            </a:extLst>
          </p:cNvPr>
          <p:cNvSpPr>
            <a:spLocks/>
          </p:cNvSpPr>
          <p:nvPr/>
        </p:nvSpPr>
        <p:spPr bwMode="auto">
          <a:xfrm>
            <a:off x="4557441" y="4807227"/>
            <a:ext cx="37760" cy="20041"/>
          </a:xfrm>
          <a:custGeom>
            <a:avLst/>
            <a:gdLst>
              <a:gd name="T0" fmla="*/ 0 w 33"/>
              <a:gd name="T1" fmla="*/ 9 h 18"/>
              <a:gd name="T2" fmla="*/ 0 w 33"/>
              <a:gd name="T3" fmla="*/ 9 h 18"/>
              <a:gd name="T4" fmla="*/ 11 w 33"/>
              <a:gd name="T5" fmla="*/ 17 h 18"/>
              <a:gd name="T6" fmla="*/ 32 w 33"/>
              <a:gd name="T7" fmla="*/ 0 h 18"/>
              <a:gd name="T8" fmla="*/ 0 w 33"/>
              <a:gd name="T9" fmla="*/ 9 h 18"/>
              <a:gd name="T10" fmla="*/ 0 w 33"/>
              <a:gd name="T11" fmla="*/ 9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"/>
              <a:gd name="T19" fmla="*/ 0 h 18"/>
              <a:gd name="T20" fmla="*/ 33 w 33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" h="18">
                <a:moveTo>
                  <a:pt x="0" y="9"/>
                </a:moveTo>
                <a:lnTo>
                  <a:pt x="0" y="9"/>
                </a:lnTo>
                <a:lnTo>
                  <a:pt x="11" y="17"/>
                </a:lnTo>
                <a:lnTo>
                  <a:pt x="32" y="0"/>
                </a:lnTo>
                <a:lnTo>
                  <a:pt x="0" y="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6" name="Freeform 813">
            <a:extLst>
              <a:ext uri="{FF2B5EF4-FFF2-40B4-BE49-F238E27FC236}">
                <a16:creationId xmlns:a16="http://schemas.microsoft.com/office/drawing/2014/main" id="{B75CE39D-8628-862C-201F-4C0CF83634DF}"/>
              </a:ext>
            </a:extLst>
          </p:cNvPr>
          <p:cNvSpPr>
            <a:spLocks/>
          </p:cNvSpPr>
          <p:nvPr/>
        </p:nvSpPr>
        <p:spPr bwMode="auto">
          <a:xfrm>
            <a:off x="4066555" y="5180206"/>
            <a:ext cx="43481" cy="94637"/>
          </a:xfrm>
          <a:custGeom>
            <a:avLst/>
            <a:gdLst>
              <a:gd name="T0" fmla="*/ 0 w 38"/>
              <a:gd name="T1" fmla="*/ 21 h 85"/>
              <a:gd name="T2" fmla="*/ 0 w 38"/>
              <a:gd name="T3" fmla="*/ 21 h 85"/>
              <a:gd name="T4" fmla="*/ 14 w 38"/>
              <a:gd name="T5" fmla="*/ 84 h 85"/>
              <a:gd name="T6" fmla="*/ 26 w 38"/>
              <a:gd name="T7" fmla="*/ 83 h 85"/>
              <a:gd name="T8" fmla="*/ 37 w 38"/>
              <a:gd name="T9" fmla="*/ 10 h 85"/>
              <a:gd name="T10" fmla="*/ 26 w 38"/>
              <a:gd name="T11" fmla="*/ 0 h 85"/>
              <a:gd name="T12" fmla="*/ 19 w 38"/>
              <a:gd name="T13" fmla="*/ 7 h 85"/>
              <a:gd name="T14" fmla="*/ 0 w 38"/>
              <a:gd name="T15" fmla="*/ 21 h 85"/>
              <a:gd name="T16" fmla="*/ 0 w 38"/>
              <a:gd name="T17" fmla="*/ 21 h 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"/>
              <a:gd name="T28" fmla="*/ 0 h 85"/>
              <a:gd name="T29" fmla="*/ 38 w 38"/>
              <a:gd name="T30" fmla="*/ 85 h 8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" h="85">
                <a:moveTo>
                  <a:pt x="0" y="21"/>
                </a:moveTo>
                <a:lnTo>
                  <a:pt x="0" y="21"/>
                </a:lnTo>
                <a:lnTo>
                  <a:pt x="14" y="84"/>
                </a:lnTo>
                <a:lnTo>
                  <a:pt x="26" y="83"/>
                </a:lnTo>
                <a:lnTo>
                  <a:pt x="37" y="10"/>
                </a:lnTo>
                <a:lnTo>
                  <a:pt x="26" y="0"/>
                </a:lnTo>
                <a:lnTo>
                  <a:pt x="19" y="7"/>
                </a:lnTo>
                <a:lnTo>
                  <a:pt x="0" y="21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7" name="Freeform 814">
            <a:extLst>
              <a:ext uri="{FF2B5EF4-FFF2-40B4-BE49-F238E27FC236}">
                <a16:creationId xmlns:a16="http://schemas.microsoft.com/office/drawing/2014/main" id="{20462A77-9F6A-87E3-841D-A94B7F72043F}"/>
              </a:ext>
            </a:extLst>
          </p:cNvPr>
          <p:cNvSpPr>
            <a:spLocks/>
          </p:cNvSpPr>
          <p:nvPr/>
        </p:nvSpPr>
        <p:spPr bwMode="auto">
          <a:xfrm>
            <a:off x="4199289" y="5334964"/>
            <a:ext cx="29751" cy="20041"/>
          </a:xfrm>
          <a:custGeom>
            <a:avLst/>
            <a:gdLst>
              <a:gd name="T0" fmla="*/ 0 w 26"/>
              <a:gd name="T1" fmla="*/ 17 h 18"/>
              <a:gd name="T2" fmla="*/ 0 w 26"/>
              <a:gd name="T3" fmla="*/ 17 h 18"/>
              <a:gd name="T4" fmla="*/ 3 w 26"/>
              <a:gd name="T5" fmla="*/ 1 h 18"/>
              <a:gd name="T6" fmla="*/ 25 w 26"/>
              <a:gd name="T7" fmla="*/ 0 h 18"/>
              <a:gd name="T8" fmla="*/ 25 w 26"/>
              <a:gd name="T9" fmla="*/ 15 h 18"/>
              <a:gd name="T10" fmla="*/ 0 w 26"/>
              <a:gd name="T11" fmla="*/ 17 h 18"/>
              <a:gd name="T12" fmla="*/ 0 w 26"/>
              <a:gd name="T13" fmla="*/ 17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6"/>
              <a:gd name="T22" fmla="*/ 0 h 18"/>
              <a:gd name="T23" fmla="*/ 26 w 26"/>
              <a:gd name="T24" fmla="*/ 18 h 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6" h="18">
                <a:moveTo>
                  <a:pt x="0" y="17"/>
                </a:moveTo>
                <a:lnTo>
                  <a:pt x="0" y="17"/>
                </a:lnTo>
                <a:lnTo>
                  <a:pt x="3" y="1"/>
                </a:lnTo>
                <a:lnTo>
                  <a:pt x="25" y="0"/>
                </a:lnTo>
                <a:lnTo>
                  <a:pt x="25" y="15"/>
                </a:lnTo>
                <a:lnTo>
                  <a:pt x="0" y="1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8" name="Freeform 815">
            <a:extLst>
              <a:ext uri="{FF2B5EF4-FFF2-40B4-BE49-F238E27FC236}">
                <a16:creationId xmlns:a16="http://schemas.microsoft.com/office/drawing/2014/main" id="{B2BD3A54-ED3C-7D48-35AA-66E7258A2940}"/>
              </a:ext>
            </a:extLst>
          </p:cNvPr>
          <p:cNvSpPr>
            <a:spLocks/>
          </p:cNvSpPr>
          <p:nvPr/>
        </p:nvSpPr>
        <p:spPr bwMode="auto">
          <a:xfrm>
            <a:off x="4566595" y="5093363"/>
            <a:ext cx="236861" cy="223787"/>
          </a:xfrm>
          <a:custGeom>
            <a:avLst/>
            <a:gdLst>
              <a:gd name="T0" fmla="*/ 0 w 207"/>
              <a:gd name="T1" fmla="*/ 140 h 201"/>
              <a:gd name="T2" fmla="*/ 0 w 207"/>
              <a:gd name="T3" fmla="*/ 140 h 201"/>
              <a:gd name="T4" fmla="*/ 16 w 207"/>
              <a:gd name="T5" fmla="*/ 129 h 201"/>
              <a:gd name="T6" fmla="*/ 17 w 207"/>
              <a:gd name="T7" fmla="*/ 105 h 201"/>
              <a:gd name="T8" fmla="*/ 44 w 207"/>
              <a:gd name="T9" fmla="*/ 72 h 201"/>
              <a:gd name="T10" fmla="*/ 55 w 207"/>
              <a:gd name="T11" fmla="*/ 13 h 201"/>
              <a:gd name="T12" fmla="*/ 76 w 207"/>
              <a:gd name="T13" fmla="*/ 0 h 201"/>
              <a:gd name="T14" fmla="*/ 92 w 207"/>
              <a:gd name="T15" fmla="*/ 40 h 201"/>
              <a:gd name="T16" fmla="*/ 137 w 207"/>
              <a:gd name="T17" fmla="*/ 74 h 201"/>
              <a:gd name="T18" fmla="*/ 121 w 207"/>
              <a:gd name="T19" fmla="*/ 95 h 201"/>
              <a:gd name="T20" fmla="*/ 136 w 207"/>
              <a:gd name="T21" fmla="*/ 100 h 201"/>
              <a:gd name="T22" fmla="*/ 152 w 207"/>
              <a:gd name="T23" fmla="*/ 124 h 201"/>
              <a:gd name="T24" fmla="*/ 206 w 207"/>
              <a:gd name="T25" fmla="*/ 138 h 201"/>
              <a:gd name="T26" fmla="*/ 165 w 207"/>
              <a:gd name="T27" fmla="*/ 179 h 201"/>
              <a:gd name="T28" fmla="*/ 122 w 207"/>
              <a:gd name="T29" fmla="*/ 194 h 201"/>
              <a:gd name="T30" fmla="*/ 83 w 207"/>
              <a:gd name="T31" fmla="*/ 200 h 201"/>
              <a:gd name="T32" fmla="*/ 39 w 207"/>
              <a:gd name="T33" fmla="*/ 185 h 201"/>
              <a:gd name="T34" fmla="*/ 24 w 207"/>
              <a:gd name="T35" fmla="*/ 156 h 201"/>
              <a:gd name="T36" fmla="*/ 0 w 207"/>
              <a:gd name="T37" fmla="*/ 140 h 201"/>
              <a:gd name="T38" fmla="*/ 0 w 207"/>
              <a:gd name="T39" fmla="*/ 140 h 201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07"/>
              <a:gd name="T61" fmla="*/ 0 h 201"/>
              <a:gd name="T62" fmla="*/ 207 w 207"/>
              <a:gd name="T63" fmla="*/ 201 h 201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07" h="201">
                <a:moveTo>
                  <a:pt x="0" y="140"/>
                </a:moveTo>
                <a:lnTo>
                  <a:pt x="0" y="140"/>
                </a:lnTo>
                <a:lnTo>
                  <a:pt x="16" y="129"/>
                </a:lnTo>
                <a:lnTo>
                  <a:pt x="17" y="105"/>
                </a:lnTo>
                <a:lnTo>
                  <a:pt x="44" y="72"/>
                </a:lnTo>
                <a:lnTo>
                  <a:pt x="55" y="13"/>
                </a:lnTo>
                <a:lnTo>
                  <a:pt x="76" y="0"/>
                </a:lnTo>
                <a:lnTo>
                  <a:pt x="92" y="40"/>
                </a:lnTo>
                <a:lnTo>
                  <a:pt x="137" y="74"/>
                </a:lnTo>
                <a:lnTo>
                  <a:pt x="121" y="95"/>
                </a:lnTo>
                <a:lnTo>
                  <a:pt x="136" y="100"/>
                </a:lnTo>
                <a:lnTo>
                  <a:pt x="152" y="124"/>
                </a:lnTo>
                <a:lnTo>
                  <a:pt x="206" y="138"/>
                </a:lnTo>
                <a:lnTo>
                  <a:pt x="165" y="179"/>
                </a:lnTo>
                <a:lnTo>
                  <a:pt x="122" y="194"/>
                </a:lnTo>
                <a:lnTo>
                  <a:pt x="83" y="200"/>
                </a:lnTo>
                <a:lnTo>
                  <a:pt x="39" y="185"/>
                </a:lnTo>
                <a:lnTo>
                  <a:pt x="24" y="156"/>
                </a:lnTo>
                <a:lnTo>
                  <a:pt x="0" y="14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9" name="Freeform 816">
            <a:extLst>
              <a:ext uri="{FF2B5EF4-FFF2-40B4-BE49-F238E27FC236}">
                <a16:creationId xmlns:a16="http://schemas.microsoft.com/office/drawing/2014/main" id="{F0657B02-43F4-9DCB-2370-92CC3342A5ED}"/>
              </a:ext>
            </a:extLst>
          </p:cNvPr>
          <p:cNvSpPr>
            <a:spLocks/>
          </p:cNvSpPr>
          <p:nvPr/>
        </p:nvSpPr>
        <p:spPr bwMode="auto">
          <a:xfrm>
            <a:off x="4705050" y="5175752"/>
            <a:ext cx="25174" cy="30061"/>
          </a:xfrm>
          <a:custGeom>
            <a:avLst/>
            <a:gdLst>
              <a:gd name="T0" fmla="*/ 0 w 22"/>
              <a:gd name="T1" fmla="*/ 21 h 27"/>
              <a:gd name="T2" fmla="*/ 0 w 22"/>
              <a:gd name="T3" fmla="*/ 21 h 27"/>
              <a:gd name="T4" fmla="*/ 15 w 22"/>
              <a:gd name="T5" fmla="*/ 26 h 27"/>
              <a:gd name="T6" fmla="*/ 21 w 22"/>
              <a:gd name="T7" fmla="*/ 18 h 27"/>
              <a:gd name="T8" fmla="*/ 10 w 22"/>
              <a:gd name="T9" fmla="*/ 16 h 27"/>
              <a:gd name="T10" fmla="*/ 21 w 22"/>
              <a:gd name="T11" fmla="*/ 10 h 27"/>
              <a:gd name="T12" fmla="*/ 16 w 22"/>
              <a:gd name="T13" fmla="*/ 0 h 27"/>
              <a:gd name="T14" fmla="*/ 0 w 22"/>
              <a:gd name="T15" fmla="*/ 21 h 27"/>
              <a:gd name="T16" fmla="*/ 0 w 22"/>
              <a:gd name="T17" fmla="*/ 21 h 2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2"/>
              <a:gd name="T28" fmla="*/ 0 h 27"/>
              <a:gd name="T29" fmla="*/ 22 w 22"/>
              <a:gd name="T30" fmla="*/ 27 h 2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2" h="27">
                <a:moveTo>
                  <a:pt x="0" y="21"/>
                </a:moveTo>
                <a:lnTo>
                  <a:pt x="0" y="21"/>
                </a:lnTo>
                <a:lnTo>
                  <a:pt x="15" y="26"/>
                </a:lnTo>
                <a:lnTo>
                  <a:pt x="21" y="18"/>
                </a:lnTo>
                <a:lnTo>
                  <a:pt x="10" y="16"/>
                </a:lnTo>
                <a:lnTo>
                  <a:pt x="21" y="10"/>
                </a:lnTo>
                <a:lnTo>
                  <a:pt x="16" y="0"/>
                </a:lnTo>
                <a:lnTo>
                  <a:pt x="0" y="21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0" name="Freeform 817">
            <a:extLst>
              <a:ext uri="{FF2B5EF4-FFF2-40B4-BE49-F238E27FC236}">
                <a16:creationId xmlns:a16="http://schemas.microsoft.com/office/drawing/2014/main" id="{B6ACE187-F838-5574-CBD9-C2063C157C19}"/>
              </a:ext>
            </a:extLst>
          </p:cNvPr>
          <p:cNvSpPr>
            <a:spLocks/>
          </p:cNvSpPr>
          <p:nvPr/>
        </p:nvSpPr>
        <p:spPr bwMode="auto">
          <a:xfrm>
            <a:off x="4187846" y="5334964"/>
            <a:ext cx="88108" cy="94637"/>
          </a:xfrm>
          <a:custGeom>
            <a:avLst/>
            <a:gdLst>
              <a:gd name="T0" fmla="*/ 0 w 77"/>
              <a:gd name="T1" fmla="*/ 40 h 85"/>
              <a:gd name="T2" fmla="*/ 0 w 77"/>
              <a:gd name="T3" fmla="*/ 40 h 85"/>
              <a:gd name="T4" fmla="*/ 9 w 77"/>
              <a:gd name="T5" fmla="*/ 27 h 85"/>
              <a:gd name="T6" fmla="*/ 14 w 77"/>
              <a:gd name="T7" fmla="*/ 28 h 85"/>
              <a:gd name="T8" fmla="*/ 10 w 77"/>
              <a:gd name="T9" fmla="*/ 17 h 85"/>
              <a:gd name="T10" fmla="*/ 35 w 77"/>
              <a:gd name="T11" fmla="*/ 15 h 85"/>
              <a:gd name="T12" fmla="*/ 35 w 77"/>
              <a:gd name="T13" fmla="*/ 0 h 85"/>
              <a:gd name="T14" fmla="*/ 63 w 77"/>
              <a:gd name="T15" fmla="*/ 1 h 85"/>
              <a:gd name="T16" fmla="*/ 62 w 77"/>
              <a:gd name="T17" fmla="*/ 13 h 85"/>
              <a:gd name="T18" fmla="*/ 76 w 77"/>
              <a:gd name="T19" fmla="*/ 15 h 85"/>
              <a:gd name="T20" fmla="*/ 72 w 77"/>
              <a:gd name="T21" fmla="*/ 61 h 85"/>
              <a:gd name="T22" fmla="*/ 54 w 77"/>
              <a:gd name="T23" fmla="*/ 56 h 85"/>
              <a:gd name="T24" fmla="*/ 33 w 77"/>
              <a:gd name="T25" fmla="*/ 84 h 85"/>
              <a:gd name="T26" fmla="*/ 0 w 77"/>
              <a:gd name="T27" fmla="*/ 40 h 85"/>
              <a:gd name="T28" fmla="*/ 0 w 77"/>
              <a:gd name="T29" fmla="*/ 40 h 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77"/>
              <a:gd name="T46" fmla="*/ 0 h 85"/>
              <a:gd name="T47" fmla="*/ 77 w 77"/>
              <a:gd name="T48" fmla="*/ 85 h 8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77" h="85">
                <a:moveTo>
                  <a:pt x="0" y="40"/>
                </a:moveTo>
                <a:lnTo>
                  <a:pt x="0" y="40"/>
                </a:lnTo>
                <a:lnTo>
                  <a:pt x="9" y="27"/>
                </a:lnTo>
                <a:lnTo>
                  <a:pt x="14" y="28"/>
                </a:lnTo>
                <a:lnTo>
                  <a:pt x="10" y="17"/>
                </a:lnTo>
                <a:lnTo>
                  <a:pt x="35" y="15"/>
                </a:lnTo>
                <a:lnTo>
                  <a:pt x="35" y="0"/>
                </a:lnTo>
                <a:lnTo>
                  <a:pt x="63" y="1"/>
                </a:lnTo>
                <a:lnTo>
                  <a:pt x="62" y="13"/>
                </a:lnTo>
                <a:lnTo>
                  <a:pt x="76" y="15"/>
                </a:lnTo>
                <a:lnTo>
                  <a:pt x="72" y="61"/>
                </a:lnTo>
                <a:lnTo>
                  <a:pt x="54" y="56"/>
                </a:lnTo>
                <a:lnTo>
                  <a:pt x="33" y="84"/>
                </a:lnTo>
                <a:lnTo>
                  <a:pt x="0" y="4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1" name="Freeform 818">
            <a:extLst>
              <a:ext uri="{FF2B5EF4-FFF2-40B4-BE49-F238E27FC236}">
                <a16:creationId xmlns:a16="http://schemas.microsoft.com/office/drawing/2014/main" id="{6B1C8BB9-915E-1286-E694-A8B170B5ED2F}"/>
              </a:ext>
            </a:extLst>
          </p:cNvPr>
          <p:cNvSpPr>
            <a:spLocks/>
          </p:cNvSpPr>
          <p:nvPr/>
        </p:nvSpPr>
        <p:spPr bwMode="auto">
          <a:xfrm>
            <a:off x="3790789" y="5162392"/>
            <a:ext cx="48059" cy="8907"/>
          </a:xfrm>
          <a:custGeom>
            <a:avLst/>
            <a:gdLst>
              <a:gd name="T0" fmla="*/ 0 w 42"/>
              <a:gd name="T1" fmla="*/ 7 h 8"/>
              <a:gd name="T2" fmla="*/ 0 w 42"/>
              <a:gd name="T3" fmla="*/ 7 h 8"/>
              <a:gd name="T4" fmla="*/ 2 w 42"/>
              <a:gd name="T5" fmla="*/ 0 h 8"/>
              <a:gd name="T6" fmla="*/ 41 w 42"/>
              <a:gd name="T7" fmla="*/ 2 h 8"/>
              <a:gd name="T8" fmla="*/ 0 w 42"/>
              <a:gd name="T9" fmla="*/ 7 h 8"/>
              <a:gd name="T10" fmla="*/ 0 w 42"/>
              <a:gd name="T11" fmla="*/ 7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2"/>
              <a:gd name="T19" fmla="*/ 0 h 8"/>
              <a:gd name="T20" fmla="*/ 42 w 42"/>
              <a:gd name="T21" fmla="*/ 8 h 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2" h="8">
                <a:moveTo>
                  <a:pt x="0" y="7"/>
                </a:moveTo>
                <a:lnTo>
                  <a:pt x="0" y="7"/>
                </a:lnTo>
                <a:lnTo>
                  <a:pt x="2" y="0"/>
                </a:lnTo>
                <a:lnTo>
                  <a:pt x="41" y="2"/>
                </a:lnTo>
                <a:lnTo>
                  <a:pt x="0" y="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2" name="Freeform 819">
            <a:extLst>
              <a:ext uri="{FF2B5EF4-FFF2-40B4-BE49-F238E27FC236}">
                <a16:creationId xmlns:a16="http://schemas.microsoft.com/office/drawing/2014/main" id="{ED161848-A203-E01C-48D0-AC429E388EC6}"/>
              </a:ext>
            </a:extLst>
          </p:cNvPr>
          <p:cNvSpPr>
            <a:spLocks/>
          </p:cNvSpPr>
          <p:nvPr/>
        </p:nvSpPr>
        <p:spPr bwMode="auto">
          <a:xfrm>
            <a:off x="4004766" y="5199133"/>
            <a:ext cx="67511" cy="99090"/>
          </a:xfrm>
          <a:custGeom>
            <a:avLst/>
            <a:gdLst>
              <a:gd name="T0" fmla="*/ 0 w 59"/>
              <a:gd name="T1" fmla="*/ 83 h 89"/>
              <a:gd name="T2" fmla="*/ 0 w 59"/>
              <a:gd name="T3" fmla="*/ 83 h 89"/>
              <a:gd name="T4" fmla="*/ 5 w 59"/>
              <a:gd name="T5" fmla="*/ 23 h 89"/>
              <a:gd name="T6" fmla="*/ 3 w 59"/>
              <a:gd name="T7" fmla="*/ 4 h 89"/>
              <a:gd name="T8" fmla="*/ 39 w 59"/>
              <a:gd name="T9" fmla="*/ 0 h 89"/>
              <a:gd name="T10" fmla="*/ 58 w 59"/>
              <a:gd name="T11" fmla="*/ 70 h 89"/>
              <a:gd name="T12" fmla="*/ 15 w 59"/>
              <a:gd name="T13" fmla="*/ 88 h 89"/>
              <a:gd name="T14" fmla="*/ 0 w 59"/>
              <a:gd name="T15" fmla="*/ 83 h 89"/>
              <a:gd name="T16" fmla="*/ 0 w 59"/>
              <a:gd name="T17" fmla="*/ 83 h 8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89"/>
              <a:gd name="T29" fmla="*/ 59 w 59"/>
              <a:gd name="T30" fmla="*/ 89 h 8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89">
                <a:moveTo>
                  <a:pt x="0" y="83"/>
                </a:moveTo>
                <a:lnTo>
                  <a:pt x="0" y="83"/>
                </a:lnTo>
                <a:lnTo>
                  <a:pt x="5" y="23"/>
                </a:lnTo>
                <a:lnTo>
                  <a:pt x="3" y="4"/>
                </a:lnTo>
                <a:lnTo>
                  <a:pt x="39" y="0"/>
                </a:lnTo>
                <a:lnTo>
                  <a:pt x="58" y="70"/>
                </a:lnTo>
                <a:lnTo>
                  <a:pt x="15" y="88"/>
                </a:lnTo>
                <a:lnTo>
                  <a:pt x="0" y="8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3" name="Freeform 820">
            <a:extLst>
              <a:ext uri="{FF2B5EF4-FFF2-40B4-BE49-F238E27FC236}">
                <a16:creationId xmlns:a16="http://schemas.microsoft.com/office/drawing/2014/main" id="{18022971-03B1-6630-044C-3321B496DCCC}"/>
              </a:ext>
            </a:extLst>
          </p:cNvPr>
          <p:cNvSpPr>
            <a:spLocks/>
          </p:cNvSpPr>
          <p:nvPr/>
        </p:nvSpPr>
        <p:spPr bwMode="auto">
          <a:xfrm>
            <a:off x="3818252" y="5175752"/>
            <a:ext cx="115570" cy="82389"/>
          </a:xfrm>
          <a:custGeom>
            <a:avLst/>
            <a:gdLst>
              <a:gd name="T0" fmla="*/ 0 w 101"/>
              <a:gd name="T1" fmla="*/ 25 h 74"/>
              <a:gd name="T2" fmla="*/ 0 w 101"/>
              <a:gd name="T3" fmla="*/ 25 h 74"/>
              <a:gd name="T4" fmla="*/ 17 w 101"/>
              <a:gd name="T5" fmla="*/ 14 h 74"/>
              <a:gd name="T6" fmla="*/ 17 w 101"/>
              <a:gd name="T7" fmla="*/ 0 h 74"/>
              <a:gd name="T8" fmla="*/ 50 w 101"/>
              <a:gd name="T9" fmla="*/ 3 h 74"/>
              <a:gd name="T10" fmla="*/ 59 w 101"/>
              <a:gd name="T11" fmla="*/ 10 h 74"/>
              <a:gd name="T12" fmla="*/ 82 w 101"/>
              <a:gd name="T13" fmla="*/ 2 h 74"/>
              <a:gd name="T14" fmla="*/ 96 w 101"/>
              <a:gd name="T15" fmla="*/ 35 h 74"/>
              <a:gd name="T16" fmla="*/ 100 w 101"/>
              <a:gd name="T17" fmla="*/ 59 h 74"/>
              <a:gd name="T18" fmla="*/ 91 w 101"/>
              <a:gd name="T19" fmla="*/ 58 h 74"/>
              <a:gd name="T20" fmla="*/ 89 w 101"/>
              <a:gd name="T21" fmla="*/ 71 h 74"/>
              <a:gd name="T22" fmla="*/ 75 w 101"/>
              <a:gd name="T23" fmla="*/ 73 h 74"/>
              <a:gd name="T24" fmla="*/ 74 w 101"/>
              <a:gd name="T25" fmla="*/ 59 h 74"/>
              <a:gd name="T26" fmla="*/ 66 w 101"/>
              <a:gd name="T27" fmla="*/ 59 h 74"/>
              <a:gd name="T28" fmla="*/ 52 w 101"/>
              <a:gd name="T29" fmla="*/ 38 h 74"/>
              <a:gd name="T30" fmla="*/ 23 w 101"/>
              <a:gd name="T31" fmla="*/ 50 h 74"/>
              <a:gd name="T32" fmla="*/ 0 w 101"/>
              <a:gd name="T33" fmla="*/ 25 h 74"/>
              <a:gd name="T34" fmla="*/ 0 w 101"/>
              <a:gd name="T35" fmla="*/ 25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01"/>
              <a:gd name="T55" fmla="*/ 0 h 74"/>
              <a:gd name="T56" fmla="*/ 101 w 101"/>
              <a:gd name="T57" fmla="*/ 74 h 7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01" h="74">
                <a:moveTo>
                  <a:pt x="0" y="25"/>
                </a:moveTo>
                <a:lnTo>
                  <a:pt x="0" y="25"/>
                </a:lnTo>
                <a:lnTo>
                  <a:pt x="17" y="14"/>
                </a:lnTo>
                <a:lnTo>
                  <a:pt x="17" y="0"/>
                </a:lnTo>
                <a:lnTo>
                  <a:pt x="50" y="3"/>
                </a:lnTo>
                <a:lnTo>
                  <a:pt x="59" y="10"/>
                </a:lnTo>
                <a:lnTo>
                  <a:pt x="82" y="2"/>
                </a:lnTo>
                <a:lnTo>
                  <a:pt x="96" y="35"/>
                </a:lnTo>
                <a:lnTo>
                  <a:pt x="100" y="59"/>
                </a:lnTo>
                <a:lnTo>
                  <a:pt x="91" y="58"/>
                </a:lnTo>
                <a:lnTo>
                  <a:pt x="89" y="71"/>
                </a:lnTo>
                <a:lnTo>
                  <a:pt x="75" y="73"/>
                </a:lnTo>
                <a:lnTo>
                  <a:pt x="74" y="59"/>
                </a:lnTo>
                <a:lnTo>
                  <a:pt x="66" y="59"/>
                </a:lnTo>
                <a:lnTo>
                  <a:pt x="52" y="38"/>
                </a:lnTo>
                <a:lnTo>
                  <a:pt x="23" y="50"/>
                </a:lnTo>
                <a:lnTo>
                  <a:pt x="0" y="2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4" name="Freeform 821">
            <a:extLst>
              <a:ext uri="{FF2B5EF4-FFF2-40B4-BE49-F238E27FC236}">
                <a16:creationId xmlns:a16="http://schemas.microsoft.com/office/drawing/2014/main" id="{7BF679B4-E504-AF7A-3860-59888BB2B7B9}"/>
              </a:ext>
            </a:extLst>
          </p:cNvPr>
          <p:cNvSpPr>
            <a:spLocks/>
          </p:cNvSpPr>
          <p:nvPr/>
        </p:nvSpPr>
        <p:spPr bwMode="auto">
          <a:xfrm>
            <a:off x="4750820" y="4915224"/>
            <a:ext cx="29751" cy="8907"/>
          </a:xfrm>
          <a:custGeom>
            <a:avLst/>
            <a:gdLst>
              <a:gd name="T0" fmla="*/ 0 w 26"/>
              <a:gd name="T1" fmla="*/ 0 h 8"/>
              <a:gd name="T2" fmla="*/ 0 w 26"/>
              <a:gd name="T3" fmla="*/ 0 h 8"/>
              <a:gd name="T4" fmla="*/ 13 w 26"/>
              <a:gd name="T5" fmla="*/ 7 h 8"/>
              <a:gd name="T6" fmla="*/ 25 w 26"/>
              <a:gd name="T7" fmla="*/ 2 h 8"/>
              <a:gd name="T8" fmla="*/ 0 w 26"/>
              <a:gd name="T9" fmla="*/ 0 h 8"/>
              <a:gd name="T10" fmla="*/ 0 w 26"/>
              <a:gd name="T11" fmla="*/ 0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8"/>
              <a:gd name="T20" fmla="*/ 26 w 26"/>
              <a:gd name="T21" fmla="*/ 8 h 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8">
                <a:moveTo>
                  <a:pt x="0" y="0"/>
                </a:moveTo>
                <a:lnTo>
                  <a:pt x="0" y="0"/>
                </a:lnTo>
                <a:lnTo>
                  <a:pt x="13" y="7"/>
                </a:lnTo>
                <a:lnTo>
                  <a:pt x="25" y="2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5" name="Freeform 822">
            <a:extLst>
              <a:ext uri="{FF2B5EF4-FFF2-40B4-BE49-F238E27FC236}">
                <a16:creationId xmlns:a16="http://schemas.microsoft.com/office/drawing/2014/main" id="{6EE99133-481D-8DF1-C2E9-B179E33CE540}"/>
              </a:ext>
            </a:extLst>
          </p:cNvPr>
          <p:cNvSpPr>
            <a:spLocks/>
          </p:cNvSpPr>
          <p:nvPr/>
        </p:nvSpPr>
        <p:spPr bwMode="auto">
          <a:xfrm>
            <a:off x="4582615" y="4849535"/>
            <a:ext cx="25174" cy="64575"/>
          </a:xfrm>
          <a:custGeom>
            <a:avLst/>
            <a:gdLst>
              <a:gd name="T0" fmla="*/ 0 w 22"/>
              <a:gd name="T1" fmla="*/ 28 h 58"/>
              <a:gd name="T2" fmla="*/ 0 w 22"/>
              <a:gd name="T3" fmla="*/ 28 h 58"/>
              <a:gd name="T4" fmla="*/ 11 w 22"/>
              <a:gd name="T5" fmla="*/ 57 h 58"/>
              <a:gd name="T6" fmla="*/ 13 w 22"/>
              <a:gd name="T7" fmla="*/ 56 h 58"/>
              <a:gd name="T8" fmla="*/ 19 w 22"/>
              <a:gd name="T9" fmla="*/ 25 h 58"/>
              <a:gd name="T10" fmla="*/ 11 w 22"/>
              <a:gd name="T11" fmla="*/ 28 h 58"/>
              <a:gd name="T12" fmla="*/ 13 w 22"/>
              <a:gd name="T13" fmla="*/ 14 h 58"/>
              <a:gd name="T14" fmla="*/ 20 w 22"/>
              <a:gd name="T15" fmla="*/ 7 h 58"/>
              <a:gd name="T16" fmla="*/ 21 w 22"/>
              <a:gd name="T17" fmla="*/ 0 h 58"/>
              <a:gd name="T18" fmla="*/ 14 w 22"/>
              <a:gd name="T19" fmla="*/ 1 h 58"/>
              <a:gd name="T20" fmla="*/ 0 w 22"/>
              <a:gd name="T21" fmla="*/ 28 h 58"/>
              <a:gd name="T22" fmla="*/ 0 w 22"/>
              <a:gd name="T23" fmla="*/ 28 h 5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2"/>
              <a:gd name="T37" fmla="*/ 0 h 58"/>
              <a:gd name="T38" fmla="*/ 22 w 22"/>
              <a:gd name="T39" fmla="*/ 58 h 5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2" h="58">
                <a:moveTo>
                  <a:pt x="0" y="28"/>
                </a:moveTo>
                <a:lnTo>
                  <a:pt x="0" y="28"/>
                </a:lnTo>
                <a:lnTo>
                  <a:pt x="11" y="57"/>
                </a:lnTo>
                <a:lnTo>
                  <a:pt x="13" y="56"/>
                </a:lnTo>
                <a:lnTo>
                  <a:pt x="19" y="25"/>
                </a:lnTo>
                <a:lnTo>
                  <a:pt x="11" y="28"/>
                </a:lnTo>
                <a:lnTo>
                  <a:pt x="13" y="14"/>
                </a:lnTo>
                <a:lnTo>
                  <a:pt x="20" y="7"/>
                </a:lnTo>
                <a:lnTo>
                  <a:pt x="21" y="0"/>
                </a:lnTo>
                <a:lnTo>
                  <a:pt x="14" y="1"/>
                </a:lnTo>
                <a:lnTo>
                  <a:pt x="0" y="2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6" name="Freeform 823">
            <a:extLst>
              <a:ext uri="{FF2B5EF4-FFF2-40B4-BE49-F238E27FC236}">
                <a16:creationId xmlns:a16="http://schemas.microsoft.com/office/drawing/2014/main" id="{D643C828-D00D-0CFF-C812-362325BDBDD0}"/>
              </a:ext>
            </a:extLst>
          </p:cNvPr>
          <p:cNvSpPr>
            <a:spLocks/>
          </p:cNvSpPr>
          <p:nvPr/>
        </p:nvSpPr>
        <p:spPr bwMode="auto">
          <a:xfrm>
            <a:off x="3918946" y="5205813"/>
            <a:ext cx="92684" cy="96863"/>
          </a:xfrm>
          <a:custGeom>
            <a:avLst/>
            <a:gdLst>
              <a:gd name="T0" fmla="*/ 0 w 81"/>
              <a:gd name="T1" fmla="*/ 57 h 87"/>
              <a:gd name="T2" fmla="*/ 0 w 81"/>
              <a:gd name="T3" fmla="*/ 57 h 87"/>
              <a:gd name="T4" fmla="*/ 1 w 81"/>
              <a:gd name="T5" fmla="*/ 44 h 87"/>
              <a:gd name="T6" fmla="*/ 3 w 81"/>
              <a:gd name="T7" fmla="*/ 31 h 87"/>
              <a:gd name="T8" fmla="*/ 12 w 81"/>
              <a:gd name="T9" fmla="*/ 32 h 87"/>
              <a:gd name="T10" fmla="*/ 8 w 81"/>
              <a:gd name="T11" fmla="*/ 8 h 87"/>
              <a:gd name="T12" fmla="*/ 32 w 81"/>
              <a:gd name="T13" fmla="*/ 0 h 87"/>
              <a:gd name="T14" fmla="*/ 46 w 81"/>
              <a:gd name="T15" fmla="*/ 5 h 87"/>
              <a:gd name="T16" fmla="*/ 53 w 81"/>
              <a:gd name="T17" fmla="*/ 14 h 87"/>
              <a:gd name="T18" fmla="*/ 80 w 81"/>
              <a:gd name="T19" fmla="*/ 17 h 87"/>
              <a:gd name="T20" fmla="*/ 75 w 81"/>
              <a:gd name="T21" fmla="*/ 77 h 87"/>
              <a:gd name="T22" fmla="*/ 13 w 81"/>
              <a:gd name="T23" fmla="*/ 86 h 87"/>
              <a:gd name="T24" fmla="*/ 15 w 81"/>
              <a:gd name="T25" fmla="*/ 66 h 87"/>
              <a:gd name="T26" fmla="*/ 0 w 81"/>
              <a:gd name="T27" fmla="*/ 57 h 87"/>
              <a:gd name="T28" fmla="*/ 0 w 81"/>
              <a:gd name="T29" fmla="*/ 57 h 8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81"/>
              <a:gd name="T46" fmla="*/ 0 h 87"/>
              <a:gd name="T47" fmla="*/ 81 w 81"/>
              <a:gd name="T48" fmla="*/ 87 h 8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81" h="87">
                <a:moveTo>
                  <a:pt x="0" y="57"/>
                </a:moveTo>
                <a:lnTo>
                  <a:pt x="0" y="57"/>
                </a:lnTo>
                <a:lnTo>
                  <a:pt x="1" y="44"/>
                </a:lnTo>
                <a:lnTo>
                  <a:pt x="3" y="31"/>
                </a:lnTo>
                <a:lnTo>
                  <a:pt x="12" y="32"/>
                </a:lnTo>
                <a:lnTo>
                  <a:pt x="8" y="8"/>
                </a:lnTo>
                <a:lnTo>
                  <a:pt x="32" y="0"/>
                </a:lnTo>
                <a:lnTo>
                  <a:pt x="46" y="5"/>
                </a:lnTo>
                <a:lnTo>
                  <a:pt x="53" y="14"/>
                </a:lnTo>
                <a:lnTo>
                  <a:pt x="80" y="17"/>
                </a:lnTo>
                <a:lnTo>
                  <a:pt x="75" y="77"/>
                </a:lnTo>
                <a:lnTo>
                  <a:pt x="13" y="86"/>
                </a:lnTo>
                <a:lnTo>
                  <a:pt x="15" y="66"/>
                </a:lnTo>
                <a:lnTo>
                  <a:pt x="0" y="5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7" name="Freeform 824">
            <a:extLst>
              <a:ext uri="{FF2B5EF4-FFF2-40B4-BE49-F238E27FC236}">
                <a16:creationId xmlns:a16="http://schemas.microsoft.com/office/drawing/2014/main" id="{7119885A-77FA-FA42-C8E0-48908853A908}"/>
              </a:ext>
            </a:extLst>
          </p:cNvPr>
          <p:cNvSpPr>
            <a:spLocks/>
          </p:cNvSpPr>
          <p:nvPr/>
        </p:nvSpPr>
        <p:spPr bwMode="auto">
          <a:xfrm>
            <a:off x="4595201" y="4846195"/>
            <a:ext cx="68655" cy="72369"/>
          </a:xfrm>
          <a:custGeom>
            <a:avLst/>
            <a:gdLst>
              <a:gd name="T0" fmla="*/ 0 w 60"/>
              <a:gd name="T1" fmla="*/ 31 h 65"/>
              <a:gd name="T2" fmla="*/ 0 w 60"/>
              <a:gd name="T3" fmla="*/ 31 h 65"/>
              <a:gd name="T4" fmla="*/ 2 w 60"/>
              <a:gd name="T5" fmla="*/ 17 h 65"/>
              <a:gd name="T6" fmla="*/ 9 w 60"/>
              <a:gd name="T7" fmla="*/ 10 h 65"/>
              <a:gd name="T8" fmla="*/ 23 w 60"/>
              <a:gd name="T9" fmla="*/ 16 h 65"/>
              <a:gd name="T10" fmla="*/ 53 w 60"/>
              <a:gd name="T11" fmla="*/ 0 h 65"/>
              <a:gd name="T12" fmla="*/ 59 w 60"/>
              <a:gd name="T13" fmla="*/ 18 h 65"/>
              <a:gd name="T14" fmla="*/ 28 w 60"/>
              <a:gd name="T15" fmla="*/ 28 h 65"/>
              <a:gd name="T16" fmla="*/ 44 w 60"/>
              <a:gd name="T17" fmla="*/ 42 h 65"/>
              <a:gd name="T18" fmla="*/ 36 w 60"/>
              <a:gd name="T19" fmla="*/ 51 h 65"/>
              <a:gd name="T20" fmla="*/ 17 w 60"/>
              <a:gd name="T21" fmla="*/ 64 h 65"/>
              <a:gd name="T22" fmla="*/ 2 w 60"/>
              <a:gd name="T23" fmla="*/ 59 h 65"/>
              <a:gd name="T24" fmla="*/ 2 w 60"/>
              <a:gd name="T25" fmla="*/ 59 h 65"/>
              <a:gd name="T26" fmla="*/ 8 w 60"/>
              <a:gd name="T27" fmla="*/ 28 h 65"/>
              <a:gd name="T28" fmla="*/ 0 w 60"/>
              <a:gd name="T29" fmla="*/ 31 h 65"/>
              <a:gd name="T30" fmla="*/ 0 w 60"/>
              <a:gd name="T31" fmla="*/ 31 h 6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60"/>
              <a:gd name="T49" fmla="*/ 0 h 65"/>
              <a:gd name="T50" fmla="*/ 60 w 60"/>
              <a:gd name="T51" fmla="*/ 65 h 65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60" h="65">
                <a:moveTo>
                  <a:pt x="0" y="31"/>
                </a:moveTo>
                <a:lnTo>
                  <a:pt x="0" y="31"/>
                </a:lnTo>
                <a:lnTo>
                  <a:pt x="2" y="17"/>
                </a:lnTo>
                <a:lnTo>
                  <a:pt x="9" y="10"/>
                </a:lnTo>
                <a:lnTo>
                  <a:pt x="23" y="16"/>
                </a:lnTo>
                <a:lnTo>
                  <a:pt x="53" y="0"/>
                </a:lnTo>
                <a:lnTo>
                  <a:pt x="59" y="18"/>
                </a:lnTo>
                <a:lnTo>
                  <a:pt x="28" y="28"/>
                </a:lnTo>
                <a:lnTo>
                  <a:pt x="44" y="42"/>
                </a:lnTo>
                <a:lnTo>
                  <a:pt x="36" y="51"/>
                </a:lnTo>
                <a:lnTo>
                  <a:pt x="17" y="64"/>
                </a:lnTo>
                <a:lnTo>
                  <a:pt x="2" y="59"/>
                </a:lnTo>
                <a:lnTo>
                  <a:pt x="8" y="28"/>
                </a:lnTo>
                <a:lnTo>
                  <a:pt x="0" y="31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8" name="Freeform 825">
            <a:extLst>
              <a:ext uri="{FF2B5EF4-FFF2-40B4-BE49-F238E27FC236}">
                <a16:creationId xmlns:a16="http://schemas.microsoft.com/office/drawing/2014/main" id="{461AE8C8-AD8D-4E74-EBCC-B12ADFA0FBFD}"/>
              </a:ext>
            </a:extLst>
          </p:cNvPr>
          <p:cNvSpPr>
            <a:spLocks/>
          </p:cNvSpPr>
          <p:nvPr/>
        </p:nvSpPr>
        <p:spPr bwMode="auto">
          <a:xfrm>
            <a:off x="4582615" y="5299336"/>
            <a:ext cx="124724" cy="140284"/>
          </a:xfrm>
          <a:custGeom>
            <a:avLst/>
            <a:gdLst>
              <a:gd name="T0" fmla="*/ 0 w 109"/>
              <a:gd name="T1" fmla="*/ 8 h 126"/>
              <a:gd name="T2" fmla="*/ 0 w 109"/>
              <a:gd name="T3" fmla="*/ 8 h 126"/>
              <a:gd name="T4" fmla="*/ 15 w 109"/>
              <a:gd name="T5" fmla="*/ 34 h 126"/>
              <a:gd name="T6" fmla="*/ 0 w 109"/>
              <a:gd name="T7" fmla="*/ 59 h 126"/>
              <a:gd name="T8" fmla="*/ 11 w 109"/>
              <a:gd name="T9" fmla="*/ 66 h 126"/>
              <a:gd name="T10" fmla="*/ 3 w 109"/>
              <a:gd name="T11" fmla="*/ 75 h 126"/>
              <a:gd name="T12" fmla="*/ 74 w 109"/>
              <a:gd name="T13" fmla="*/ 125 h 126"/>
              <a:gd name="T14" fmla="*/ 104 w 109"/>
              <a:gd name="T15" fmla="*/ 85 h 126"/>
              <a:gd name="T16" fmla="*/ 97 w 109"/>
              <a:gd name="T17" fmla="*/ 74 h 126"/>
              <a:gd name="T18" fmla="*/ 97 w 109"/>
              <a:gd name="T19" fmla="*/ 23 h 126"/>
              <a:gd name="T20" fmla="*/ 108 w 109"/>
              <a:gd name="T21" fmla="*/ 9 h 126"/>
              <a:gd name="T22" fmla="*/ 69 w 109"/>
              <a:gd name="T23" fmla="*/ 15 h 126"/>
              <a:gd name="T24" fmla="*/ 25 w 109"/>
              <a:gd name="T25" fmla="*/ 0 h 126"/>
              <a:gd name="T26" fmla="*/ 0 w 109"/>
              <a:gd name="T27" fmla="*/ 8 h 126"/>
              <a:gd name="T28" fmla="*/ 0 w 109"/>
              <a:gd name="T29" fmla="*/ 8 h 1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09"/>
              <a:gd name="T46" fmla="*/ 0 h 126"/>
              <a:gd name="T47" fmla="*/ 109 w 109"/>
              <a:gd name="T48" fmla="*/ 126 h 12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09" h="126">
                <a:moveTo>
                  <a:pt x="0" y="8"/>
                </a:moveTo>
                <a:lnTo>
                  <a:pt x="0" y="8"/>
                </a:lnTo>
                <a:lnTo>
                  <a:pt x="15" y="34"/>
                </a:lnTo>
                <a:lnTo>
                  <a:pt x="0" y="59"/>
                </a:lnTo>
                <a:lnTo>
                  <a:pt x="11" y="66"/>
                </a:lnTo>
                <a:lnTo>
                  <a:pt x="3" y="75"/>
                </a:lnTo>
                <a:lnTo>
                  <a:pt x="74" y="125"/>
                </a:lnTo>
                <a:lnTo>
                  <a:pt x="104" y="85"/>
                </a:lnTo>
                <a:lnTo>
                  <a:pt x="97" y="74"/>
                </a:lnTo>
                <a:lnTo>
                  <a:pt x="97" y="23"/>
                </a:lnTo>
                <a:lnTo>
                  <a:pt x="108" y="9"/>
                </a:lnTo>
                <a:lnTo>
                  <a:pt x="69" y="15"/>
                </a:lnTo>
                <a:lnTo>
                  <a:pt x="25" y="0"/>
                </a:lnTo>
                <a:lnTo>
                  <a:pt x="0" y="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9" name="Freeform 826">
            <a:extLst>
              <a:ext uri="{FF2B5EF4-FFF2-40B4-BE49-F238E27FC236}">
                <a16:creationId xmlns:a16="http://schemas.microsoft.com/office/drawing/2014/main" id="{2CD4B987-5C14-E1BC-97BC-C410839E887D}"/>
              </a:ext>
            </a:extLst>
          </p:cNvPr>
          <p:cNvSpPr>
            <a:spLocks/>
          </p:cNvSpPr>
          <p:nvPr/>
        </p:nvSpPr>
        <p:spPr bwMode="auto">
          <a:xfrm>
            <a:off x="4779427" y="4902977"/>
            <a:ext cx="28607" cy="24494"/>
          </a:xfrm>
          <a:custGeom>
            <a:avLst/>
            <a:gdLst>
              <a:gd name="T0" fmla="*/ 0 w 25"/>
              <a:gd name="T1" fmla="*/ 13 h 22"/>
              <a:gd name="T2" fmla="*/ 0 w 25"/>
              <a:gd name="T3" fmla="*/ 13 h 22"/>
              <a:gd name="T4" fmla="*/ 20 w 25"/>
              <a:gd name="T5" fmla="*/ 0 h 22"/>
              <a:gd name="T6" fmla="*/ 24 w 25"/>
              <a:gd name="T7" fmla="*/ 21 h 22"/>
              <a:gd name="T8" fmla="*/ 0 w 25"/>
              <a:gd name="T9" fmla="*/ 13 h 22"/>
              <a:gd name="T10" fmla="*/ 0 w 25"/>
              <a:gd name="T11" fmla="*/ 13 h 2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"/>
              <a:gd name="T19" fmla="*/ 0 h 22"/>
              <a:gd name="T20" fmla="*/ 25 w 25"/>
              <a:gd name="T21" fmla="*/ 22 h 2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" h="22">
                <a:moveTo>
                  <a:pt x="0" y="13"/>
                </a:moveTo>
                <a:lnTo>
                  <a:pt x="0" y="13"/>
                </a:lnTo>
                <a:lnTo>
                  <a:pt x="20" y="0"/>
                </a:lnTo>
                <a:lnTo>
                  <a:pt x="24" y="21"/>
                </a:lnTo>
                <a:lnTo>
                  <a:pt x="0" y="1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0" name="Freeform 827">
            <a:extLst>
              <a:ext uri="{FF2B5EF4-FFF2-40B4-BE49-F238E27FC236}">
                <a16:creationId xmlns:a16="http://schemas.microsoft.com/office/drawing/2014/main" id="{6EAE06A1-7D62-9C60-32A8-1E73F1E6E27F}"/>
              </a:ext>
            </a:extLst>
          </p:cNvPr>
          <p:cNvSpPr>
            <a:spLocks/>
          </p:cNvSpPr>
          <p:nvPr/>
        </p:nvSpPr>
        <p:spPr bwMode="auto">
          <a:xfrm>
            <a:off x="4598634" y="4823927"/>
            <a:ext cx="25174" cy="27834"/>
          </a:xfrm>
          <a:custGeom>
            <a:avLst/>
            <a:gdLst>
              <a:gd name="T0" fmla="*/ 0 w 22"/>
              <a:gd name="T1" fmla="*/ 24 h 25"/>
              <a:gd name="T2" fmla="*/ 0 w 22"/>
              <a:gd name="T3" fmla="*/ 24 h 25"/>
              <a:gd name="T4" fmla="*/ 7 w 22"/>
              <a:gd name="T5" fmla="*/ 23 h 25"/>
              <a:gd name="T6" fmla="*/ 21 w 22"/>
              <a:gd name="T7" fmla="*/ 7 h 25"/>
              <a:gd name="T8" fmla="*/ 14 w 22"/>
              <a:gd name="T9" fmla="*/ 0 h 25"/>
              <a:gd name="T10" fmla="*/ 0 w 22"/>
              <a:gd name="T11" fmla="*/ 24 h 25"/>
              <a:gd name="T12" fmla="*/ 0 w 22"/>
              <a:gd name="T13" fmla="*/ 24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2"/>
              <a:gd name="T22" fmla="*/ 0 h 25"/>
              <a:gd name="T23" fmla="*/ 22 w 22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2" h="25">
                <a:moveTo>
                  <a:pt x="0" y="24"/>
                </a:moveTo>
                <a:lnTo>
                  <a:pt x="0" y="24"/>
                </a:lnTo>
                <a:lnTo>
                  <a:pt x="7" y="23"/>
                </a:lnTo>
                <a:lnTo>
                  <a:pt x="21" y="7"/>
                </a:lnTo>
                <a:lnTo>
                  <a:pt x="14" y="0"/>
                </a:lnTo>
                <a:lnTo>
                  <a:pt x="0" y="2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1" name="Freeform 828">
            <a:extLst>
              <a:ext uri="{FF2B5EF4-FFF2-40B4-BE49-F238E27FC236}">
                <a16:creationId xmlns:a16="http://schemas.microsoft.com/office/drawing/2014/main" id="{4077C6D6-F2BC-356B-7DF6-C6E42C386D1E}"/>
              </a:ext>
            </a:extLst>
          </p:cNvPr>
          <p:cNvSpPr>
            <a:spLocks/>
          </p:cNvSpPr>
          <p:nvPr/>
        </p:nvSpPr>
        <p:spPr bwMode="auto">
          <a:xfrm>
            <a:off x="3874320" y="5241441"/>
            <a:ext cx="62934" cy="61235"/>
          </a:xfrm>
          <a:custGeom>
            <a:avLst/>
            <a:gdLst>
              <a:gd name="T0" fmla="*/ 0 w 55"/>
              <a:gd name="T1" fmla="*/ 20 h 55"/>
              <a:gd name="T2" fmla="*/ 0 w 55"/>
              <a:gd name="T3" fmla="*/ 20 h 55"/>
              <a:gd name="T4" fmla="*/ 17 w 55"/>
              <a:gd name="T5" fmla="*/ 0 h 55"/>
              <a:gd name="T6" fmla="*/ 25 w 55"/>
              <a:gd name="T7" fmla="*/ 0 h 55"/>
              <a:gd name="T8" fmla="*/ 26 w 55"/>
              <a:gd name="T9" fmla="*/ 14 h 55"/>
              <a:gd name="T10" fmla="*/ 40 w 55"/>
              <a:gd name="T11" fmla="*/ 12 h 55"/>
              <a:gd name="T12" fmla="*/ 39 w 55"/>
              <a:gd name="T13" fmla="*/ 25 h 55"/>
              <a:gd name="T14" fmla="*/ 54 w 55"/>
              <a:gd name="T15" fmla="*/ 34 h 55"/>
              <a:gd name="T16" fmla="*/ 52 w 55"/>
              <a:gd name="T17" fmla="*/ 54 h 55"/>
              <a:gd name="T18" fmla="*/ 0 w 55"/>
              <a:gd name="T19" fmla="*/ 20 h 55"/>
              <a:gd name="T20" fmla="*/ 0 w 55"/>
              <a:gd name="T21" fmla="*/ 2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5"/>
              <a:gd name="T34" fmla="*/ 0 h 55"/>
              <a:gd name="T35" fmla="*/ 55 w 55"/>
              <a:gd name="T36" fmla="*/ 55 h 5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5" h="55">
                <a:moveTo>
                  <a:pt x="0" y="20"/>
                </a:moveTo>
                <a:lnTo>
                  <a:pt x="0" y="20"/>
                </a:lnTo>
                <a:lnTo>
                  <a:pt x="17" y="0"/>
                </a:lnTo>
                <a:lnTo>
                  <a:pt x="25" y="0"/>
                </a:lnTo>
                <a:lnTo>
                  <a:pt x="26" y="14"/>
                </a:lnTo>
                <a:lnTo>
                  <a:pt x="40" y="12"/>
                </a:lnTo>
                <a:lnTo>
                  <a:pt x="39" y="25"/>
                </a:lnTo>
                <a:lnTo>
                  <a:pt x="54" y="34"/>
                </a:lnTo>
                <a:lnTo>
                  <a:pt x="52" y="54"/>
                </a:lnTo>
                <a:lnTo>
                  <a:pt x="0" y="2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2" name="Freeform 829">
            <a:extLst>
              <a:ext uri="{FF2B5EF4-FFF2-40B4-BE49-F238E27FC236}">
                <a16:creationId xmlns:a16="http://schemas.microsoft.com/office/drawing/2014/main" id="{02582FEE-A4E3-01D1-D43A-B8B76E26E329}"/>
              </a:ext>
            </a:extLst>
          </p:cNvPr>
          <p:cNvSpPr>
            <a:spLocks/>
          </p:cNvSpPr>
          <p:nvPr/>
        </p:nvSpPr>
        <p:spPr bwMode="auto">
          <a:xfrm>
            <a:off x="4198145" y="4850649"/>
            <a:ext cx="244871" cy="221560"/>
          </a:xfrm>
          <a:custGeom>
            <a:avLst/>
            <a:gdLst>
              <a:gd name="T0" fmla="*/ 0 w 214"/>
              <a:gd name="T1" fmla="*/ 103 h 199"/>
              <a:gd name="T2" fmla="*/ 0 w 214"/>
              <a:gd name="T3" fmla="*/ 103 h 199"/>
              <a:gd name="T4" fmla="*/ 0 w 214"/>
              <a:gd name="T5" fmla="*/ 42 h 199"/>
              <a:gd name="T6" fmla="*/ 27 w 214"/>
              <a:gd name="T7" fmla="*/ 0 h 199"/>
              <a:gd name="T8" fmla="*/ 78 w 214"/>
              <a:gd name="T9" fmla="*/ 12 h 199"/>
              <a:gd name="T10" fmla="*/ 87 w 214"/>
              <a:gd name="T11" fmla="*/ 27 h 199"/>
              <a:gd name="T12" fmla="*/ 129 w 214"/>
              <a:gd name="T13" fmla="*/ 42 h 199"/>
              <a:gd name="T14" fmla="*/ 143 w 214"/>
              <a:gd name="T15" fmla="*/ 37 h 199"/>
              <a:gd name="T16" fmla="*/ 144 w 214"/>
              <a:gd name="T17" fmla="*/ 15 h 199"/>
              <a:gd name="T18" fmla="*/ 157 w 214"/>
              <a:gd name="T19" fmla="*/ 5 h 199"/>
              <a:gd name="T20" fmla="*/ 213 w 214"/>
              <a:gd name="T21" fmla="*/ 22 h 199"/>
              <a:gd name="T22" fmla="*/ 207 w 214"/>
              <a:gd name="T23" fmla="*/ 46 h 199"/>
              <a:gd name="T24" fmla="*/ 213 w 214"/>
              <a:gd name="T25" fmla="*/ 162 h 199"/>
              <a:gd name="T26" fmla="*/ 213 w 214"/>
              <a:gd name="T27" fmla="*/ 190 h 199"/>
              <a:gd name="T28" fmla="*/ 201 w 214"/>
              <a:gd name="T29" fmla="*/ 190 h 199"/>
              <a:gd name="T30" fmla="*/ 201 w 214"/>
              <a:gd name="T31" fmla="*/ 198 h 199"/>
              <a:gd name="T32" fmla="*/ 91 w 214"/>
              <a:gd name="T33" fmla="*/ 142 h 199"/>
              <a:gd name="T34" fmla="*/ 77 w 214"/>
              <a:gd name="T35" fmla="*/ 147 h 199"/>
              <a:gd name="T36" fmla="*/ 32 w 214"/>
              <a:gd name="T37" fmla="*/ 141 h 199"/>
              <a:gd name="T38" fmla="*/ 0 w 214"/>
              <a:gd name="T39" fmla="*/ 103 h 199"/>
              <a:gd name="T40" fmla="*/ 0 w 214"/>
              <a:gd name="T41" fmla="*/ 103 h 19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214"/>
              <a:gd name="T64" fmla="*/ 0 h 199"/>
              <a:gd name="T65" fmla="*/ 214 w 214"/>
              <a:gd name="T66" fmla="*/ 199 h 199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214" h="199">
                <a:moveTo>
                  <a:pt x="0" y="103"/>
                </a:moveTo>
                <a:lnTo>
                  <a:pt x="0" y="103"/>
                </a:lnTo>
                <a:lnTo>
                  <a:pt x="0" y="42"/>
                </a:lnTo>
                <a:lnTo>
                  <a:pt x="27" y="0"/>
                </a:lnTo>
                <a:lnTo>
                  <a:pt x="78" y="12"/>
                </a:lnTo>
                <a:lnTo>
                  <a:pt x="87" y="27"/>
                </a:lnTo>
                <a:lnTo>
                  <a:pt x="129" y="42"/>
                </a:lnTo>
                <a:lnTo>
                  <a:pt x="143" y="37"/>
                </a:lnTo>
                <a:lnTo>
                  <a:pt x="144" y="15"/>
                </a:lnTo>
                <a:lnTo>
                  <a:pt x="157" y="5"/>
                </a:lnTo>
                <a:lnTo>
                  <a:pt x="213" y="22"/>
                </a:lnTo>
                <a:lnTo>
                  <a:pt x="207" y="46"/>
                </a:lnTo>
                <a:lnTo>
                  <a:pt x="213" y="162"/>
                </a:lnTo>
                <a:lnTo>
                  <a:pt x="213" y="190"/>
                </a:lnTo>
                <a:lnTo>
                  <a:pt x="201" y="190"/>
                </a:lnTo>
                <a:lnTo>
                  <a:pt x="201" y="198"/>
                </a:lnTo>
                <a:lnTo>
                  <a:pt x="91" y="142"/>
                </a:lnTo>
                <a:lnTo>
                  <a:pt x="77" y="147"/>
                </a:lnTo>
                <a:lnTo>
                  <a:pt x="32" y="141"/>
                </a:lnTo>
                <a:lnTo>
                  <a:pt x="0" y="10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3" name="Freeform 830">
            <a:extLst>
              <a:ext uri="{FF2B5EF4-FFF2-40B4-BE49-F238E27FC236}">
                <a16:creationId xmlns:a16="http://schemas.microsoft.com/office/drawing/2014/main" id="{69A91BB2-D650-BABF-8E78-D9A360024D77}"/>
              </a:ext>
            </a:extLst>
          </p:cNvPr>
          <p:cNvSpPr>
            <a:spLocks/>
          </p:cNvSpPr>
          <p:nvPr/>
        </p:nvSpPr>
        <p:spPr bwMode="auto">
          <a:xfrm>
            <a:off x="4724502" y="5553184"/>
            <a:ext cx="110993" cy="211540"/>
          </a:xfrm>
          <a:custGeom>
            <a:avLst/>
            <a:gdLst>
              <a:gd name="T0" fmla="*/ 0 w 97"/>
              <a:gd name="T1" fmla="*/ 135 h 190"/>
              <a:gd name="T2" fmla="*/ 0 w 97"/>
              <a:gd name="T3" fmla="*/ 135 h 190"/>
              <a:gd name="T4" fmla="*/ 9 w 97"/>
              <a:gd name="T5" fmla="*/ 173 h 190"/>
              <a:gd name="T6" fmla="*/ 27 w 97"/>
              <a:gd name="T7" fmla="*/ 189 h 190"/>
              <a:gd name="T8" fmla="*/ 57 w 97"/>
              <a:gd name="T9" fmla="*/ 173 h 190"/>
              <a:gd name="T10" fmla="*/ 90 w 97"/>
              <a:gd name="T11" fmla="*/ 43 h 190"/>
              <a:gd name="T12" fmla="*/ 96 w 97"/>
              <a:gd name="T13" fmla="*/ 48 h 190"/>
              <a:gd name="T14" fmla="*/ 82 w 97"/>
              <a:gd name="T15" fmla="*/ 0 h 190"/>
              <a:gd name="T16" fmla="*/ 64 w 97"/>
              <a:gd name="T17" fmla="*/ 20 h 190"/>
              <a:gd name="T18" fmla="*/ 65 w 97"/>
              <a:gd name="T19" fmla="*/ 34 h 190"/>
              <a:gd name="T20" fmla="*/ 44 w 97"/>
              <a:gd name="T21" fmla="*/ 49 h 190"/>
              <a:gd name="T22" fmla="*/ 17 w 97"/>
              <a:gd name="T23" fmla="*/ 56 h 190"/>
              <a:gd name="T24" fmla="*/ 10 w 97"/>
              <a:gd name="T25" fmla="*/ 73 h 190"/>
              <a:gd name="T26" fmla="*/ 17 w 97"/>
              <a:gd name="T27" fmla="*/ 106 h 190"/>
              <a:gd name="T28" fmla="*/ 0 w 97"/>
              <a:gd name="T29" fmla="*/ 135 h 190"/>
              <a:gd name="T30" fmla="*/ 0 w 97"/>
              <a:gd name="T31" fmla="*/ 135 h 19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7"/>
              <a:gd name="T49" fmla="*/ 0 h 190"/>
              <a:gd name="T50" fmla="*/ 97 w 97"/>
              <a:gd name="T51" fmla="*/ 190 h 19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7" h="190">
                <a:moveTo>
                  <a:pt x="0" y="135"/>
                </a:moveTo>
                <a:lnTo>
                  <a:pt x="0" y="135"/>
                </a:lnTo>
                <a:lnTo>
                  <a:pt x="9" y="173"/>
                </a:lnTo>
                <a:lnTo>
                  <a:pt x="27" y="189"/>
                </a:lnTo>
                <a:lnTo>
                  <a:pt x="57" y="173"/>
                </a:lnTo>
                <a:lnTo>
                  <a:pt x="90" y="43"/>
                </a:lnTo>
                <a:lnTo>
                  <a:pt x="96" y="48"/>
                </a:lnTo>
                <a:lnTo>
                  <a:pt x="82" y="0"/>
                </a:lnTo>
                <a:lnTo>
                  <a:pt x="64" y="20"/>
                </a:lnTo>
                <a:lnTo>
                  <a:pt x="65" y="34"/>
                </a:lnTo>
                <a:lnTo>
                  <a:pt x="44" y="49"/>
                </a:lnTo>
                <a:lnTo>
                  <a:pt x="17" y="56"/>
                </a:lnTo>
                <a:lnTo>
                  <a:pt x="10" y="73"/>
                </a:lnTo>
                <a:lnTo>
                  <a:pt x="17" y="106"/>
                </a:lnTo>
                <a:lnTo>
                  <a:pt x="0" y="135"/>
                </a:lnTo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4" name="Freeform 831">
            <a:extLst>
              <a:ext uri="{FF2B5EF4-FFF2-40B4-BE49-F238E27FC236}">
                <a16:creationId xmlns:a16="http://schemas.microsoft.com/office/drawing/2014/main" id="{6EC060BF-27A1-E46C-D6D2-168DC427A00B}"/>
              </a:ext>
            </a:extLst>
          </p:cNvPr>
          <p:cNvSpPr>
            <a:spLocks/>
          </p:cNvSpPr>
          <p:nvPr/>
        </p:nvSpPr>
        <p:spPr bwMode="auto">
          <a:xfrm>
            <a:off x="4563162" y="5510876"/>
            <a:ext cx="51492" cy="119130"/>
          </a:xfrm>
          <a:custGeom>
            <a:avLst/>
            <a:gdLst>
              <a:gd name="T0" fmla="*/ 0 w 45"/>
              <a:gd name="T1" fmla="*/ 58 h 107"/>
              <a:gd name="T2" fmla="*/ 0 w 45"/>
              <a:gd name="T3" fmla="*/ 58 h 107"/>
              <a:gd name="T4" fmla="*/ 6 w 45"/>
              <a:gd name="T5" fmla="*/ 64 h 107"/>
              <a:gd name="T6" fmla="*/ 23 w 45"/>
              <a:gd name="T7" fmla="*/ 70 h 107"/>
              <a:gd name="T8" fmla="*/ 21 w 45"/>
              <a:gd name="T9" fmla="*/ 90 h 107"/>
              <a:gd name="T10" fmla="*/ 36 w 45"/>
              <a:gd name="T11" fmla="*/ 106 h 107"/>
              <a:gd name="T12" fmla="*/ 44 w 45"/>
              <a:gd name="T13" fmla="*/ 76 h 107"/>
              <a:gd name="T14" fmla="*/ 30 w 45"/>
              <a:gd name="T15" fmla="*/ 56 h 107"/>
              <a:gd name="T16" fmla="*/ 34 w 45"/>
              <a:gd name="T17" fmla="*/ 67 h 107"/>
              <a:gd name="T18" fmla="*/ 26 w 45"/>
              <a:gd name="T19" fmla="*/ 67 h 107"/>
              <a:gd name="T20" fmla="*/ 17 w 45"/>
              <a:gd name="T21" fmla="*/ 39 h 107"/>
              <a:gd name="T22" fmla="*/ 16 w 45"/>
              <a:gd name="T23" fmla="*/ 3 h 107"/>
              <a:gd name="T24" fmla="*/ 3 w 45"/>
              <a:gd name="T25" fmla="*/ 0 h 107"/>
              <a:gd name="T26" fmla="*/ 14 w 45"/>
              <a:gd name="T27" fmla="*/ 17 h 107"/>
              <a:gd name="T28" fmla="*/ 0 w 45"/>
              <a:gd name="T29" fmla="*/ 58 h 107"/>
              <a:gd name="T30" fmla="*/ 0 w 45"/>
              <a:gd name="T31" fmla="*/ 58 h 10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45"/>
              <a:gd name="T49" fmla="*/ 0 h 107"/>
              <a:gd name="T50" fmla="*/ 45 w 45"/>
              <a:gd name="T51" fmla="*/ 107 h 10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45" h="107">
                <a:moveTo>
                  <a:pt x="0" y="58"/>
                </a:moveTo>
                <a:lnTo>
                  <a:pt x="0" y="58"/>
                </a:lnTo>
                <a:lnTo>
                  <a:pt x="6" y="64"/>
                </a:lnTo>
                <a:lnTo>
                  <a:pt x="23" y="70"/>
                </a:lnTo>
                <a:lnTo>
                  <a:pt x="21" y="90"/>
                </a:lnTo>
                <a:lnTo>
                  <a:pt x="36" y="106"/>
                </a:lnTo>
                <a:lnTo>
                  <a:pt x="44" y="76"/>
                </a:lnTo>
                <a:lnTo>
                  <a:pt x="30" y="56"/>
                </a:lnTo>
                <a:lnTo>
                  <a:pt x="34" y="67"/>
                </a:lnTo>
                <a:lnTo>
                  <a:pt x="26" y="67"/>
                </a:lnTo>
                <a:lnTo>
                  <a:pt x="17" y="39"/>
                </a:lnTo>
                <a:lnTo>
                  <a:pt x="16" y="3"/>
                </a:lnTo>
                <a:lnTo>
                  <a:pt x="3" y="0"/>
                </a:lnTo>
                <a:lnTo>
                  <a:pt x="14" y="17"/>
                </a:lnTo>
                <a:lnTo>
                  <a:pt x="0" y="5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5" name="Freeform 832">
            <a:extLst>
              <a:ext uri="{FF2B5EF4-FFF2-40B4-BE49-F238E27FC236}">
                <a16:creationId xmlns:a16="http://schemas.microsoft.com/office/drawing/2014/main" id="{BC893739-E688-3732-84FF-E0336FC0C40C}"/>
              </a:ext>
            </a:extLst>
          </p:cNvPr>
          <p:cNvSpPr>
            <a:spLocks/>
          </p:cNvSpPr>
          <p:nvPr/>
        </p:nvSpPr>
        <p:spPr bwMode="auto">
          <a:xfrm>
            <a:off x="3864022" y="4984252"/>
            <a:ext cx="252881" cy="231581"/>
          </a:xfrm>
          <a:custGeom>
            <a:avLst/>
            <a:gdLst>
              <a:gd name="T0" fmla="*/ 0 w 221"/>
              <a:gd name="T1" fmla="*/ 143 h 208"/>
              <a:gd name="T2" fmla="*/ 0 w 221"/>
              <a:gd name="T3" fmla="*/ 143 h 208"/>
              <a:gd name="T4" fmla="*/ 9 w 221"/>
              <a:gd name="T5" fmla="*/ 129 h 208"/>
              <a:gd name="T6" fmla="*/ 20 w 221"/>
              <a:gd name="T7" fmla="*/ 138 h 208"/>
              <a:gd name="T8" fmla="*/ 89 w 221"/>
              <a:gd name="T9" fmla="*/ 134 h 208"/>
              <a:gd name="T10" fmla="*/ 75 w 221"/>
              <a:gd name="T11" fmla="*/ 0 h 208"/>
              <a:gd name="T12" fmla="*/ 99 w 221"/>
              <a:gd name="T13" fmla="*/ 0 h 208"/>
              <a:gd name="T14" fmla="*/ 208 w 221"/>
              <a:gd name="T15" fmla="*/ 72 h 208"/>
              <a:gd name="T16" fmla="*/ 209 w 221"/>
              <a:gd name="T17" fmla="*/ 85 h 208"/>
              <a:gd name="T18" fmla="*/ 220 w 221"/>
              <a:gd name="T19" fmla="*/ 83 h 208"/>
              <a:gd name="T20" fmla="*/ 220 w 221"/>
              <a:gd name="T21" fmla="*/ 126 h 208"/>
              <a:gd name="T22" fmla="*/ 211 w 221"/>
              <a:gd name="T23" fmla="*/ 135 h 208"/>
              <a:gd name="T24" fmla="*/ 167 w 221"/>
              <a:gd name="T25" fmla="*/ 141 h 208"/>
              <a:gd name="T26" fmla="*/ 111 w 221"/>
              <a:gd name="T27" fmla="*/ 165 h 208"/>
              <a:gd name="T28" fmla="*/ 94 w 221"/>
              <a:gd name="T29" fmla="*/ 204 h 208"/>
              <a:gd name="T30" fmla="*/ 80 w 221"/>
              <a:gd name="T31" fmla="*/ 199 h 208"/>
              <a:gd name="T32" fmla="*/ 56 w 221"/>
              <a:gd name="T33" fmla="*/ 207 h 208"/>
              <a:gd name="T34" fmla="*/ 42 w 221"/>
              <a:gd name="T35" fmla="*/ 174 h 208"/>
              <a:gd name="T36" fmla="*/ 19 w 221"/>
              <a:gd name="T37" fmla="*/ 182 h 208"/>
              <a:gd name="T38" fmla="*/ 10 w 221"/>
              <a:gd name="T39" fmla="*/ 175 h 208"/>
              <a:gd name="T40" fmla="*/ 0 w 221"/>
              <a:gd name="T41" fmla="*/ 143 h 208"/>
              <a:gd name="T42" fmla="*/ 0 w 221"/>
              <a:gd name="T43" fmla="*/ 143 h 208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21"/>
              <a:gd name="T67" fmla="*/ 0 h 208"/>
              <a:gd name="T68" fmla="*/ 221 w 221"/>
              <a:gd name="T69" fmla="*/ 208 h 208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21" h="208">
                <a:moveTo>
                  <a:pt x="0" y="143"/>
                </a:moveTo>
                <a:lnTo>
                  <a:pt x="0" y="143"/>
                </a:lnTo>
                <a:lnTo>
                  <a:pt x="9" y="129"/>
                </a:lnTo>
                <a:lnTo>
                  <a:pt x="20" y="138"/>
                </a:lnTo>
                <a:lnTo>
                  <a:pt x="89" y="134"/>
                </a:lnTo>
                <a:lnTo>
                  <a:pt x="75" y="0"/>
                </a:lnTo>
                <a:lnTo>
                  <a:pt x="99" y="0"/>
                </a:lnTo>
                <a:lnTo>
                  <a:pt x="208" y="72"/>
                </a:lnTo>
                <a:lnTo>
                  <a:pt x="209" y="85"/>
                </a:lnTo>
                <a:lnTo>
                  <a:pt x="220" y="83"/>
                </a:lnTo>
                <a:lnTo>
                  <a:pt x="220" y="126"/>
                </a:lnTo>
                <a:lnTo>
                  <a:pt x="211" y="135"/>
                </a:lnTo>
                <a:lnTo>
                  <a:pt x="167" y="141"/>
                </a:lnTo>
                <a:lnTo>
                  <a:pt x="111" y="165"/>
                </a:lnTo>
                <a:lnTo>
                  <a:pt x="94" y="204"/>
                </a:lnTo>
                <a:lnTo>
                  <a:pt x="80" y="199"/>
                </a:lnTo>
                <a:lnTo>
                  <a:pt x="56" y="207"/>
                </a:lnTo>
                <a:lnTo>
                  <a:pt x="42" y="174"/>
                </a:lnTo>
                <a:lnTo>
                  <a:pt x="19" y="182"/>
                </a:lnTo>
                <a:lnTo>
                  <a:pt x="10" y="175"/>
                </a:lnTo>
                <a:lnTo>
                  <a:pt x="0" y="143"/>
                </a:lnTo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6" name="Freeform 833">
            <a:extLst>
              <a:ext uri="{FF2B5EF4-FFF2-40B4-BE49-F238E27FC236}">
                <a16:creationId xmlns:a16="http://schemas.microsoft.com/office/drawing/2014/main" id="{BFD97853-1CD8-B0B1-EAB5-0697F6472B27}"/>
              </a:ext>
            </a:extLst>
          </p:cNvPr>
          <p:cNvSpPr>
            <a:spLocks/>
          </p:cNvSpPr>
          <p:nvPr/>
        </p:nvSpPr>
        <p:spPr bwMode="auto">
          <a:xfrm>
            <a:off x="3787357" y="4947511"/>
            <a:ext cx="191090" cy="197066"/>
          </a:xfrm>
          <a:custGeom>
            <a:avLst/>
            <a:gdLst>
              <a:gd name="T0" fmla="*/ 0 w 167"/>
              <a:gd name="T1" fmla="*/ 89 h 177"/>
              <a:gd name="T2" fmla="*/ 0 w 167"/>
              <a:gd name="T3" fmla="*/ 89 h 177"/>
              <a:gd name="T4" fmla="*/ 10 w 167"/>
              <a:gd name="T5" fmla="*/ 99 h 177"/>
              <a:gd name="T6" fmla="*/ 13 w 167"/>
              <a:gd name="T7" fmla="*/ 125 h 177"/>
              <a:gd name="T8" fmla="*/ 5 w 167"/>
              <a:gd name="T9" fmla="*/ 158 h 177"/>
              <a:gd name="T10" fmla="*/ 36 w 167"/>
              <a:gd name="T11" fmla="*/ 151 h 177"/>
              <a:gd name="T12" fmla="*/ 67 w 167"/>
              <a:gd name="T13" fmla="*/ 176 h 177"/>
              <a:gd name="T14" fmla="*/ 76 w 167"/>
              <a:gd name="T15" fmla="*/ 162 h 177"/>
              <a:gd name="T16" fmla="*/ 87 w 167"/>
              <a:gd name="T17" fmla="*/ 171 h 177"/>
              <a:gd name="T18" fmla="*/ 156 w 167"/>
              <a:gd name="T19" fmla="*/ 167 h 177"/>
              <a:gd name="T20" fmla="*/ 142 w 167"/>
              <a:gd name="T21" fmla="*/ 33 h 177"/>
              <a:gd name="T22" fmla="*/ 166 w 167"/>
              <a:gd name="T23" fmla="*/ 33 h 177"/>
              <a:gd name="T24" fmla="*/ 115 w 167"/>
              <a:gd name="T25" fmla="*/ 0 h 177"/>
              <a:gd name="T26" fmla="*/ 114 w 167"/>
              <a:gd name="T27" fmla="*/ 18 h 177"/>
              <a:gd name="T28" fmla="*/ 70 w 167"/>
              <a:gd name="T29" fmla="*/ 17 h 177"/>
              <a:gd name="T30" fmla="*/ 70 w 167"/>
              <a:gd name="T31" fmla="*/ 54 h 177"/>
              <a:gd name="T32" fmla="*/ 54 w 167"/>
              <a:gd name="T33" fmla="*/ 60 h 177"/>
              <a:gd name="T34" fmla="*/ 55 w 167"/>
              <a:gd name="T35" fmla="*/ 83 h 177"/>
              <a:gd name="T36" fmla="*/ 0 w 167"/>
              <a:gd name="T37" fmla="*/ 89 h 177"/>
              <a:gd name="T38" fmla="*/ 0 w 167"/>
              <a:gd name="T39" fmla="*/ 89 h 17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67"/>
              <a:gd name="T61" fmla="*/ 0 h 177"/>
              <a:gd name="T62" fmla="*/ 167 w 167"/>
              <a:gd name="T63" fmla="*/ 177 h 177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67" h="177">
                <a:moveTo>
                  <a:pt x="0" y="89"/>
                </a:moveTo>
                <a:lnTo>
                  <a:pt x="0" y="89"/>
                </a:lnTo>
                <a:lnTo>
                  <a:pt x="10" y="99"/>
                </a:lnTo>
                <a:lnTo>
                  <a:pt x="13" y="125"/>
                </a:lnTo>
                <a:lnTo>
                  <a:pt x="5" y="158"/>
                </a:lnTo>
                <a:lnTo>
                  <a:pt x="36" y="151"/>
                </a:lnTo>
                <a:lnTo>
                  <a:pt x="67" y="176"/>
                </a:lnTo>
                <a:lnTo>
                  <a:pt x="76" y="162"/>
                </a:lnTo>
                <a:lnTo>
                  <a:pt x="87" y="171"/>
                </a:lnTo>
                <a:lnTo>
                  <a:pt x="156" y="167"/>
                </a:lnTo>
                <a:lnTo>
                  <a:pt x="142" y="33"/>
                </a:lnTo>
                <a:lnTo>
                  <a:pt x="166" y="33"/>
                </a:lnTo>
                <a:lnTo>
                  <a:pt x="115" y="0"/>
                </a:lnTo>
                <a:lnTo>
                  <a:pt x="114" y="18"/>
                </a:lnTo>
                <a:lnTo>
                  <a:pt x="70" y="17"/>
                </a:lnTo>
                <a:lnTo>
                  <a:pt x="70" y="54"/>
                </a:lnTo>
                <a:lnTo>
                  <a:pt x="54" y="60"/>
                </a:lnTo>
                <a:lnTo>
                  <a:pt x="55" y="83"/>
                </a:lnTo>
                <a:lnTo>
                  <a:pt x="0" y="8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7" name="Freeform 834">
            <a:extLst>
              <a:ext uri="{FF2B5EF4-FFF2-40B4-BE49-F238E27FC236}">
                <a16:creationId xmlns:a16="http://schemas.microsoft.com/office/drawing/2014/main" id="{5AB65BD6-E822-AE8B-DA7A-7B9BB5DB8B08}"/>
              </a:ext>
            </a:extLst>
          </p:cNvPr>
          <p:cNvSpPr>
            <a:spLocks/>
          </p:cNvSpPr>
          <p:nvPr/>
        </p:nvSpPr>
        <p:spPr bwMode="auto">
          <a:xfrm>
            <a:off x="3849147" y="4807227"/>
            <a:ext cx="184226" cy="135831"/>
          </a:xfrm>
          <a:custGeom>
            <a:avLst/>
            <a:gdLst>
              <a:gd name="T0" fmla="*/ 0 w 161"/>
              <a:gd name="T1" fmla="*/ 119 h 122"/>
              <a:gd name="T2" fmla="*/ 0 w 161"/>
              <a:gd name="T3" fmla="*/ 119 h 122"/>
              <a:gd name="T4" fmla="*/ 40 w 161"/>
              <a:gd name="T5" fmla="*/ 96 h 122"/>
              <a:gd name="T6" fmla="*/ 54 w 161"/>
              <a:gd name="T7" fmla="*/ 48 h 122"/>
              <a:gd name="T8" fmla="*/ 88 w 161"/>
              <a:gd name="T9" fmla="*/ 24 h 122"/>
              <a:gd name="T10" fmla="*/ 99 w 161"/>
              <a:gd name="T11" fmla="*/ 0 h 122"/>
              <a:gd name="T12" fmla="*/ 148 w 161"/>
              <a:gd name="T13" fmla="*/ 8 h 122"/>
              <a:gd name="T14" fmla="*/ 160 w 161"/>
              <a:gd name="T15" fmla="*/ 53 h 122"/>
              <a:gd name="T16" fmla="*/ 139 w 161"/>
              <a:gd name="T17" fmla="*/ 54 h 122"/>
              <a:gd name="T18" fmla="*/ 127 w 161"/>
              <a:gd name="T19" fmla="*/ 59 h 122"/>
              <a:gd name="T20" fmla="*/ 129 w 161"/>
              <a:gd name="T21" fmla="*/ 71 h 122"/>
              <a:gd name="T22" fmla="*/ 67 w 161"/>
              <a:gd name="T23" fmla="*/ 98 h 122"/>
              <a:gd name="T24" fmla="*/ 60 w 161"/>
              <a:gd name="T25" fmla="*/ 121 h 122"/>
              <a:gd name="T26" fmla="*/ 0 w 161"/>
              <a:gd name="T27" fmla="*/ 119 h 122"/>
              <a:gd name="T28" fmla="*/ 0 w 161"/>
              <a:gd name="T29" fmla="*/ 119 h 12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61"/>
              <a:gd name="T46" fmla="*/ 0 h 122"/>
              <a:gd name="T47" fmla="*/ 161 w 161"/>
              <a:gd name="T48" fmla="*/ 122 h 122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61" h="122">
                <a:moveTo>
                  <a:pt x="0" y="119"/>
                </a:moveTo>
                <a:lnTo>
                  <a:pt x="0" y="119"/>
                </a:lnTo>
                <a:lnTo>
                  <a:pt x="40" y="96"/>
                </a:lnTo>
                <a:lnTo>
                  <a:pt x="54" y="48"/>
                </a:lnTo>
                <a:lnTo>
                  <a:pt x="88" y="24"/>
                </a:lnTo>
                <a:lnTo>
                  <a:pt x="99" y="0"/>
                </a:lnTo>
                <a:lnTo>
                  <a:pt x="148" y="8"/>
                </a:lnTo>
                <a:lnTo>
                  <a:pt x="160" y="53"/>
                </a:lnTo>
                <a:lnTo>
                  <a:pt x="139" y="54"/>
                </a:lnTo>
                <a:lnTo>
                  <a:pt x="127" y="59"/>
                </a:lnTo>
                <a:lnTo>
                  <a:pt x="129" y="71"/>
                </a:lnTo>
                <a:lnTo>
                  <a:pt x="67" y="98"/>
                </a:lnTo>
                <a:lnTo>
                  <a:pt x="60" y="121"/>
                </a:lnTo>
                <a:lnTo>
                  <a:pt x="0" y="11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8" name="Freeform 835">
            <a:extLst>
              <a:ext uri="{FF2B5EF4-FFF2-40B4-BE49-F238E27FC236}">
                <a16:creationId xmlns:a16="http://schemas.microsoft.com/office/drawing/2014/main" id="{CB636195-3801-136E-1654-A5F3107859A0}"/>
              </a:ext>
            </a:extLst>
          </p:cNvPr>
          <p:cNvSpPr>
            <a:spLocks/>
          </p:cNvSpPr>
          <p:nvPr/>
        </p:nvSpPr>
        <p:spPr bwMode="auto">
          <a:xfrm>
            <a:off x="4519680" y="5527576"/>
            <a:ext cx="165917" cy="253848"/>
          </a:xfrm>
          <a:custGeom>
            <a:avLst/>
            <a:gdLst>
              <a:gd name="T0" fmla="*/ 0 w 145"/>
              <a:gd name="T1" fmla="*/ 63 h 228"/>
              <a:gd name="T2" fmla="*/ 0 w 145"/>
              <a:gd name="T3" fmla="*/ 63 h 228"/>
              <a:gd name="T4" fmla="*/ 4 w 145"/>
              <a:gd name="T5" fmla="*/ 70 h 228"/>
              <a:gd name="T6" fmla="*/ 38 w 145"/>
              <a:gd name="T7" fmla="*/ 81 h 228"/>
              <a:gd name="T8" fmla="*/ 41 w 145"/>
              <a:gd name="T9" fmla="*/ 95 h 228"/>
              <a:gd name="T10" fmla="*/ 39 w 145"/>
              <a:gd name="T11" fmla="*/ 131 h 228"/>
              <a:gd name="T12" fmla="*/ 21 w 145"/>
              <a:gd name="T13" fmla="*/ 168 h 228"/>
              <a:gd name="T14" fmla="*/ 26 w 145"/>
              <a:gd name="T15" fmla="*/ 213 h 228"/>
              <a:gd name="T16" fmla="*/ 28 w 145"/>
              <a:gd name="T17" fmla="*/ 227 h 228"/>
              <a:gd name="T18" fmla="*/ 39 w 145"/>
              <a:gd name="T19" fmla="*/ 227 h 228"/>
              <a:gd name="T20" fmla="*/ 39 w 145"/>
              <a:gd name="T21" fmla="*/ 212 h 228"/>
              <a:gd name="T22" fmla="*/ 74 w 145"/>
              <a:gd name="T23" fmla="*/ 191 h 228"/>
              <a:gd name="T24" fmla="*/ 64 w 145"/>
              <a:gd name="T25" fmla="*/ 131 h 228"/>
              <a:gd name="T26" fmla="*/ 143 w 145"/>
              <a:gd name="T27" fmla="*/ 70 h 228"/>
              <a:gd name="T28" fmla="*/ 144 w 145"/>
              <a:gd name="T29" fmla="*/ 0 h 228"/>
              <a:gd name="T30" fmla="*/ 124 w 145"/>
              <a:gd name="T31" fmla="*/ 12 h 228"/>
              <a:gd name="T32" fmla="*/ 69 w 145"/>
              <a:gd name="T33" fmla="*/ 15 h 228"/>
              <a:gd name="T34" fmla="*/ 68 w 145"/>
              <a:gd name="T35" fmla="*/ 41 h 228"/>
              <a:gd name="T36" fmla="*/ 82 w 145"/>
              <a:gd name="T37" fmla="*/ 61 h 228"/>
              <a:gd name="T38" fmla="*/ 74 w 145"/>
              <a:gd name="T39" fmla="*/ 91 h 228"/>
              <a:gd name="T40" fmla="*/ 59 w 145"/>
              <a:gd name="T41" fmla="*/ 75 h 228"/>
              <a:gd name="T42" fmla="*/ 61 w 145"/>
              <a:gd name="T43" fmla="*/ 55 h 228"/>
              <a:gd name="T44" fmla="*/ 44 w 145"/>
              <a:gd name="T45" fmla="*/ 49 h 228"/>
              <a:gd name="T46" fmla="*/ 0 w 145"/>
              <a:gd name="T47" fmla="*/ 63 h 228"/>
              <a:gd name="T48" fmla="*/ 0 w 145"/>
              <a:gd name="T49" fmla="*/ 63 h 22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45"/>
              <a:gd name="T76" fmla="*/ 0 h 228"/>
              <a:gd name="T77" fmla="*/ 145 w 145"/>
              <a:gd name="T78" fmla="*/ 228 h 22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45" h="228">
                <a:moveTo>
                  <a:pt x="0" y="63"/>
                </a:moveTo>
                <a:lnTo>
                  <a:pt x="0" y="63"/>
                </a:lnTo>
                <a:lnTo>
                  <a:pt x="4" y="70"/>
                </a:lnTo>
                <a:lnTo>
                  <a:pt x="38" y="81"/>
                </a:lnTo>
                <a:lnTo>
                  <a:pt x="41" y="95"/>
                </a:lnTo>
                <a:lnTo>
                  <a:pt x="39" y="131"/>
                </a:lnTo>
                <a:lnTo>
                  <a:pt x="21" y="168"/>
                </a:lnTo>
                <a:lnTo>
                  <a:pt x="26" y="213"/>
                </a:lnTo>
                <a:lnTo>
                  <a:pt x="28" y="227"/>
                </a:lnTo>
                <a:lnTo>
                  <a:pt x="39" y="227"/>
                </a:lnTo>
                <a:lnTo>
                  <a:pt x="39" y="212"/>
                </a:lnTo>
                <a:lnTo>
                  <a:pt x="74" y="191"/>
                </a:lnTo>
                <a:lnTo>
                  <a:pt x="64" y="131"/>
                </a:lnTo>
                <a:lnTo>
                  <a:pt x="143" y="70"/>
                </a:lnTo>
                <a:lnTo>
                  <a:pt x="144" y="0"/>
                </a:lnTo>
                <a:lnTo>
                  <a:pt x="124" y="12"/>
                </a:lnTo>
                <a:lnTo>
                  <a:pt x="69" y="15"/>
                </a:lnTo>
                <a:lnTo>
                  <a:pt x="68" y="41"/>
                </a:lnTo>
                <a:lnTo>
                  <a:pt x="82" y="61"/>
                </a:lnTo>
                <a:lnTo>
                  <a:pt x="74" y="91"/>
                </a:lnTo>
                <a:lnTo>
                  <a:pt x="59" y="75"/>
                </a:lnTo>
                <a:lnTo>
                  <a:pt x="61" y="55"/>
                </a:lnTo>
                <a:lnTo>
                  <a:pt x="44" y="49"/>
                </a:lnTo>
                <a:lnTo>
                  <a:pt x="0" y="6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9" name="Freeform 836">
            <a:extLst>
              <a:ext uri="{FF2B5EF4-FFF2-40B4-BE49-F238E27FC236}">
                <a16:creationId xmlns:a16="http://schemas.microsoft.com/office/drawing/2014/main" id="{B20D3879-0966-4944-0D6E-660F0168AAA6}"/>
              </a:ext>
            </a:extLst>
          </p:cNvPr>
          <p:cNvSpPr>
            <a:spLocks/>
          </p:cNvSpPr>
          <p:nvPr/>
        </p:nvSpPr>
        <p:spPr bwMode="auto">
          <a:xfrm>
            <a:off x="4055113" y="5007634"/>
            <a:ext cx="248303" cy="184819"/>
          </a:xfrm>
          <a:custGeom>
            <a:avLst/>
            <a:gdLst>
              <a:gd name="T0" fmla="*/ 0 w 217"/>
              <a:gd name="T1" fmla="*/ 120 h 166"/>
              <a:gd name="T2" fmla="*/ 0 w 217"/>
              <a:gd name="T3" fmla="*/ 120 h 166"/>
              <a:gd name="T4" fmla="*/ 3 w 217"/>
              <a:gd name="T5" fmla="*/ 133 h 166"/>
              <a:gd name="T6" fmla="*/ 29 w 217"/>
              <a:gd name="T7" fmla="*/ 162 h 166"/>
              <a:gd name="T8" fmla="*/ 36 w 217"/>
              <a:gd name="T9" fmla="*/ 155 h 166"/>
              <a:gd name="T10" fmla="*/ 47 w 217"/>
              <a:gd name="T11" fmla="*/ 165 h 166"/>
              <a:gd name="T12" fmla="*/ 63 w 217"/>
              <a:gd name="T13" fmla="*/ 136 h 166"/>
              <a:gd name="T14" fmla="*/ 125 w 217"/>
              <a:gd name="T15" fmla="*/ 151 h 166"/>
              <a:gd name="T16" fmla="*/ 178 w 217"/>
              <a:gd name="T17" fmla="*/ 136 h 166"/>
              <a:gd name="T18" fmla="*/ 180 w 217"/>
              <a:gd name="T19" fmla="*/ 129 h 166"/>
              <a:gd name="T20" fmla="*/ 208 w 217"/>
              <a:gd name="T21" fmla="*/ 93 h 166"/>
              <a:gd name="T22" fmla="*/ 216 w 217"/>
              <a:gd name="T23" fmla="*/ 44 h 166"/>
              <a:gd name="T24" fmla="*/ 202 w 217"/>
              <a:gd name="T25" fmla="*/ 28 h 166"/>
              <a:gd name="T26" fmla="*/ 202 w 217"/>
              <a:gd name="T27" fmla="*/ 6 h 166"/>
              <a:gd name="T28" fmla="*/ 157 w 217"/>
              <a:gd name="T29" fmla="*/ 0 h 166"/>
              <a:gd name="T30" fmla="*/ 74 w 217"/>
              <a:gd name="T31" fmla="*/ 57 h 166"/>
              <a:gd name="T32" fmla="*/ 53 w 217"/>
              <a:gd name="T33" fmla="*/ 62 h 166"/>
              <a:gd name="T34" fmla="*/ 53 w 217"/>
              <a:gd name="T35" fmla="*/ 105 h 166"/>
              <a:gd name="T36" fmla="*/ 44 w 217"/>
              <a:gd name="T37" fmla="*/ 114 h 166"/>
              <a:gd name="T38" fmla="*/ 0 w 217"/>
              <a:gd name="T39" fmla="*/ 120 h 166"/>
              <a:gd name="T40" fmla="*/ 0 w 217"/>
              <a:gd name="T41" fmla="*/ 120 h 16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217"/>
              <a:gd name="T64" fmla="*/ 0 h 166"/>
              <a:gd name="T65" fmla="*/ 217 w 217"/>
              <a:gd name="T66" fmla="*/ 166 h 16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217" h="166">
                <a:moveTo>
                  <a:pt x="0" y="120"/>
                </a:moveTo>
                <a:lnTo>
                  <a:pt x="0" y="120"/>
                </a:lnTo>
                <a:lnTo>
                  <a:pt x="3" y="133"/>
                </a:lnTo>
                <a:lnTo>
                  <a:pt x="29" y="162"/>
                </a:lnTo>
                <a:lnTo>
                  <a:pt x="36" y="155"/>
                </a:lnTo>
                <a:lnTo>
                  <a:pt x="47" y="165"/>
                </a:lnTo>
                <a:lnTo>
                  <a:pt x="63" y="136"/>
                </a:lnTo>
                <a:lnTo>
                  <a:pt x="125" y="151"/>
                </a:lnTo>
                <a:lnTo>
                  <a:pt x="178" y="136"/>
                </a:lnTo>
                <a:lnTo>
                  <a:pt x="180" y="129"/>
                </a:lnTo>
                <a:lnTo>
                  <a:pt x="208" y="93"/>
                </a:lnTo>
                <a:lnTo>
                  <a:pt x="216" y="44"/>
                </a:lnTo>
                <a:lnTo>
                  <a:pt x="202" y="28"/>
                </a:lnTo>
                <a:lnTo>
                  <a:pt x="202" y="6"/>
                </a:lnTo>
                <a:lnTo>
                  <a:pt x="157" y="0"/>
                </a:lnTo>
                <a:lnTo>
                  <a:pt x="74" y="57"/>
                </a:lnTo>
                <a:lnTo>
                  <a:pt x="53" y="62"/>
                </a:lnTo>
                <a:lnTo>
                  <a:pt x="53" y="105"/>
                </a:lnTo>
                <a:lnTo>
                  <a:pt x="44" y="114"/>
                </a:lnTo>
                <a:lnTo>
                  <a:pt x="0" y="12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0" name="Freeform 837">
            <a:extLst>
              <a:ext uri="{FF2B5EF4-FFF2-40B4-BE49-F238E27FC236}">
                <a16:creationId xmlns:a16="http://schemas.microsoft.com/office/drawing/2014/main" id="{DCA07B9D-C53F-E082-74AB-3DC1F00331C3}"/>
              </a:ext>
            </a:extLst>
          </p:cNvPr>
          <p:cNvSpPr>
            <a:spLocks/>
          </p:cNvSpPr>
          <p:nvPr/>
        </p:nvSpPr>
        <p:spPr bwMode="auto">
          <a:xfrm>
            <a:off x="4096306" y="5159051"/>
            <a:ext cx="181937" cy="146965"/>
          </a:xfrm>
          <a:custGeom>
            <a:avLst/>
            <a:gdLst>
              <a:gd name="T0" fmla="*/ 0 w 159"/>
              <a:gd name="T1" fmla="*/ 102 h 132"/>
              <a:gd name="T2" fmla="*/ 0 w 159"/>
              <a:gd name="T3" fmla="*/ 102 h 132"/>
              <a:gd name="T4" fmla="*/ 11 w 159"/>
              <a:gd name="T5" fmla="*/ 29 h 132"/>
              <a:gd name="T6" fmla="*/ 27 w 159"/>
              <a:gd name="T7" fmla="*/ 0 h 132"/>
              <a:gd name="T8" fmla="*/ 89 w 159"/>
              <a:gd name="T9" fmla="*/ 15 h 132"/>
              <a:gd name="T10" fmla="*/ 142 w 159"/>
              <a:gd name="T11" fmla="*/ 0 h 132"/>
              <a:gd name="T12" fmla="*/ 153 w 159"/>
              <a:gd name="T13" fmla="*/ 17 h 132"/>
              <a:gd name="T14" fmla="*/ 158 w 159"/>
              <a:gd name="T15" fmla="*/ 29 h 132"/>
              <a:gd name="T16" fmla="*/ 144 w 159"/>
              <a:gd name="T17" fmla="*/ 40 h 132"/>
              <a:gd name="T18" fmla="*/ 116 w 159"/>
              <a:gd name="T19" fmla="*/ 99 h 132"/>
              <a:gd name="T20" fmla="*/ 90 w 159"/>
              <a:gd name="T21" fmla="*/ 95 h 132"/>
              <a:gd name="T22" fmla="*/ 76 w 159"/>
              <a:gd name="T23" fmla="*/ 124 h 132"/>
              <a:gd name="T24" fmla="*/ 45 w 159"/>
              <a:gd name="T25" fmla="*/ 131 h 132"/>
              <a:gd name="T26" fmla="*/ 27 w 159"/>
              <a:gd name="T27" fmla="*/ 106 h 132"/>
              <a:gd name="T28" fmla="*/ 0 w 159"/>
              <a:gd name="T29" fmla="*/ 102 h 132"/>
              <a:gd name="T30" fmla="*/ 0 w 159"/>
              <a:gd name="T31" fmla="*/ 102 h 13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59"/>
              <a:gd name="T49" fmla="*/ 0 h 132"/>
              <a:gd name="T50" fmla="*/ 159 w 159"/>
              <a:gd name="T51" fmla="*/ 132 h 13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59" h="132">
                <a:moveTo>
                  <a:pt x="0" y="102"/>
                </a:moveTo>
                <a:lnTo>
                  <a:pt x="0" y="102"/>
                </a:lnTo>
                <a:lnTo>
                  <a:pt x="11" y="29"/>
                </a:lnTo>
                <a:lnTo>
                  <a:pt x="27" y="0"/>
                </a:lnTo>
                <a:lnTo>
                  <a:pt x="89" y="15"/>
                </a:lnTo>
                <a:lnTo>
                  <a:pt x="142" y="0"/>
                </a:lnTo>
                <a:lnTo>
                  <a:pt x="153" y="17"/>
                </a:lnTo>
                <a:lnTo>
                  <a:pt x="158" y="29"/>
                </a:lnTo>
                <a:lnTo>
                  <a:pt x="144" y="40"/>
                </a:lnTo>
                <a:lnTo>
                  <a:pt x="116" y="99"/>
                </a:lnTo>
                <a:lnTo>
                  <a:pt x="90" y="95"/>
                </a:lnTo>
                <a:lnTo>
                  <a:pt x="76" y="124"/>
                </a:lnTo>
                <a:lnTo>
                  <a:pt x="45" y="131"/>
                </a:lnTo>
                <a:lnTo>
                  <a:pt x="27" y="106"/>
                </a:lnTo>
                <a:lnTo>
                  <a:pt x="0" y="10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1" name="Freeform 838">
            <a:extLst>
              <a:ext uri="{FF2B5EF4-FFF2-40B4-BE49-F238E27FC236}">
                <a16:creationId xmlns:a16="http://schemas.microsoft.com/office/drawing/2014/main" id="{D79988F2-1192-B296-A9A4-8E2F31ED1185}"/>
              </a:ext>
            </a:extLst>
          </p:cNvPr>
          <p:cNvSpPr>
            <a:spLocks/>
          </p:cNvSpPr>
          <p:nvPr/>
        </p:nvSpPr>
        <p:spPr bwMode="auto">
          <a:xfrm>
            <a:off x="3790789" y="5175752"/>
            <a:ext cx="48059" cy="28947"/>
          </a:xfrm>
          <a:custGeom>
            <a:avLst/>
            <a:gdLst>
              <a:gd name="T0" fmla="*/ 0 w 42"/>
              <a:gd name="T1" fmla="*/ 3 h 26"/>
              <a:gd name="T2" fmla="*/ 0 w 42"/>
              <a:gd name="T3" fmla="*/ 3 h 26"/>
              <a:gd name="T4" fmla="*/ 12 w 42"/>
              <a:gd name="T5" fmla="*/ 14 h 26"/>
              <a:gd name="T6" fmla="*/ 25 w 42"/>
              <a:gd name="T7" fmla="*/ 11 h 26"/>
              <a:gd name="T8" fmla="*/ 18 w 42"/>
              <a:gd name="T9" fmla="*/ 14 h 26"/>
              <a:gd name="T10" fmla="*/ 24 w 42"/>
              <a:gd name="T11" fmla="*/ 25 h 26"/>
              <a:gd name="T12" fmla="*/ 41 w 42"/>
              <a:gd name="T13" fmla="*/ 14 h 26"/>
              <a:gd name="T14" fmla="*/ 41 w 42"/>
              <a:gd name="T15" fmla="*/ 0 h 26"/>
              <a:gd name="T16" fmla="*/ 0 w 42"/>
              <a:gd name="T17" fmla="*/ 3 h 26"/>
              <a:gd name="T18" fmla="*/ 0 w 42"/>
              <a:gd name="T19" fmla="*/ 3 h 2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2"/>
              <a:gd name="T31" fmla="*/ 0 h 26"/>
              <a:gd name="T32" fmla="*/ 42 w 42"/>
              <a:gd name="T33" fmla="*/ 26 h 2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2" h="26">
                <a:moveTo>
                  <a:pt x="0" y="3"/>
                </a:moveTo>
                <a:lnTo>
                  <a:pt x="0" y="3"/>
                </a:lnTo>
                <a:lnTo>
                  <a:pt x="12" y="14"/>
                </a:lnTo>
                <a:lnTo>
                  <a:pt x="25" y="11"/>
                </a:lnTo>
                <a:lnTo>
                  <a:pt x="18" y="14"/>
                </a:lnTo>
                <a:lnTo>
                  <a:pt x="24" y="25"/>
                </a:lnTo>
                <a:lnTo>
                  <a:pt x="41" y="14"/>
                </a:lnTo>
                <a:lnTo>
                  <a:pt x="41" y="0"/>
                </a:lnTo>
                <a:lnTo>
                  <a:pt x="0" y="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2" name="Freeform 839">
            <a:extLst>
              <a:ext uri="{FF2B5EF4-FFF2-40B4-BE49-F238E27FC236}">
                <a16:creationId xmlns:a16="http://schemas.microsoft.com/office/drawing/2014/main" id="{13EC2BD2-53CC-79EA-D2EA-78F17856AEE0}"/>
              </a:ext>
            </a:extLst>
          </p:cNvPr>
          <p:cNvSpPr>
            <a:spLocks/>
          </p:cNvSpPr>
          <p:nvPr/>
        </p:nvSpPr>
        <p:spPr bwMode="auto">
          <a:xfrm>
            <a:off x="4844649" y="4966439"/>
            <a:ext cx="10298" cy="25608"/>
          </a:xfrm>
          <a:custGeom>
            <a:avLst/>
            <a:gdLst>
              <a:gd name="T0" fmla="*/ 0 w 9"/>
              <a:gd name="T1" fmla="*/ 18 h 23"/>
              <a:gd name="T2" fmla="*/ 0 w 9"/>
              <a:gd name="T3" fmla="*/ 18 h 23"/>
              <a:gd name="T4" fmla="*/ 4 w 9"/>
              <a:gd name="T5" fmla="*/ 22 h 23"/>
              <a:gd name="T6" fmla="*/ 8 w 9"/>
              <a:gd name="T7" fmla="*/ 21 h 23"/>
              <a:gd name="T8" fmla="*/ 5 w 9"/>
              <a:gd name="T9" fmla="*/ 0 h 23"/>
              <a:gd name="T10" fmla="*/ 0 w 9"/>
              <a:gd name="T11" fmla="*/ 18 h 23"/>
              <a:gd name="T12" fmla="*/ 0 w 9"/>
              <a:gd name="T13" fmla="*/ 18 h 2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23"/>
              <a:gd name="T23" fmla="*/ 9 w 9"/>
              <a:gd name="T24" fmla="*/ 23 h 2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23">
                <a:moveTo>
                  <a:pt x="0" y="18"/>
                </a:moveTo>
                <a:lnTo>
                  <a:pt x="0" y="18"/>
                </a:lnTo>
                <a:lnTo>
                  <a:pt x="4" y="22"/>
                </a:lnTo>
                <a:lnTo>
                  <a:pt x="8" y="21"/>
                </a:lnTo>
                <a:lnTo>
                  <a:pt x="5" y="0"/>
                </a:lnTo>
                <a:lnTo>
                  <a:pt x="0" y="18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3" name="Freeform 840">
            <a:extLst>
              <a:ext uri="{FF2B5EF4-FFF2-40B4-BE49-F238E27FC236}">
                <a16:creationId xmlns:a16="http://schemas.microsoft.com/office/drawing/2014/main" id="{9D708CC0-645E-D14B-5D77-0EDFBCDE76F3}"/>
              </a:ext>
            </a:extLst>
          </p:cNvPr>
          <p:cNvSpPr>
            <a:spLocks/>
          </p:cNvSpPr>
          <p:nvPr/>
        </p:nvSpPr>
        <p:spPr bwMode="auto">
          <a:xfrm>
            <a:off x="4505950" y="5383952"/>
            <a:ext cx="27462" cy="25608"/>
          </a:xfrm>
          <a:custGeom>
            <a:avLst/>
            <a:gdLst>
              <a:gd name="T0" fmla="*/ 0 w 24"/>
              <a:gd name="T1" fmla="*/ 22 h 23"/>
              <a:gd name="T2" fmla="*/ 0 w 24"/>
              <a:gd name="T3" fmla="*/ 22 h 23"/>
              <a:gd name="T4" fmla="*/ 9 w 24"/>
              <a:gd name="T5" fmla="*/ 4 h 23"/>
              <a:gd name="T6" fmla="*/ 20 w 24"/>
              <a:gd name="T7" fmla="*/ 0 h 23"/>
              <a:gd name="T8" fmla="*/ 23 w 24"/>
              <a:gd name="T9" fmla="*/ 18 h 23"/>
              <a:gd name="T10" fmla="*/ 0 w 24"/>
              <a:gd name="T11" fmla="*/ 22 h 23"/>
              <a:gd name="T12" fmla="*/ 0 w 24"/>
              <a:gd name="T13" fmla="*/ 22 h 2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4"/>
              <a:gd name="T22" fmla="*/ 0 h 23"/>
              <a:gd name="T23" fmla="*/ 24 w 24"/>
              <a:gd name="T24" fmla="*/ 23 h 2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4" h="23">
                <a:moveTo>
                  <a:pt x="0" y="22"/>
                </a:moveTo>
                <a:lnTo>
                  <a:pt x="0" y="22"/>
                </a:lnTo>
                <a:lnTo>
                  <a:pt x="9" y="4"/>
                </a:lnTo>
                <a:lnTo>
                  <a:pt x="20" y="0"/>
                </a:lnTo>
                <a:lnTo>
                  <a:pt x="23" y="18"/>
                </a:lnTo>
                <a:lnTo>
                  <a:pt x="0" y="2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4" name="Freeform 841">
            <a:extLst>
              <a:ext uri="{FF2B5EF4-FFF2-40B4-BE49-F238E27FC236}">
                <a16:creationId xmlns:a16="http://schemas.microsoft.com/office/drawing/2014/main" id="{79049593-B127-A26A-775F-DE1674852210}"/>
              </a:ext>
            </a:extLst>
          </p:cNvPr>
          <p:cNvSpPr>
            <a:spLocks/>
          </p:cNvSpPr>
          <p:nvPr/>
        </p:nvSpPr>
        <p:spPr bwMode="auto">
          <a:xfrm>
            <a:off x="3778203" y="5115630"/>
            <a:ext cx="98406" cy="64575"/>
          </a:xfrm>
          <a:custGeom>
            <a:avLst/>
            <a:gdLst>
              <a:gd name="T0" fmla="*/ 0 w 86"/>
              <a:gd name="T1" fmla="*/ 25 h 58"/>
              <a:gd name="T2" fmla="*/ 0 w 86"/>
              <a:gd name="T3" fmla="*/ 25 h 58"/>
              <a:gd name="T4" fmla="*/ 13 w 86"/>
              <a:gd name="T5" fmla="*/ 42 h 58"/>
              <a:gd name="T6" fmla="*/ 52 w 86"/>
              <a:gd name="T7" fmla="*/ 44 h 58"/>
              <a:gd name="T8" fmla="*/ 11 w 86"/>
              <a:gd name="T9" fmla="*/ 49 h 58"/>
              <a:gd name="T10" fmla="*/ 11 w 86"/>
              <a:gd name="T11" fmla="*/ 57 h 58"/>
              <a:gd name="T12" fmla="*/ 52 w 86"/>
              <a:gd name="T13" fmla="*/ 54 h 58"/>
              <a:gd name="T14" fmla="*/ 85 w 86"/>
              <a:gd name="T15" fmla="*/ 57 h 58"/>
              <a:gd name="T16" fmla="*/ 75 w 86"/>
              <a:gd name="T17" fmla="*/ 25 h 58"/>
              <a:gd name="T18" fmla="*/ 44 w 86"/>
              <a:gd name="T19" fmla="*/ 0 h 58"/>
              <a:gd name="T20" fmla="*/ 13 w 86"/>
              <a:gd name="T21" fmla="*/ 7 h 58"/>
              <a:gd name="T22" fmla="*/ 0 w 86"/>
              <a:gd name="T23" fmla="*/ 25 h 58"/>
              <a:gd name="T24" fmla="*/ 0 w 86"/>
              <a:gd name="T25" fmla="*/ 25 h 5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6"/>
              <a:gd name="T40" fmla="*/ 0 h 58"/>
              <a:gd name="T41" fmla="*/ 86 w 86"/>
              <a:gd name="T42" fmla="*/ 58 h 5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6" h="58">
                <a:moveTo>
                  <a:pt x="0" y="25"/>
                </a:moveTo>
                <a:lnTo>
                  <a:pt x="0" y="25"/>
                </a:lnTo>
                <a:lnTo>
                  <a:pt x="13" y="42"/>
                </a:lnTo>
                <a:lnTo>
                  <a:pt x="52" y="44"/>
                </a:lnTo>
                <a:lnTo>
                  <a:pt x="11" y="49"/>
                </a:lnTo>
                <a:lnTo>
                  <a:pt x="11" y="57"/>
                </a:lnTo>
                <a:lnTo>
                  <a:pt x="52" y="54"/>
                </a:lnTo>
                <a:lnTo>
                  <a:pt x="85" y="57"/>
                </a:lnTo>
                <a:lnTo>
                  <a:pt x="75" y="25"/>
                </a:lnTo>
                <a:lnTo>
                  <a:pt x="44" y="0"/>
                </a:lnTo>
                <a:lnTo>
                  <a:pt x="13" y="7"/>
                </a:lnTo>
                <a:lnTo>
                  <a:pt x="0" y="2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5" name="Freeform 842">
            <a:extLst>
              <a:ext uri="{FF2B5EF4-FFF2-40B4-BE49-F238E27FC236}">
                <a16:creationId xmlns:a16="http://schemas.microsoft.com/office/drawing/2014/main" id="{C7FF3F06-9455-B1A3-B92C-BBBD5A5D7435}"/>
              </a:ext>
            </a:extLst>
          </p:cNvPr>
          <p:cNvSpPr>
            <a:spLocks/>
          </p:cNvSpPr>
          <p:nvPr/>
        </p:nvSpPr>
        <p:spPr bwMode="auto">
          <a:xfrm>
            <a:off x="3844569" y="5218060"/>
            <a:ext cx="50347" cy="46761"/>
          </a:xfrm>
          <a:custGeom>
            <a:avLst/>
            <a:gdLst>
              <a:gd name="T0" fmla="*/ 0 w 44"/>
              <a:gd name="T1" fmla="*/ 12 h 42"/>
              <a:gd name="T2" fmla="*/ 0 w 44"/>
              <a:gd name="T3" fmla="*/ 12 h 42"/>
              <a:gd name="T4" fmla="*/ 5 w 44"/>
              <a:gd name="T5" fmla="*/ 28 h 42"/>
              <a:gd name="T6" fmla="*/ 26 w 44"/>
              <a:gd name="T7" fmla="*/ 41 h 42"/>
              <a:gd name="T8" fmla="*/ 43 w 44"/>
              <a:gd name="T9" fmla="*/ 21 h 42"/>
              <a:gd name="T10" fmla="*/ 29 w 44"/>
              <a:gd name="T11" fmla="*/ 0 h 42"/>
              <a:gd name="T12" fmla="*/ 0 w 44"/>
              <a:gd name="T13" fmla="*/ 12 h 42"/>
              <a:gd name="T14" fmla="*/ 0 w 44"/>
              <a:gd name="T15" fmla="*/ 12 h 4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4"/>
              <a:gd name="T25" fmla="*/ 0 h 42"/>
              <a:gd name="T26" fmla="*/ 44 w 44"/>
              <a:gd name="T27" fmla="*/ 42 h 4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4" h="42">
                <a:moveTo>
                  <a:pt x="0" y="12"/>
                </a:moveTo>
                <a:lnTo>
                  <a:pt x="0" y="12"/>
                </a:lnTo>
                <a:lnTo>
                  <a:pt x="5" y="28"/>
                </a:lnTo>
                <a:lnTo>
                  <a:pt x="26" y="41"/>
                </a:lnTo>
                <a:lnTo>
                  <a:pt x="43" y="21"/>
                </a:lnTo>
                <a:lnTo>
                  <a:pt x="29" y="0"/>
                </a:lnTo>
                <a:lnTo>
                  <a:pt x="0" y="1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6" name="Freeform 843">
            <a:extLst>
              <a:ext uri="{FF2B5EF4-FFF2-40B4-BE49-F238E27FC236}">
                <a16:creationId xmlns:a16="http://schemas.microsoft.com/office/drawing/2014/main" id="{756EC49E-A875-DD98-8D52-4C68402AE3E6}"/>
              </a:ext>
            </a:extLst>
          </p:cNvPr>
          <p:cNvSpPr>
            <a:spLocks/>
          </p:cNvSpPr>
          <p:nvPr/>
        </p:nvSpPr>
        <p:spPr bwMode="auto">
          <a:xfrm>
            <a:off x="4693607" y="5187999"/>
            <a:ext cx="160196" cy="207086"/>
          </a:xfrm>
          <a:custGeom>
            <a:avLst/>
            <a:gdLst>
              <a:gd name="T0" fmla="*/ 0 w 140"/>
              <a:gd name="T1" fmla="*/ 174 h 186"/>
              <a:gd name="T2" fmla="*/ 0 w 140"/>
              <a:gd name="T3" fmla="*/ 174 h 186"/>
              <a:gd name="T4" fmla="*/ 0 w 140"/>
              <a:gd name="T5" fmla="*/ 123 h 186"/>
              <a:gd name="T6" fmla="*/ 11 w 140"/>
              <a:gd name="T7" fmla="*/ 109 h 186"/>
              <a:gd name="T8" fmla="*/ 54 w 140"/>
              <a:gd name="T9" fmla="*/ 94 h 186"/>
              <a:gd name="T10" fmla="*/ 95 w 140"/>
              <a:gd name="T11" fmla="*/ 53 h 186"/>
              <a:gd name="T12" fmla="*/ 41 w 140"/>
              <a:gd name="T13" fmla="*/ 39 h 186"/>
              <a:gd name="T14" fmla="*/ 25 w 140"/>
              <a:gd name="T15" fmla="*/ 15 h 186"/>
              <a:gd name="T16" fmla="*/ 31 w 140"/>
              <a:gd name="T17" fmla="*/ 7 h 186"/>
              <a:gd name="T18" fmla="*/ 52 w 140"/>
              <a:gd name="T19" fmla="*/ 21 h 186"/>
              <a:gd name="T20" fmla="*/ 133 w 140"/>
              <a:gd name="T21" fmla="*/ 0 h 186"/>
              <a:gd name="T22" fmla="*/ 139 w 140"/>
              <a:gd name="T23" fmla="*/ 21 h 186"/>
              <a:gd name="T24" fmla="*/ 90 w 140"/>
              <a:gd name="T25" fmla="*/ 108 h 186"/>
              <a:gd name="T26" fmla="*/ 7 w 140"/>
              <a:gd name="T27" fmla="*/ 185 h 186"/>
              <a:gd name="T28" fmla="*/ 0 w 140"/>
              <a:gd name="T29" fmla="*/ 174 h 186"/>
              <a:gd name="T30" fmla="*/ 0 w 140"/>
              <a:gd name="T31" fmla="*/ 174 h 18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40"/>
              <a:gd name="T49" fmla="*/ 0 h 186"/>
              <a:gd name="T50" fmla="*/ 140 w 140"/>
              <a:gd name="T51" fmla="*/ 186 h 18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40" h="186">
                <a:moveTo>
                  <a:pt x="0" y="174"/>
                </a:moveTo>
                <a:lnTo>
                  <a:pt x="0" y="174"/>
                </a:lnTo>
                <a:lnTo>
                  <a:pt x="0" y="123"/>
                </a:lnTo>
                <a:lnTo>
                  <a:pt x="11" y="109"/>
                </a:lnTo>
                <a:lnTo>
                  <a:pt x="54" y="94"/>
                </a:lnTo>
                <a:lnTo>
                  <a:pt x="95" y="53"/>
                </a:lnTo>
                <a:lnTo>
                  <a:pt x="41" y="39"/>
                </a:lnTo>
                <a:lnTo>
                  <a:pt x="25" y="15"/>
                </a:lnTo>
                <a:lnTo>
                  <a:pt x="31" y="7"/>
                </a:lnTo>
                <a:lnTo>
                  <a:pt x="52" y="21"/>
                </a:lnTo>
                <a:lnTo>
                  <a:pt x="133" y="0"/>
                </a:lnTo>
                <a:lnTo>
                  <a:pt x="139" y="21"/>
                </a:lnTo>
                <a:lnTo>
                  <a:pt x="90" y="108"/>
                </a:lnTo>
                <a:lnTo>
                  <a:pt x="7" y="185"/>
                </a:lnTo>
                <a:lnTo>
                  <a:pt x="0" y="17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7" name="Freeform 844">
            <a:extLst>
              <a:ext uri="{FF2B5EF4-FFF2-40B4-BE49-F238E27FC236}">
                <a16:creationId xmlns:a16="http://schemas.microsoft.com/office/drawing/2014/main" id="{7C586E9E-BE9C-E29C-476B-96BD12EDC6EE}"/>
              </a:ext>
            </a:extLst>
          </p:cNvPr>
          <p:cNvSpPr>
            <a:spLocks/>
          </p:cNvSpPr>
          <p:nvPr/>
        </p:nvSpPr>
        <p:spPr bwMode="auto">
          <a:xfrm>
            <a:off x="4444160" y="5605513"/>
            <a:ext cx="123580" cy="110224"/>
          </a:xfrm>
          <a:custGeom>
            <a:avLst/>
            <a:gdLst>
              <a:gd name="T0" fmla="*/ 0 w 108"/>
              <a:gd name="T1" fmla="*/ 30 h 99"/>
              <a:gd name="T2" fmla="*/ 0 w 108"/>
              <a:gd name="T3" fmla="*/ 30 h 99"/>
              <a:gd name="T4" fmla="*/ 0 w 108"/>
              <a:gd name="T5" fmla="*/ 30 h 99"/>
              <a:gd name="T6" fmla="*/ 24 w 108"/>
              <a:gd name="T7" fmla="*/ 31 h 99"/>
              <a:gd name="T8" fmla="*/ 48 w 108"/>
              <a:gd name="T9" fmla="*/ 13 h 99"/>
              <a:gd name="T10" fmla="*/ 49 w 108"/>
              <a:gd name="T11" fmla="*/ 5 h 99"/>
              <a:gd name="T12" fmla="*/ 70 w 108"/>
              <a:gd name="T13" fmla="*/ 0 h 99"/>
              <a:gd name="T14" fmla="*/ 104 w 108"/>
              <a:gd name="T15" fmla="*/ 11 h 99"/>
              <a:gd name="T16" fmla="*/ 107 w 108"/>
              <a:gd name="T17" fmla="*/ 25 h 99"/>
              <a:gd name="T18" fmla="*/ 105 w 108"/>
              <a:gd name="T19" fmla="*/ 61 h 99"/>
              <a:gd name="T20" fmla="*/ 87 w 108"/>
              <a:gd name="T21" fmla="*/ 98 h 99"/>
              <a:gd name="T22" fmla="*/ 56 w 108"/>
              <a:gd name="T23" fmla="*/ 92 h 99"/>
              <a:gd name="T24" fmla="*/ 38 w 108"/>
              <a:gd name="T25" fmla="*/ 83 h 99"/>
              <a:gd name="T26" fmla="*/ 0 w 108"/>
              <a:gd name="T27" fmla="*/ 30 h 99"/>
              <a:gd name="T28" fmla="*/ 0 w 108"/>
              <a:gd name="T29" fmla="*/ 30 h 9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08"/>
              <a:gd name="T46" fmla="*/ 0 h 99"/>
              <a:gd name="T47" fmla="*/ 108 w 108"/>
              <a:gd name="T48" fmla="*/ 99 h 9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08" h="99">
                <a:moveTo>
                  <a:pt x="0" y="30"/>
                </a:moveTo>
                <a:lnTo>
                  <a:pt x="0" y="30"/>
                </a:lnTo>
                <a:lnTo>
                  <a:pt x="24" y="31"/>
                </a:lnTo>
                <a:lnTo>
                  <a:pt x="48" y="13"/>
                </a:lnTo>
                <a:lnTo>
                  <a:pt x="49" y="5"/>
                </a:lnTo>
                <a:lnTo>
                  <a:pt x="70" y="0"/>
                </a:lnTo>
                <a:lnTo>
                  <a:pt x="104" y="11"/>
                </a:lnTo>
                <a:lnTo>
                  <a:pt x="107" y="25"/>
                </a:lnTo>
                <a:lnTo>
                  <a:pt x="105" y="61"/>
                </a:lnTo>
                <a:lnTo>
                  <a:pt x="87" y="98"/>
                </a:lnTo>
                <a:lnTo>
                  <a:pt x="56" y="92"/>
                </a:lnTo>
                <a:lnTo>
                  <a:pt x="38" y="83"/>
                </a:lnTo>
                <a:lnTo>
                  <a:pt x="0" y="3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8" name="Freeform 845">
            <a:extLst>
              <a:ext uri="{FF2B5EF4-FFF2-40B4-BE49-F238E27FC236}">
                <a16:creationId xmlns:a16="http://schemas.microsoft.com/office/drawing/2014/main" id="{30045734-39C8-46F4-BEC5-366C45377553}"/>
              </a:ext>
            </a:extLst>
          </p:cNvPr>
          <p:cNvSpPr>
            <a:spLocks/>
          </p:cNvSpPr>
          <p:nvPr/>
        </p:nvSpPr>
        <p:spPr bwMode="auto">
          <a:xfrm>
            <a:off x="4232473" y="5625553"/>
            <a:ext cx="212832" cy="194840"/>
          </a:xfrm>
          <a:custGeom>
            <a:avLst/>
            <a:gdLst>
              <a:gd name="T0" fmla="*/ 0 w 186"/>
              <a:gd name="T1" fmla="*/ 6 h 175"/>
              <a:gd name="T2" fmla="*/ 0 w 186"/>
              <a:gd name="T3" fmla="*/ 6 h 175"/>
              <a:gd name="T4" fmla="*/ 23 w 186"/>
              <a:gd name="T5" fmla="*/ 0 h 175"/>
              <a:gd name="T6" fmla="*/ 134 w 186"/>
              <a:gd name="T7" fmla="*/ 16 h 175"/>
              <a:gd name="T8" fmla="*/ 159 w 186"/>
              <a:gd name="T9" fmla="*/ 9 h 175"/>
              <a:gd name="T10" fmla="*/ 185 w 186"/>
              <a:gd name="T11" fmla="*/ 12 h 175"/>
              <a:gd name="T12" fmla="*/ 185 w 186"/>
              <a:gd name="T13" fmla="*/ 12 h 175"/>
              <a:gd name="T14" fmla="*/ 162 w 186"/>
              <a:gd name="T15" fmla="*/ 25 h 175"/>
              <a:gd name="T16" fmla="*/ 154 w 186"/>
              <a:gd name="T17" fmla="*/ 16 h 175"/>
              <a:gd name="T18" fmla="*/ 128 w 186"/>
              <a:gd name="T19" fmla="*/ 22 h 175"/>
              <a:gd name="T20" fmla="*/ 128 w 186"/>
              <a:gd name="T21" fmla="*/ 71 h 175"/>
              <a:gd name="T22" fmla="*/ 114 w 186"/>
              <a:gd name="T23" fmla="*/ 71 h 175"/>
              <a:gd name="T24" fmla="*/ 114 w 186"/>
              <a:gd name="T25" fmla="*/ 110 h 175"/>
              <a:gd name="T26" fmla="*/ 114 w 186"/>
              <a:gd name="T27" fmla="*/ 165 h 175"/>
              <a:gd name="T28" fmla="*/ 102 w 186"/>
              <a:gd name="T29" fmla="*/ 174 h 175"/>
              <a:gd name="T30" fmla="*/ 84 w 186"/>
              <a:gd name="T31" fmla="*/ 174 h 175"/>
              <a:gd name="T32" fmla="*/ 75 w 186"/>
              <a:gd name="T33" fmla="*/ 162 h 175"/>
              <a:gd name="T34" fmla="*/ 67 w 186"/>
              <a:gd name="T35" fmla="*/ 168 h 175"/>
              <a:gd name="T36" fmla="*/ 49 w 186"/>
              <a:gd name="T37" fmla="*/ 149 h 175"/>
              <a:gd name="T38" fmla="*/ 39 w 186"/>
              <a:gd name="T39" fmla="*/ 88 h 175"/>
              <a:gd name="T40" fmla="*/ 39 w 186"/>
              <a:gd name="T41" fmla="*/ 81 h 175"/>
              <a:gd name="T42" fmla="*/ 0 w 186"/>
              <a:gd name="T43" fmla="*/ 6 h 175"/>
              <a:gd name="T44" fmla="*/ 0 w 186"/>
              <a:gd name="T45" fmla="*/ 6 h 17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86"/>
              <a:gd name="T70" fmla="*/ 0 h 175"/>
              <a:gd name="T71" fmla="*/ 186 w 186"/>
              <a:gd name="T72" fmla="*/ 175 h 175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86" h="175">
                <a:moveTo>
                  <a:pt x="0" y="6"/>
                </a:moveTo>
                <a:lnTo>
                  <a:pt x="0" y="6"/>
                </a:lnTo>
                <a:lnTo>
                  <a:pt x="23" y="0"/>
                </a:lnTo>
                <a:lnTo>
                  <a:pt x="134" y="16"/>
                </a:lnTo>
                <a:lnTo>
                  <a:pt x="159" y="9"/>
                </a:lnTo>
                <a:lnTo>
                  <a:pt x="185" y="12"/>
                </a:lnTo>
                <a:lnTo>
                  <a:pt x="162" y="25"/>
                </a:lnTo>
                <a:lnTo>
                  <a:pt x="154" y="16"/>
                </a:lnTo>
                <a:lnTo>
                  <a:pt x="128" y="22"/>
                </a:lnTo>
                <a:lnTo>
                  <a:pt x="128" y="71"/>
                </a:lnTo>
                <a:lnTo>
                  <a:pt x="114" y="71"/>
                </a:lnTo>
                <a:lnTo>
                  <a:pt x="114" y="110"/>
                </a:lnTo>
                <a:lnTo>
                  <a:pt x="114" y="165"/>
                </a:lnTo>
                <a:lnTo>
                  <a:pt x="102" y="174"/>
                </a:lnTo>
                <a:lnTo>
                  <a:pt x="84" y="174"/>
                </a:lnTo>
                <a:lnTo>
                  <a:pt x="75" y="162"/>
                </a:lnTo>
                <a:lnTo>
                  <a:pt x="67" y="168"/>
                </a:lnTo>
                <a:lnTo>
                  <a:pt x="49" y="149"/>
                </a:lnTo>
                <a:lnTo>
                  <a:pt x="39" y="88"/>
                </a:lnTo>
                <a:lnTo>
                  <a:pt x="39" y="81"/>
                </a:lnTo>
                <a:lnTo>
                  <a:pt x="0" y="6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9" name="Freeform 846">
            <a:extLst>
              <a:ext uri="{FF2B5EF4-FFF2-40B4-BE49-F238E27FC236}">
                <a16:creationId xmlns:a16="http://schemas.microsoft.com/office/drawing/2014/main" id="{DFF24CD1-56F1-2D05-C3F7-853369762573}"/>
              </a:ext>
            </a:extLst>
          </p:cNvPr>
          <p:cNvSpPr>
            <a:spLocks/>
          </p:cNvSpPr>
          <p:nvPr/>
        </p:nvSpPr>
        <p:spPr bwMode="auto">
          <a:xfrm>
            <a:off x="3787357" y="4939718"/>
            <a:ext cx="132734" cy="107997"/>
          </a:xfrm>
          <a:custGeom>
            <a:avLst/>
            <a:gdLst>
              <a:gd name="T0" fmla="*/ 0 w 116"/>
              <a:gd name="T1" fmla="*/ 96 h 97"/>
              <a:gd name="T2" fmla="*/ 0 w 116"/>
              <a:gd name="T3" fmla="*/ 96 h 97"/>
              <a:gd name="T4" fmla="*/ 54 w 116"/>
              <a:gd name="T5" fmla="*/ 0 h 97"/>
              <a:gd name="T6" fmla="*/ 114 w 116"/>
              <a:gd name="T7" fmla="*/ 2 h 97"/>
              <a:gd name="T8" fmla="*/ 115 w 116"/>
              <a:gd name="T9" fmla="*/ 7 h 97"/>
              <a:gd name="T10" fmla="*/ 114 w 116"/>
              <a:gd name="T11" fmla="*/ 25 h 97"/>
              <a:gd name="T12" fmla="*/ 70 w 116"/>
              <a:gd name="T13" fmla="*/ 24 h 97"/>
              <a:gd name="T14" fmla="*/ 70 w 116"/>
              <a:gd name="T15" fmla="*/ 61 h 97"/>
              <a:gd name="T16" fmla="*/ 54 w 116"/>
              <a:gd name="T17" fmla="*/ 67 h 97"/>
              <a:gd name="T18" fmla="*/ 55 w 116"/>
              <a:gd name="T19" fmla="*/ 90 h 97"/>
              <a:gd name="T20" fmla="*/ 0 w 116"/>
              <a:gd name="T21" fmla="*/ 96 h 97"/>
              <a:gd name="T22" fmla="*/ 0 w 116"/>
              <a:gd name="T23" fmla="*/ 96 h 9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16"/>
              <a:gd name="T37" fmla="*/ 0 h 97"/>
              <a:gd name="T38" fmla="*/ 116 w 116"/>
              <a:gd name="T39" fmla="*/ 97 h 9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16" h="97">
                <a:moveTo>
                  <a:pt x="0" y="96"/>
                </a:moveTo>
                <a:lnTo>
                  <a:pt x="0" y="96"/>
                </a:lnTo>
                <a:lnTo>
                  <a:pt x="54" y="0"/>
                </a:lnTo>
                <a:lnTo>
                  <a:pt x="114" y="2"/>
                </a:lnTo>
                <a:lnTo>
                  <a:pt x="115" y="7"/>
                </a:lnTo>
                <a:lnTo>
                  <a:pt x="114" y="25"/>
                </a:lnTo>
                <a:lnTo>
                  <a:pt x="70" y="24"/>
                </a:lnTo>
                <a:lnTo>
                  <a:pt x="70" y="61"/>
                </a:lnTo>
                <a:lnTo>
                  <a:pt x="54" y="67"/>
                </a:lnTo>
                <a:lnTo>
                  <a:pt x="55" y="90"/>
                </a:lnTo>
                <a:lnTo>
                  <a:pt x="0" y="96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0" name="Freeform 847">
            <a:extLst>
              <a:ext uri="{FF2B5EF4-FFF2-40B4-BE49-F238E27FC236}">
                <a16:creationId xmlns:a16="http://schemas.microsoft.com/office/drawing/2014/main" id="{EC725152-5619-83B5-11B6-6D0D96105DC8}"/>
              </a:ext>
            </a:extLst>
          </p:cNvPr>
          <p:cNvSpPr>
            <a:spLocks/>
          </p:cNvSpPr>
          <p:nvPr/>
        </p:nvSpPr>
        <p:spPr bwMode="auto">
          <a:xfrm>
            <a:off x="4394957" y="5014313"/>
            <a:ext cx="259746" cy="300610"/>
          </a:xfrm>
          <a:custGeom>
            <a:avLst/>
            <a:gdLst>
              <a:gd name="T0" fmla="*/ 0 w 227"/>
              <a:gd name="T1" fmla="*/ 142 h 270"/>
              <a:gd name="T2" fmla="*/ 0 w 227"/>
              <a:gd name="T3" fmla="*/ 142 h 270"/>
              <a:gd name="T4" fmla="*/ 10 w 227"/>
              <a:gd name="T5" fmla="*/ 169 h 270"/>
              <a:gd name="T6" fmla="*/ 20 w 227"/>
              <a:gd name="T7" fmla="*/ 198 h 270"/>
              <a:gd name="T8" fmla="*/ 43 w 227"/>
              <a:gd name="T9" fmla="*/ 209 h 270"/>
              <a:gd name="T10" fmla="*/ 76 w 227"/>
              <a:gd name="T11" fmla="*/ 249 h 270"/>
              <a:gd name="T12" fmla="*/ 122 w 227"/>
              <a:gd name="T13" fmla="*/ 269 h 270"/>
              <a:gd name="T14" fmla="*/ 164 w 227"/>
              <a:gd name="T15" fmla="*/ 264 h 270"/>
              <a:gd name="T16" fmla="*/ 189 w 227"/>
              <a:gd name="T17" fmla="*/ 256 h 270"/>
              <a:gd name="T18" fmla="*/ 174 w 227"/>
              <a:gd name="T19" fmla="*/ 227 h 270"/>
              <a:gd name="T20" fmla="*/ 150 w 227"/>
              <a:gd name="T21" fmla="*/ 211 h 270"/>
              <a:gd name="T22" fmla="*/ 166 w 227"/>
              <a:gd name="T23" fmla="*/ 200 h 270"/>
              <a:gd name="T24" fmla="*/ 167 w 227"/>
              <a:gd name="T25" fmla="*/ 176 h 270"/>
              <a:gd name="T26" fmla="*/ 194 w 227"/>
              <a:gd name="T27" fmla="*/ 143 h 270"/>
              <a:gd name="T28" fmla="*/ 205 w 227"/>
              <a:gd name="T29" fmla="*/ 84 h 270"/>
              <a:gd name="T30" fmla="*/ 226 w 227"/>
              <a:gd name="T31" fmla="*/ 71 h 270"/>
              <a:gd name="T32" fmla="*/ 210 w 227"/>
              <a:gd name="T33" fmla="*/ 59 h 270"/>
              <a:gd name="T34" fmla="*/ 203 w 227"/>
              <a:gd name="T35" fmla="*/ 16 h 270"/>
              <a:gd name="T36" fmla="*/ 185 w 227"/>
              <a:gd name="T37" fmla="*/ 0 h 270"/>
              <a:gd name="T38" fmla="*/ 164 w 227"/>
              <a:gd name="T39" fmla="*/ 18 h 270"/>
              <a:gd name="T40" fmla="*/ 41 w 227"/>
              <a:gd name="T41" fmla="*/ 15 h 270"/>
              <a:gd name="T42" fmla="*/ 41 w 227"/>
              <a:gd name="T43" fmla="*/ 43 h 270"/>
              <a:gd name="T44" fmla="*/ 29 w 227"/>
              <a:gd name="T45" fmla="*/ 43 h 270"/>
              <a:gd name="T46" fmla="*/ 29 w 227"/>
              <a:gd name="T47" fmla="*/ 51 h 270"/>
              <a:gd name="T48" fmla="*/ 28 w 227"/>
              <a:gd name="T49" fmla="*/ 103 h 270"/>
              <a:gd name="T50" fmla="*/ 14 w 227"/>
              <a:gd name="T51" fmla="*/ 106 h 270"/>
              <a:gd name="T52" fmla="*/ 0 w 227"/>
              <a:gd name="T53" fmla="*/ 142 h 270"/>
              <a:gd name="T54" fmla="*/ 0 w 227"/>
              <a:gd name="T55" fmla="*/ 142 h 27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27"/>
              <a:gd name="T85" fmla="*/ 0 h 270"/>
              <a:gd name="T86" fmla="*/ 227 w 227"/>
              <a:gd name="T87" fmla="*/ 270 h 270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27" h="270">
                <a:moveTo>
                  <a:pt x="0" y="142"/>
                </a:moveTo>
                <a:lnTo>
                  <a:pt x="0" y="142"/>
                </a:lnTo>
                <a:lnTo>
                  <a:pt x="10" y="169"/>
                </a:lnTo>
                <a:lnTo>
                  <a:pt x="20" y="198"/>
                </a:lnTo>
                <a:lnTo>
                  <a:pt x="43" y="209"/>
                </a:lnTo>
                <a:lnTo>
                  <a:pt x="76" y="249"/>
                </a:lnTo>
                <a:lnTo>
                  <a:pt x="122" y="269"/>
                </a:lnTo>
                <a:lnTo>
                  <a:pt x="164" y="264"/>
                </a:lnTo>
                <a:lnTo>
                  <a:pt x="189" y="256"/>
                </a:lnTo>
                <a:lnTo>
                  <a:pt x="174" y="227"/>
                </a:lnTo>
                <a:lnTo>
                  <a:pt x="150" y="211"/>
                </a:lnTo>
                <a:lnTo>
                  <a:pt x="166" y="200"/>
                </a:lnTo>
                <a:lnTo>
                  <a:pt x="167" y="176"/>
                </a:lnTo>
                <a:lnTo>
                  <a:pt x="194" y="143"/>
                </a:lnTo>
                <a:lnTo>
                  <a:pt x="205" y="84"/>
                </a:lnTo>
                <a:lnTo>
                  <a:pt x="226" y="71"/>
                </a:lnTo>
                <a:lnTo>
                  <a:pt x="210" y="59"/>
                </a:lnTo>
                <a:lnTo>
                  <a:pt x="203" y="16"/>
                </a:lnTo>
                <a:lnTo>
                  <a:pt x="185" y="0"/>
                </a:lnTo>
                <a:lnTo>
                  <a:pt x="164" y="18"/>
                </a:lnTo>
                <a:lnTo>
                  <a:pt x="41" y="15"/>
                </a:lnTo>
                <a:lnTo>
                  <a:pt x="41" y="43"/>
                </a:lnTo>
                <a:lnTo>
                  <a:pt x="29" y="43"/>
                </a:lnTo>
                <a:lnTo>
                  <a:pt x="29" y="51"/>
                </a:lnTo>
                <a:lnTo>
                  <a:pt x="28" y="103"/>
                </a:lnTo>
                <a:lnTo>
                  <a:pt x="14" y="106"/>
                </a:lnTo>
                <a:lnTo>
                  <a:pt x="0" y="14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1" name="Freeform 848">
            <a:extLst>
              <a:ext uri="{FF2B5EF4-FFF2-40B4-BE49-F238E27FC236}">
                <a16:creationId xmlns:a16="http://schemas.microsoft.com/office/drawing/2014/main" id="{2900421A-1574-33C5-4B90-DEED82242D91}"/>
              </a:ext>
            </a:extLst>
          </p:cNvPr>
          <p:cNvSpPr>
            <a:spLocks/>
          </p:cNvSpPr>
          <p:nvPr/>
        </p:nvSpPr>
        <p:spPr bwMode="auto">
          <a:xfrm>
            <a:off x="4533412" y="5764724"/>
            <a:ext cx="19452" cy="25608"/>
          </a:xfrm>
          <a:custGeom>
            <a:avLst/>
            <a:gdLst>
              <a:gd name="T0" fmla="*/ 0 w 17"/>
              <a:gd name="T1" fmla="*/ 12 h 23"/>
              <a:gd name="T2" fmla="*/ 0 w 17"/>
              <a:gd name="T3" fmla="*/ 12 h 23"/>
              <a:gd name="T4" fmla="*/ 9 w 17"/>
              <a:gd name="T5" fmla="*/ 22 h 23"/>
              <a:gd name="T6" fmla="*/ 16 w 17"/>
              <a:gd name="T7" fmla="*/ 14 h 23"/>
              <a:gd name="T8" fmla="*/ 14 w 17"/>
              <a:gd name="T9" fmla="*/ 0 h 23"/>
              <a:gd name="T10" fmla="*/ 0 w 17"/>
              <a:gd name="T11" fmla="*/ 12 h 23"/>
              <a:gd name="T12" fmla="*/ 0 w 17"/>
              <a:gd name="T13" fmla="*/ 12 h 2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7"/>
              <a:gd name="T22" fmla="*/ 0 h 23"/>
              <a:gd name="T23" fmla="*/ 17 w 17"/>
              <a:gd name="T24" fmla="*/ 23 h 2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7" h="23">
                <a:moveTo>
                  <a:pt x="0" y="12"/>
                </a:moveTo>
                <a:lnTo>
                  <a:pt x="0" y="12"/>
                </a:lnTo>
                <a:lnTo>
                  <a:pt x="9" y="22"/>
                </a:lnTo>
                <a:lnTo>
                  <a:pt x="16" y="14"/>
                </a:ln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2" name="Freeform 849">
            <a:extLst>
              <a:ext uri="{FF2B5EF4-FFF2-40B4-BE49-F238E27FC236}">
                <a16:creationId xmlns:a16="http://schemas.microsoft.com/office/drawing/2014/main" id="{6CB09A1A-E174-1C20-54ED-E35FF7D8130C}"/>
              </a:ext>
            </a:extLst>
          </p:cNvPr>
          <p:cNvSpPr>
            <a:spLocks/>
          </p:cNvSpPr>
          <p:nvPr/>
        </p:nvSpPr>
        <p:spPr bwMode="auto">
          <a:xfrm>
            <a:off x="4516248" y="5382839"/>
            <a:ext cx="169350" cy="162552"/>
          </a:xfrm>
          <a:custGeom>
            <a:avLst/>
            <a:gdLst>
              <a:gd name="T0" fmla="*/ 0 w 148"/>
              <a:gd name="T1" fmla="*/ 46 h 146"/>
              <a:gd name="T2" fmla="*/ 0 w 148"/>
              <a:gd name="T3" fmla="*/ 46 h 146"/>
              <a:gd name="T4" fmla="*/ 1 w 148"/>
              <a:gd name="T5" fmla="*/ 74 h 146"/>
              <a:gd name="T6" fmla="*/ 19 w 148"/>
              <a:gd name="T7" fmla="*/ 103 h 146"/>
              <a:gd name="T8" fmla="*/ 44 w 148"/>
              <a:gd name="T9" fmla="*/ 115 h 146"/>
              <a:gd name="T10" fmla="*/ 57 w 148"/>
              <a:gd name="T11" fmla="*/ 118 h 146"/>
              <a:gd name="T12" fmla="*/ 72 w 148"/>
              <a:gd name="T13" fmla="*/ 145 h 146"/>
              <a:gd name="T14" fmla="*/ 127 w 148"/>
              <a:gd name="T15" fmla="*/ 142 h 146"/>
              <a:gd name="T16" fmla="*/ 147 w 148"/>
              <a:gd name="T17" fmla="*/ 130 h 146"/>
              <a:gd name="T18" fmla="*/ 126 w 148"/>
              <a:gd name="T19" fmla="*/ 72 h 146"/>
              <a:gd name="T20" fmla="*/ 132 w 148"/>
              <a:gd name="T21" fmla="*/ 50 h 146"/>
              <a:gd name="T22" fmla="*/ 61 w 148"/>
              <a:gd name="T23" fmla="*/ 0 h 146"/>
              <a:gd name="T24" fmla="*/ 43 w 148"/>
              <a:gd name="T25" fmla="*/ 25 h 146"/>
              <a:gd name="T26" fmla="*/ 35 w 148"/>
              <a:gd name="T27" fmla="*/ 18 h 146"/>
              <a:gd name="T28" fmla="*/ 29 w 148"/>
              <a:gd name="T29" fmla="*/ 24 h 146"/>
              <a:gd name="T30" fmla="*/ 29 w 148"/>
              <a:gd name="T31" fmla="*/ 0 h 146"/>
              <a:gd name="T32" fmla="*/ 11 w 148"/>
              <a:gd name="T33" fmla="*/ 1 h 146"/>
              <a:gd name="T34" fmla="*/ 14 w 148"/>
              <a:gd name="T35" fmla="*/ 19 h 146"/>
              <a:gd name="T36" fmla="*/ 15 w 148"/>
              <a:gd name="T37" fmla="*/ 30 h 146"/>
              <a:gd name="T38" fmla="*/ 0 w 148"/>
              <a:gd name="T39" fmla="*/ 46 h 146"/>
              <a:gd name="T40" fmla="*/ 0 w 148"/>
              <a:gd name="T41" fmla="*/ 46 h 14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48"/>
              <a:gd name="T64" fmla="*/ 0 h 146"/>
              <a:gd name="T65" fmla="*/ 148 w 148"/>
              <a:gd name="T66" fmla="*/ 146 h 14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48" h="146">
                <a:moveTo>
                  <a:pt x="0" y="46"/>
                </a:moveTo>
                <a:lnTo>
                  <a:pt x="0" y="46"/>
                </a:lnTo>
                <a:lnTo>
                  <a:pt x="1" y="74"/>
                </a:lnTo>
                <a:lnTo>
                  <a:pt x="19" y="103"/>
                </a:lnTo>
                <a:lnTo>
                  <a:pt x="44" y="115"/>
                </a:lnTo>
                <a:lnTo>
                  <a:pt x="57" y="118"/>
                </a:lnTo>
                <a:lnTo>
                  <a:pt x="72" y="145"/>
                </a:lnTo>
                <a:lnTo>
                  <a:pt x="127" y="142"/>
                </a:lnTo>
                <a:lnTo>
                  <a:pt x="147" y="130"/>
                </a:lnTo>
                <a:lnTo>
                  <a:pt x="126" y="72"/>
                </a:lnTo>
                <a:lnTo>
                  <a:pt x="132" y="50"/>
                </a:lnTo>
                <a:lnTo>
                  <a:pt x="61" y="0"/>
                </a:lnTo>
                <a:lnTo>
                  <a:pt x="43" y="25"/>
                </a:lnTo>
                <a:lnTo>
                  <a:pt x="35" y="18"/>
                </a:lnTo>
                <a:lnTo>
                  <a:pt x="29" y="24"/>
                </a:lnTo>
                <a:lnTo>
                  <a:pt x="29" y="0"/>
                </a:lnTo>
                <a:lnTo>
                  <a:pt x="11" y="1"/>
                </a:lnTo>
                <a:lnTo>
                  <a:pt x="14" y="19"/>
                </a:lnTo>
                <a:lnTo>
                  <a:pt x="15" y="30"/>
                </a:lnTo>
                <a:lnTo>
                  <a:pt x="0" y="46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3" name="Freeform 850">
            <a:extLst>
              <a:ext uri="{FF2B5EF4-FFF2-40B4-BE49-F238E27FC236}">
                <a16:creationId xmlns:a16="http://schemas.microsoft.com/office/drawing/2014/main" id="{BAFEA5D4-39C2-9613-4732-CC6034005E10}"/>
              </a:ext>
            </a:extLst>
          </p:cNvPr>
          <p:cNvSpPr>
            <a:spLocks/>
          </p:cNvSpPr>
          <p:nvPr/>
        </p:nvSpPr>
        <p:spPr bwMode="auto">
          <a:xfrm>
            <a:off x="4049391" y="5199133"/>
            <a:ext cx="34328" cy="79049"/>
          </a:xfrm>
          <a:custGeom>
            <a:avLst/>
            <a:gdLst>
              <a:gd name="T0" fmla="*/ 0 w 30"/>
              <a:gd name="T1" fmla="*/ 0 h 71"/>
              <a:gd name="T2" fmla="*/ 0 w 30"/>
              <a:gd name="T3" fmla="*/ 0 h 71"/>
              <a:gd name="T4" fmla="*/ 15 w 30"/>
              <a:gd name="T5" fmla="*/ 4 h 71"/>
              <a:gd name="T6" fmla="*/ 29 w 30"/>
              <a:gd name="T7" fmla="*/ 67 h 71"/>
              <a:gd name="T8" fmla="*/ 19 w 30"/>
              <a:gd name="T9" fmla="*/ 70 h 71"/>
              <a:gd name="T10" fmla="*/ 0 w 30"/>
              <a:gd name="T11" fmla="*/ 0 h 71"/>
              <a:gd name="T12" fmla="*/ 0 w 30"/>
              <a:gd name="T13" fmla="*/ 0 h 7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0"/>
              <a:gd name="T22" fmla="*/ 0 h 71"/>
              <a:gd name="T23" fmla="*/ 30 w 30"/>
              <a:gd name="T24" fmla="*/ 71 h 7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0" h="71">
                <a:moveTo>
                  <a:pt x="0" y="0"/>
                </a:moveTo>
                <a:lnTo>
                  <a:pt x="0" y="0"/>
                </a:lnTo>
                <a:lnTo>
                  <a:pt x="15" y="4"/>
                </a:lnTo>
                <a:lnTo>
                  <a:pt x="29" y="67"/>
                </a:lnTo>
                <a:lnTo>
                  <a:pt x="19" y="70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4" name="Freeform 851">
            <a:extLst>
              <a:ext uri="{FF2B5EF4-FFF2-40B4-BE49-F238E27FC236}">
                <a16:creationId xmlns:a16="http://schemas.microsoft.com/office/drawing/2014/main" id="{0B80EB94-192C-ECCE-AB4A-2E11B11B95A9}"/>
              </a:ext>
            </a:extLst>
          </p:cNvPr>
          <p:cNvSpPr>
            <a:spLocks/>
          </p:cNvSpPr>
          <p:nvPr/>
        </p:nvSpPr>
        <p:spPr bwMode="auto">
          <a:xfrm>
            <a:off x="4516248" y="5308243"/>
            <a:ext cx="84675" cy="81276"/>
          </a:xfrm>
          <a:custGeom>
            <a:avLst/>
            <a:gdLst>
              <a:gd name="T0" fmla="*/ 0 w 74"/>
              <a:gd name="T1" fmla="*/ 72 h 73"/>
              <a:gd name="T2" fmla="*/ 0 w 74"/>
              <a:gd name="T3" fmla="*/ 72 h 73"/>
              <a:gd name="T4" fmla="*/ 11 w 74"/>
              <a:gd name="T5" fmla="*/ 68 h 73"/>
              <a:gd name="T6" fmla="*/ 29 w 74"/>
              <a:gd name="T7" fmla="*/ 67 h 73"/>
              <a:gd name="T8" fmla="*/ 29 w 74"/>
              <a:gd name="T9" fmla="*/ 57 h 73"/>
              <a:gd name="T10" fmla="*/ 58 w 74"/>
              <a:gd name="T11" fmla="*/ 51 h 73"/>
              <a:gd name="T12" fmla="*/ 73 w 74"/>
              <a:gd name="T13" fmla="*/ 26 h 73"/>
              <a:gd name="T14" fmla="*/ 58 w 74"/>
              <a:gd name="T15" fmla="*/ 0 h 73"/>
              <a:gd name="T16" fmla="*/ 16 w 74"/>
              <a:gd name="T17" fmla="*/ 5 h 73"/>
              <a:gd name="T18" fmla="*/ 21 w 74"/>
              <a:gd name="T19" fmla="*/ 24 h 73"/>
              <a:gd name="T20" fmla="*/ 12 w 74"/>
              <a:gd name="T21" fmla="*/ 37 h 73"/>
              <a:gd name="T22" fmla="*/ 0 w 74"/>
              <a:gd name="T23" fmla="*/ 72 h 73"/>
              <a:gd name="T24" fmla="*/ 0 w 74"/>
              <a:gd name="T25" fmla="*/ 72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74"/>
              <a:gd name="T40" fmla="*/ 0 h 73"/>
              <a:gd name="T41" fmla="*/ 74 w 74"/>
              <a:gd name="T42" fmla="*/ 73 h 7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74" h="73">
                <a:moveTo>
                  <a:pt x="0" y="72"/>
                </a:moveTo>
                <a:lnTo>
                  <a:pt x="0" y="72"/>
                </a:lnTo>
                <a:lnTo>
                  <a:pt x="11" y="68"/>
                </a:lnTo>
                <a:lnTo>
                  <a:pt x="29" y="67"/>
                </a:lnTo>
                <a:lnTo>
                  <a:pt x="29" y="57"/>
                </a:lnTo>
                <a:lnTo>
                  <a:pt x="58" y="51"/>
                </a:lnTo>
                <a:lnTo>
                  <a:pt x="73" y="26"/>
                </a:lnTo>
                <a:lnTo>
                  <a:pt x="58" y="0"/>
                </a:lnTo>
                <a:lnTo>
                  <a:pt x="16" y="5"/>
                </a:lnTo>
                <a:lnTo>
                  <a:pt x="21" y="24"/>
                </a:lnTo>
                <a:lnTo>
                  <a:pt x="12" y="37"/>
                </a:lnTo>
                <a:lnTo>
                  <a:pt x="0" y="72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5" name="Freeform 852">
            <a:extLst>
              <a:ext uri="{FF2B5EF4-FFF2-40B4-BE49-F238E27FC236}">
                <a16:creationId xmlns:a16="http://schemas.microsoft.com/office/drawing/2014/main" id="{5FDE5548-5988-E0D2-5535-BFE10AD0D4C8}"/>
              </a:ext>
            </a:extLst>
          </p:cNvPr>
          <p:cNvSpPr>
            <a:spLocks/>
          </p:cNvSpPr>
          <p:nvPr/>
        </p:nvSpPr>
        <p:spPr bwMode="auto">
          <a:xfrm>
            <a:off x="4435006" y="4875142"/>
            <a:ext cx="176215" cy="160325"/>
          </a:xfrm>
          <a:custGeom>
            <a:avLst/>
            <a:gdLst>
              <a:gd name="T0" fmla="*/ 0 w 154"/>
              <a:gd name="T1" fmla="*/ 24 h 144"/>
              <a:gd name="T2" fmla="*/ 0 w 154"/>
              <a:gd name="T3" fmla="*/ 24 h 144"/>
              <a:gd name="T4" fmla="*/ 6 w 154"/>
              <a:gd name="T5" fmla="*/ 140 h 144"/>
              <a:gd name="T6" fmla="*/ 129 w 154"/>
              <a:gd name="T7" fmla="*/ 143 h 144"/>
              <a:gd name="T8" fmla="*/ 150 w 154"/>
              <a:gd name="T9" fmla="*/ 125 h 144"/>
              <a:gd name="T10" fmla="*/ 153 w 154"/>
              <a:gd name="T11" fmla="*/ 113 h 144"/>
              <a:gd name="T12" fmla="*/ 107 w 154"/>
              <a:gd name="T13" fmla="*/ 30 h 144"/>
              <a:gd name="T14" fmla="*/ 129 w 154"/>
              <a:gd name="T15" fmla="*/ 57 h 144"/>
              <a:gd name="T16" fmla="*/ 140 w 154"/>
              <a:gd name="T17" fmla="*/ 34 h 144"/>
              <a:gd name="T18" fmla="*/ 129 w 154"/>
              <a:gd name="T19" fmla="*/ 5 h 144"/>
              <a:gd name="T20" fmla="*/ 100 w 154"/>
              <a:gd name="T21" fmla="*/ 10 h 144"/>
              <a:gd name="T22" fmla="*/ 100 w 154"/>
              <a:gd name="T23" fmla="*/ 2 h 144"/>
              <a:gd name="T24" fmla="*/ 85 w 154"/>
              <a:gd name="T25" fmla="*/ 2 h 144"/>
              <a:gd name="T26" fmla="*/ 59 w 154"/>
              <a:gd name="T27" fmla="*/ 12 h 144"/>
              <a:gd name="T28" fmla="*/ 6 w 154"/>
              <a:gd name="T29" fmla="*/ 0 h 144"/>
              <a:gd name="T30" fmla="*/ 0 w 154"/>
              <a:gd name="T31" fmla="*/ 24 h 144"/>
              <a:gd name="T32" fmla="*/ 0 w 154"/>
              <a:gd name="T33" fmla="*/ 24 h 1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54"/>
              <a:gd name="T52" fmla="*/ 0 h 144"/>
              <a:gd name="T53" fmla="*/ 154 w 154"/>
              <a:gd name="T54" fmla="*/ 144 h 14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54" h="144">
                <a:moveTo>
                  <a:pt x="0" y="24"/>
                </a:moveTo>
                <a:lnTo>
                  <a:pt x="0" y="24"/>
                </a:lnTo>
                <a:lnTo>
                  <a:pt x="6" y="140"/>
                </a:lnTo>
                <a:lnTo>
                  <a:pt x="129" y="143"/>
                </a:lnTo>
                <a:lnTo>
                  <a:pt x="150" y="125"/>
                </a:lnTo>
                <a:lnTo>
                  <a:pt x="153" y="113"/>
                </a:lnTo>
                <a:lnTo>
                  <a:pt x="107" y="30"/>
                </a:lnTo>
                <a:lnTo>
                  <a:pt x="129" y="57"/>
                </a:lnTo>
                <a:lnTo>
                  <a:pt x="140" y="34"/>
                </a:lnTo>
                <a:lnTo>
                  <a:pt x="129" y="5"/>
                </a:lnTo>
                <a:lnTo>
                  <a:pt x="100" y="10"/>
                </a:lnTo>
                <a:lnTo>
                  <a:pt x="100" y="2"/>
                </a:lnTo>
                <a:lnTo>
                  <a:pt x="85" y="2"/>
                </a:lnTo>
                <a:lnTo>
                  <a:pt x="59" y="12"/>
                </a:lnTo>
                <a:lnTo>
                  <a:pt x="6" y="0"/>
                </a:lnTo>
                <a:lnTo>
                  <a:pt x="0" y="2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6" name="Freeform 853">
            <a:extLst>
              <a:ext uri="{FF2B5EF4-FFF2-40B4-BE49-F238E27FC236}">
                <a16:creationId xmlns:a16="http://schemas.microsoft.com/office/drawing/2014/main" id="{34177691-D0FC-50C2-9C16-8B6C1C4DBE46}"/>
              </a:ext>
            </a:extLst>
          </p:cNvPr>
          <p:cNvSpPr>
            <a:spLocks/>
          </p:cNvSpPr>
          <p:nvPr/>
        </p:nvSpPr>
        <p:spPr bwMode="auto">
          <a:xfrm>
            <a:off x="3971582" y="5141237"/>
            <a:ext cx="117858" cy="84616"/>
          </a:xfrm>
          <a:custGeom>
            <a:avLst/>
            <a:gdLst>
              <a:gd name="T0" fmla="*/ 0 w 103"/>
              <a:gd name="T1" fmla="*/ 63 h 76"/>
              <a:gd name="T2" fmla="*/ 0 w 103"/>
              <a:gd name="T3" fmla="*/ 63 h 76"/>
              <a:gd name="T4" fmla="*/ 7 w 103"/>
              <a:gd name="T5" fmla="*/ 72 h 76"/>
              <a:gd name="T6" fmla="*/ 34 w 103"/>
              <a:gd name="T7" fmla="*/ 75 h 76"/>
              <a:gd name="T8" fmla="*/ 32 w 103"/>
              <a:gd name="T9" fmla="*/ 56 h 76"/>
              <a:gd name="T10" fmla="*/ 68 w 103"/>
              <a:gd name="T11" fmla="*/ 52 h 76"/>
              <a:gd name="T12" fmla="*/ 83 w 103"/>
              <a:gd name="T13" fmla="*/ 56 h 76"/>
              <a:gd name="T14" fmla="*/ 102 w 103"/>
              <a:gd name="T15" fmla="*/ 42 h 76"/>
              <a:gd name="T16" fmla="*/ 76 w 103"/>
              <a:gd name="T17" fmla="*/ 13 h 76"/>
              <a:gd name="T18" fmla="*/ 73 w 103"/>
              <a:gd name="T19" fmla="*/ 0 h 76"/>
              <a:gd name="T20" fmla="*/ 17 w 103"/>
              <a:gd name="T21" fmla="*/ 24 h 76"/>
              <a:gd name="T22" fmla="*/ 0 w 103"/>
              <a:gd name="T23" fmla="*/ 63 h 76"/>
              <a:gd name="T24" fmla="*/ 0 w 103"/>
              <a:gd name="T25" fmla="*/ 63 h 7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3"/>
              <a:gd name="T40" fmla="*/ 0 h 76"/>
              <a:gd name="T41" fmla="*/ 103 w 103"/>
              <a:gd name="T42" fmla="*/ 76 h 7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3" h="76">
                <a:moveTo>
                  <a:pt x="0" y="63"/>
                </a:moveTo>
                <a:lnTo>
                  <a:pt x="0" y="63"/>
                </a:lnTo>
                <a:lnTo>
                  <a:pt x="7" y="72"/>
                </a:lnTo>
                <a:lnTo>
                  <a:pt x="34" y="75"/>
                </a:lnTo>
                <a:lnTo>
                  <a:pt x="32" y="56"/>
                </a:lnTo>
                <a:lnTo>
                  <a:pt x="68" y="52"/>
                </a:lnTo>
                <a:lnTo>
                  <a:pt x="83" y="56"/>
                </a:lnTo>
                <a:lnTo>
                  <a:pt x="102" y="42"/>
                </a:lnTo>
                <a:lnTo>
                  <a:pt x="76" y="13"/>
                </a:lnTo>
                <a:lnTo>
                  <a:pt x="73" y="0"/>
                </a:lnTo>
                <a:lnTo>
                  <a:pt x="17" y="24"/>
                </a:lnTo>
                <a:lnTo>
                  <a:pt x="0" y="63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7" name="Freeform 854">
            <a:extLst>
              <a:ext uri="{FF2B5EF4-FFF2-40B4-BE49-F238E27FC236}">
                <a16:creationId xmlns:a16="http://schemas.microsoft.com/office/drawing/2014/main" id="{61FDF46B-8AFC-BE4A-481D-06BC8B0D08AA}"/>
              </a:ext>
            </a:extLst>
          </p:cNvPr>
          <p:cNvSpPr>
            <a:spLocks/>
          </p:cNvSpPr>
          <p:nvPr/>
        </p:nvSpPr>
        <p:spPr bwMode="auto">
          <a:xfrm>
            <a:off x="4394957" y="5491948"/>
            <a:ext cx="185370" cy="149191"/>
          </a:xfrm>
          <a:custGeom>
            <a:avLst/>
            <a:gdLst>
              <a:gd name="T0" fmla="*/ 0 w 162"/>
              <a:gd name="T1" fmla="*/ 65 h 134"/>
              <a:gd name="T2" fmla="*/ 0 w 162"/>
              <a:gd name="T3" fmla="*/ 65 h 134"/>
              <a:gd name="T4" fmla="*/ 0 w 162"/>
              <a:gd name="T5" fmla="*/ 116 h 134"/>
              <a:gd name="T6" fmla="*/ 17 w 162"/>
              <a:gd name="T7" fmla="*/ 129 h 134"/>
              <a:gd name="T8" fmla="*/ 43 w 162"/>
              <a:gd name="T9" fmla="*/ 132 h 134"/>
              <a:gd name="T10" fmla="*/ 67 w 162"/>
              <a:gd name="T11" fmla="*/ 133 h 134"/>
              <a:gd name="T12" fmla="*/ 91 w 162"/>
              <a:gd name="T13" fmla="*/ 115 h 134"/>
              <a:gd name="T14" fmla="*/ 92 w 162"/>
              <a:gd name="T15" fmla="*/ 107 h 134"/>
              <a:gd name="T16" fmla="*/ 113 w 162"/>
              <a:gd name="T17" fmla="*/ 102 h 134"/>
              <a:gd name="T18" fmla="*/ 109 w 162"/>
              <a:gd name="T19" fmla="*/ 95 h 134"/>
              <a:gd name="T20" fmla="*/ 153 w 162"/>
              <a:gd name="T21" fmla="*/ 81 h 134"/>
              <a:gd name="T22" fmla="*/ 147 w 162"/>
              <a:gd name="T23" fmla="*/ 75 h 134"/>
              <a:gd name="T24" fmla="*/ 161 w 162"/>
              <a:gd name="T25" fmla="*/ 34 h 134"/>
              <a:gd name="T26" fmla="*/ 150 w 162"/>
              <a:gd name="T27" fmla="*/ 17 h 134"/>
              <a:gd name="T28" fmla="*/ 125 w 162"/>
              <a:gd name="T29" fmla="*/ 5 h 134"/>
              <a:gd name="T30" fmla="*/ 118 w 162"/>
              <a:gd name="T31" fmla="*/ 0 h 134"/>
              <a:gd name="T32" fmla="*/ 93 w 162"/>
              <a:gd name="T33" fmla="*/ 12 h 134"/>
              <a:gd name="T34" fmla="*/ 90 w 162"/>
              <a:gd name="T35" fmla="*/ 48 h 134"/>
              <a:gd name="T36" fmla="*/ 106 w 162"/>
              <a:gd name="T37" fmla="*/ 55 h 134"/>
              <a:gd name="T38" fmla="*/ 106 w 162"/>
              <a:gd name="T39" fmla="*/ 69 h 134"/>
              <a:gd name="T40" fmla="*/ 28 w 162"/>
              <a:gd name="T41" fmla="*/ 37 h 134"/>
              <a:gd name="T42" fmla="*/ 31 w 162"/>
              <a:gd name="T43" fmla="*/ 65 h 134"/>
              <a:gd name="T44" fmla="*/ 0 w 162"/>
              <a:gd name="T45" fmla="*/ 65 h 134"/>
              <a:gd name="T46" fmla="*/ 0 w 162"/>
              <a:gd name="T47" fmla="*/ 65 h 13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62"/>
              <a:gd name="T73" fmla="*/ 0 h 134"/>
              <a:gd name="T74" fmla="*/ 162 w 162"/>
              <a:gd name="T75" fmla="*/ 134 h 134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62" h="134">
                <a:moveTo>
                  <a:pt x="0" y="65"/>
                </a:moveTo>
                <a:lnTo>
                  <a:pt x="0" y="65"/>
                </a:lnTo>
                <a:lnTo>
                  <a:pt x="0" y="116"/>
                </a:lnTo>
                <a:lnTo>
                  <a:pt x="17" y="129"/>
                </a:lnTo>
                <a:lnTo>
                  <a:pt x="43" y="132"/>
                </a:lnTo>
                <a:lnTo>
                  <a:pt x="67" y="133"/>
                </a:lnTo>
                <a:lnTo>
                  <a:pt x="91" y="115"/>
                </a:lnTo>
                <a:lnTo>
                  <a:pt x="92" y="107"/>
                </a:lnTo>
                <a:lnTo>
                  <a:pt x="113" y="102"/>
                </a:lnTo>
                <a:lnTo>
                  <a:pt x="109" y="95"/>
                </a:lnTo>
                <a:lnTo>
                  <a:pt x="153" y="81"/>
                </a:lnTo>
                <a:lnTo>
                  <a:pt x="147" y="75"/>
                </a:lnTo>
                <a:lnTo>
                  <a:pt x="161" y="34"/>
                </a:lnTo>
                <a:lnTo>
                  <a:pt x="150" y="17"/>
                </a:lnTo>
                <a:lnTo>
                  <a:pt x="125" y="5"/>
                </a:lnTo>
                <a:lnTo>
                  <a:pt x="118" y="0"/>
                </a:lnTo>
                <a:lnTo>
                  <a:pt x="93" y="12"/>
                </a:lnTo>
                <a:lnTo>
                  <a:pt x="90" y="48"/>
                </a:lnTo>
                <a:lnTo>
                  <a:pt x="106" y="55"/>
                </a:lnTo>
                <a:lnTo>
                  <a:pt x="106" y="69"/>
                </a:lnTo>
                <a:lnTo>
                  <a:pt x="28" y="37"/>
                </a:lnTo>
                <a:lnTo>
                  <a:pt x="31" y="65"/>
                </a:lnTo>
                <a:lnTo>
                  <a:pt x="0" y="6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8" name="Freeform 855">
            <a:extLst>
              <a:ext uri="{FF2B5EF4-FFF2-40B4-BE49-F238E27FC236}">
                <a16:creationId xmlns:a16="http://schemas.microsoft.com/office/drawing/2014/main" id="{F1880FDC-379D-F69A-2653-24A42BA7806C}"/>
              </a:ext>
            </a:extLst>
          </p:cNvPr>
          <p:cNvSpPr>
            <a:spLocks/>
          </p:cNvSpPr>
          <p:nvPr/>
        </p:nvSpPr>
        <p:spPr bwMode="auto">
          <a:xfrm>
            <a:off x="4309138" y="5707942"/>
            <a:ext cx="256314" cy="200407"/>
          </a:xfrm>
          <a:custGeom>
            <a:avLst/>
            <a:gdLst>
              <a:gd name="T0" fmla="*/ 0 w 224"/>
              <a:gd name="T1" fmla="*/ 94 h 180"/>
              <a:gd name="T2" fmla="*/ 0 w 224"/>
              <a:gd name="T3" fmla="*/ 94 h 180"/>
              <a:gd name="T4" fmla="*/ 8 w 224"/>
              <a:gd name="T5" fmla="*/ 88 h 180"/>
              <a:gd name="T6" fmla="*/ 17 w 224"/>
              <a:gd name="T7" fmla="*/ 100 h 180"/>
              <a:gd name="T8" fmla="*/ 35 w 224"/>
              <a:gd name="T9" fmla="*/ 100 h 180"/>
              <a:gd name="T10" fmla="*/ 47 w 224"/>
              <a:gd name="T11" fmla="*/ 91 h 180"/>
              <a:gd name="T12" fmla="*/ 47 w 224"/>
              <a:gd name="T13" fmla="*/ 36 h 180"/>
              <a:gd name="T14" fmla="*/ 58 w 224"/>
              <a:gd name="T15" fmla="*/ 50 h 180"/>
              <a:gd name="T16" fmla="*/ 58 w 224"/>
              <a:gd name="T17" fmla="*/ 65 h 180"/>
              <a:gd name="T18" fmla="*/ 77 w 224"/>
              <a:gd name="T19" fmla="*/ 64 h 180"/>
              <a:gd name="T20" fmla="*/ 93 w 224"/>
              <a:gd name="T21" fmla="*/ 47 h 180"/>
              <a:gd name="T22" fmla="*/ 123 w 224"/>
              <a:gd name="T23" fmla="*/ 47 h 180"/>
              <a:gd name="T24" fmla="*/ 174 w 224"/>
              <a:gd name="T25" fmla="*/ 0 h 180"/>
              <a:gd name="T26" fmla="*/ 205 w 224"/>
              <a:gd name="T27" fmla="*/ 6 h 180"/>
              <a:gd name="T28" fmla="*/ 210 w 224"/>
              <a:gd name="T29" fmla="*/ 51 h 180"/>
              <a:gd name="T30" fmla="*/ 196 w 224"/>
              <a:gd name="T31" fmla="*/ 63 h 180"/>
              <a:gd name="T32" fmla="*/ 205 w 224"/>
              <a:gd name="T33" fmla="*/ 73 h 180"/>
              <a:gd name="T34" fmla="*/ 212 w 224"/>
              <a:gd name="T35" fmla="*/ 65 h 180"/>
              <a:gd name="T36" fmla="*/ 223 w 224"/>
              <a:gd name="T37" fmla="*/ 65 h 180"/>
              <a:gd name="T38" fmla="*/ 217 w 224"/>
              <a:gd name="T39" fmla="*/ 91 h 180"/>
              <a:gd name="T40" fmla="*/ 184 w 224"/>
              <a:gd name="T41" fmla="*/ 132 h 180"/>
              <a:gd name="T42" fmla="*/ 144 w 224"/>
              <a:gd name="T43" fmla="*/ 167 h 180"/>
              <a:gd name="T44" fmla="*/ 114 w 224"/>
              <a:gd name="T45" fmla="*/ 178 h 180"/>
              <a:gd name="T46" fmla="*/ 26 w 224"/>
              <a:gd name="T47" fmla="*/ 179 h 180"/>
              <a:gd name="T48" fmla="*/ 19 w 224"/>
              <a:gd name="T49" fmla="*/ 159 h 180"/>
              <a:gd name="T50" fmla="*/ 22 w 224"/>
              <a:gd name="T51" fmla="*/ 143 h 180"/>
              <a:gd name="T52" fmla="*/ 0 w 224"/>
              <a:gd name="T53" fmla="*/ 94 h 180"/>
              <a:gd name="T54" fmla="*/ 0 w 224"/>
              <a:gd name="T55" fmla="*/ 94 h 18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24"/>
              <a:gd name="T85" fmla="*/ 0 h 180"/>
              <a:gd name="T86" fmla="*/ 224 w 224"/>
              <a:gd name="T87" fmla="*/ 180 h 180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24" h="180">
                <a:moveTo>
                  <a:pt x="0" y="94"/>
                </a:moveTo>
                <a:lnTo>
                  <a:pt x="0" y="94"/>
                </a:lnTo>
                <a:lnTo>
                  <a:pt x="8" y="88"/>
                </a:lnTo>
                <a:lnTo>
                  <a:pt x="17" y="100"/>
                </a:lnTo>
                <a:lnTo>
                  <a:pt x="35" y="100"/>
                </a:lnTo>
                <a:lnTo>
                  <a:pt x="47" y="91"/>
                </a:lnTo>
                <a:lnTo>
                  <a:pt x="47" y="36"/>
                </a:lnTo>
                <a:lnTo>
                  <a:pt x="58" y="50"/>
                </a:lnTo>
                <a:lnTo>
                  <a:pt x="58" y="65"/>
                </a:lnTo>
                <a:lnTo>
                  <a:pt x="77" y="64"/>
                </a:lnTo>
                <a:lnTo>
                  <a:pt x="93" y="47"/>
                </a:lnTo>
                <a:lnTo>
                  <a:pt x="123" y="47"/>
                </a:lnTo>
                <a:lnTo>
                  <a:pt x="174" y="0"/>
                </a:lnTo>
                <a:lnTo>
                  <a:pt x="205" y="6"/>
                </a:lnTo>
                <a:lnTo>
                  <a:pt x="210" y="51"/>
                </a:lnTo>
                <a:lnTo>
                  <a:pt x="196" y="63"/>
                </a:lnTo>
                <a:lnTo>
                  <a:pt x="205" y="73"/>
                </a:lnTo>
                <a:lnTo>
                  <a:pt x="212" y="65"/>
                </a:lnTo>
                <a:lnTo>
                  <a:pt x="223" y="65"/>
                </a:lnTo>
                <a:lnTo>
                  <a:pt x="217" y="91"/>
                </a:lnTo>
                <a:lnTo>
                  <a:pt x="184" y="132"/>
                </a:lnTo>
                <a:lnTo>
                  <a:pt x="144" y="167"/>
                </a:lnTo>
                <a:lnTo>
                  <a:pt x="114" y="178"/>
                </a:lnTo>
                <a:lnTo>
                  <a:pt x="26" y="179"/>
                </a:lnTo>
                <a:lnTo>
                  <a:pt x="19" y="159"/>
                </a:lnTo>
                <a:lnTo>
                  <a:pt x="22" y="143"/>
                </a:lnTo>
                <a:lnTo>
                  <a:pt x="0" y="94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9" name="Freeform 856">
            <a:extLst>
              <a:ext uri="{FF2B5EF4-FFF2-40B4-BE49-F238E27FC236}">
                <a16:creationId xmlns:a16="http://schemas.microsoft.com/office/drawing/2014/main" id="{F53A971C-4AED-F01E-CCC9-3E6E39E0E790}"/>
              </a:ext>
            </a:extLst>
          </p:cNvPr>
          <p:cNvSpPr>
            <a:spLocks/>
          </p:cNvSpPr>
          <p:nvPr/>
        </p:nvSpPr>
        <p:spPr bwMode="auto">
          <a:xfrm>
            <a:off x="4473910" y="5814826"/>
            <a:ext cx="36616" cy="36741"/>
          </a:xfrm>
          <a:custGeom>
            <a:avLst/>
            <a:gdLst>
              <a:gd name="T0" fmla="*/ 0 w 32"/>
              <a:gd name="T1" fmla="*/ 16 h 33"/>
              <a:gd name="T2" fmla="*/ 0 w 32"/>
              <a:gd name="T3" fmla="*/ 16 h 33"/>
              <a:gd name="T4" fmla="*/ 11 w 32"/>
              <a:gd name="T5" fmla="*/ 32 h 33"/>
              <a:gd name="T6" fmla="*/ 31 w 32"/>
              <a:gd name="T7" fmla="*/ 16 h 33"/>
              <a:gd name="T8" fmla="*/ 22 w 32"/>
              <a:gd name="T9" fmla="*/ 0 h 33"/>
              <a:gd name="T10" fmla="*/ 0 w 32"/>
              <a:gd name="T11" fmla="*/ 16 h 33"/>
              <a:gd name="T12" fmla="*/ 0 w 32"/>
              <a:gd name="T13" fmla="*/ 16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2"/>
              <a:gd name="T22" fmla="*/ 0 h 33"/>
              <a:gd name="T23" fmla="*/ 32 w 32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2" h="33">
                <a:moveTo>
                  <a:pt x="0" y="16"/>
                </a:moveTo>
                <a:lnTo>
                  <a:pt x="0" y="16"/>
                </a:lnTo>
                <a:lnTo>
                  <a:pt x="11" y="32"/>
                </a:lnTo>
                <a:lnTo>
                  <a:pt x="31" y="16"/>
                </a:lnTo>
                <a:lnTo>
                  <a:pt x="22" y="0"/>
                </a:lnTo>
                <a:lnTo>
                  <a:pt x="0" y="16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60" name="Freeform 857">
            <a:extLst>
              <a:ext uri="{FF2B5EF4-FFF2-40B4-BE49-F238E27FC236}">
                <a16:creationId xmlns:a16="http://schemas.microsoft.com/office/drawing/2014/main" id="{9C833643-6B7C-0DB5-ED1F-B5CBA19EE974}"/>
              </a:ext>
            </a:extLst>
          </p:cNvPr>
          <p:cNvSpPr>
            <a:spLocks/>
          </p:cNvSpPr>
          <p:nvPr/>
        </p:nvSpPr>
        <p:spPr bwMode="auto">
          <a:xfrm>
            <a:off x="4190135" y="4825041"/>
            <a:ext cx="49203" cy="30061"/>
          </a:xfrm>
          <a:custGeom>
            <a:avLst/>
            <a:gdLst>
              <a:gd name="T0" fmla="*/ 2 w 43"/>
              <a:gd name="T1" fmla="*/ 25 h 27"/>
              <a:gd name="T2" fmla="*/ 11 w 43"/>
              <a:gd name="T3" fmla="*/ 26 h 27"/>
              <a:gd name="T4" fmla="*/ 15 w 43"/>
              <a:gd name="T5" fmla="*/ 25 h 27"/>
              <a:gd name="T6" fmla="*/ 20 w 43"/>
              <a:gd name="T7" fmla="*/ 22 h 27"/>
              <a:gd name="T8" fmla="*/ 29 w 43"/>
              <a:gd name="T9" fmla="*/ 20 h 27"/>
              <a:gd name="T10" fmla="*/ 37 w 43"/>
              <a:gd name="T11" fmla="*/ 18 h 27"/>
              <a:gd name="T12" fmla="*/ 40 w 43"/>
              <a:gd name="T13" fmla="*/ 11 h 27"/>
              <a:gd name="T14" fmla="*/ 42 w 43"/>
              <a:gd name="T15" fmla="*/ 7 h 27"/>
              <a:gd name="T16" fmla="*/ 33 w 43"/>
              <a:gd name="T17" fmla="*/ 0 h 27"/>
              <a:gd name="T18" fmla="*/ 0 w 43"/>
              <a:gd name="T19" fmla="*/ 7 h 27"/>
              <a:gd name="T20" fmla="*/ 0 w 43"/>
              <a:gd name="T21" fmla="*/ 25 h 27"/>
              <a:gd name="T22" fmla="*/ 2 w 43"/>
              <a:gd name="T23" fmla="*/ 25 h 27"/>
              <a:gd name="T24" fmla="*/ 2 w 43"/>
              <a:gd name="T25" fmla="*/ 25 h 2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3"/>
              <a:gd name="T40" fmla="*/ 0 h 27"/>
              <a:gd name="T41" fmla="*/ 43 w 43"/>
              <a:gd name="T42" fmla="*/ 27 h 2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3" h="27">
                <a:moveTo>
                  <a:pt x="2" y="25"/>
                </a:moveTo>
                <a:lnTo>
                  <a:pt x="11" y="26"/>
                </a:lnTo>
                <a:lnTo>
                  <a:pt x="15" y="25"/>
                </a:lnTo>
                <a:lnTo>
                  <a:pt x="20" y="22"/>
                </a:lnTo>
                <a:lnTo>
                  <a:pt x="29" y="20"/>
                </a:lnTo>
                <a:lnTo>
                  <a:pt x="37" y="18"/>
                </a:lnTo>
                <a:lnTo>
                  <a:pt x="40" y="11"/>
                </a:lnTo>
                <a:lnTo>
                  <a:pt x="42" y="7"/>
                </a:lnTo>
                <a:lnTo>
                  <a:pt x="33" y="0"/>
                </a:lnTo>
                <a:lnTo>
                  <a:pt x="0" y="7"/>
                </a:lnTo>
                <a:lnTo>
                  <a:pt x="0" y="25"/>
                </a:lnTo>
                <a:lnTo>
                  <a:pt x="2" y="2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61" name="Freeform 858">
            <a:extLst>
              <a:ext uri="{FF2B5EF4-FFF2-40B4-BE49-F238E27FC236}">
                <a16:creationId xmlns:a16="http://schemas.microsoft.com/office/drawing/2014/main" id="{B11A021E-269F-6E7A-78C7-5F5FC1886926}"/>
              </a:ext>
            </a:extLst>
          </p:cNvPr>
          <p:cNvSpPr>
            <a:spLocks/>
          </p:cNvSpPr>
          <p:nvPr/>
        </p:nvSpPr>
        <p:spPr bwMode="auto">
          <a:xfrm>
            <a:off x="4167250" y="4783846"/>
            <a:ext cx="62934" cy="114677"/>
          </a:xfrm>
          <a:custGeom>
            <a:avLst/>
            <a:gdLst>
              <a:gd name="T0" fmla="*/ 0 w 55"/>
              <a:gd name="T1" fmla="*/ 47 h 103"/>
              <a:gd name="T2" fmla="*/ 0 w 55"/>
              <a:gd name="T3" fmla="*/ 47 h 103"/>
              <a:gd name="T4" fmla="*/ 12 w 55"/>
              <a:gd name="T5" fmla="*/ 38 h 103"/>
              <a:gd name="T6" fmla="*/ 18 w 55"/>
              <a:gd name="T7" fmla="*/ 1 h 103"/>
              <a:gd name="T8" fmla="*/ 51 w 55"/>
              <a:gd name="T9" fmla="*/ 0 h 103"/>
              <a:gd name="T10" fmla="*/ 42 w 55"/>
              <a:gd name="T11" fmla="*/ 12 h 103"/>
              <a:gd name="T12" fmla="*/ 52 w 55"/>
              <a:gd name="T13" fmla="*/ 28 h 103"/>
              <a:gd name="T14" fmla="*/ 33 w 55"/>
              <a:gd name="T15" fmla="*/ 47 h 103"/>
              <a:gd name="T16" fmla="*/ 54 w 55"/>
              <a:gd name="T17" fmla="*/ 60 h 103"/>
              <a:gd name="T18" fmla="*/ 27 w 55"/>
              <a:gd name="T19" fmla="*/ 102 h 103"/>
              <a:gd name="T20" fmla="*/ 23 w 55"/>
              <a:gd name="T21" fmla="*/ 75 h 103"/>
              <a:gd name="T22" fmla="*/ 0 w 55"/>
              <a:gd name="T23" fmla="*/ 47 h 103"/>
              <a:gd name="T24" fmla="*/ 0 w 55"/>
              <a:gd name="T25" fmla="*/ 47 h 1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5"/>
              <a:gd name="T40" fmla="*/ 0 h 103"/>
              <a:gd name="T41" fmla="*/ 55 w 55"/>
              <a:gd name="T42" fmla="*/ 103 h 1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5" h="103">
                <a:moveTo>
                  <a:pt x="0" y="47"/>
                </a:moveTo>
                <a:lnTo>
                  <a:pt x="0" y="47"/>
                </a:lnTo>
                <a:lnTo>
                  <a:pt x="12" y="38"/>
                </a:lnTo>
                <a:lnTo>
                  <a:pt x="18" y="1"/>
                </a:lnTo>
                <a:lnTo>
                  <a:pt x="51" y="0"/>
                </a:lnTo>
                <a:lnTo>
                  <a:pt x="42" y="12"/>
                </a:lnTo>
                <a:lnTo>
                  <a:pt x="52" y="28"/>
                </a:lnTo>
                <a:lnTo>
                  <a:pt x="33" y="47"/>
                </a:lnTo>
                <a:lnTo>
                  <a:pt x="54" y="60"/>
                </a:lnTo>
                <a:lnTo>
                  <a:pt x="27" y="102"/>
                </a:lnTo>
                <a:lnTo>
                  <a:pt x="23" y="75"/>
                </a:lnTo>
                <a:lnTo>
                  <a:pt x="0" y="4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62" name="Freeform 859">
            <a:extLst>
              <a:ext uri="{FF2B5EF4-FFF2-40B4-BE49-F238E27FC236}">
                <a16:creationId xmlns:a16="http://schemas.microsoft.com/office/drawing/2014/main" id="{E886CF63-194E-FF30-1742-948B1E5086D7}"/>
              </a:ext>
            </a:extLst>
          </p:cNvPr>
          <p:cNvSpPr>
            <a:spLocks/>
          </p:cNvSpPr>
          <p:nvPr/>
        </p:nvSpPr>
        <p:spPr bwMode="auto">
          <a:xfrm>
            <a:off x="4236648" y="4523887"/>
            <a:ext cx="105121" cy="45970"/>
          </a:xfrm>
          <a:custGeom>
            <a:avLst/>
            <a:gdLst>
              <a:gd name="T0" fmla="*/ 0 w 90"/>
              <a:gd name="T1" fmla="*/ 23633520 h 43"/>
              <a:gd name="T2" fmla="*/ 0 w 90"/>
              <a:gd name="T3" fmla="*/ 23633520 h 43"/>
              <a:gd name="T4" fmla="*/ 38709597 w 90"/>
              <a:gd name="T5" fmla="*/ 66175857 h 43"/>
              <a:gd name="T6" fmla="*/ 104838504 w 90"/>
              <a:gd name="T7" fmla="*/ 64600540 h 43"/>
              <a:gd name="T8" fmla="*/ 143548091 w 90"/>
              <a:gd name="T9" fmla="*/ 40965765 h 43"/>
              <a:gd name="T10" fmla="*/ 59677300 w 90"/>
              <a:gd name="T11" fmla="*/ 9453155 h 43"/>
              <a:gd name="T12" fmla="*/ 48387003 w 90"/>
              <a:gd name="T13" fmla="*/ 0 h 43"/>
              <a:gd name="T14" fmla="*/ 0 w 90"/>
              <a:gd name="T15" fmla="*/ 23633520 h 43"/>
              <a:gd name="T16" fmla="*/ 0 w 90"/>
              <a:gd name="T17" fmla="*/ 23633520 h 4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0"/>
              <a:gd name="T28" fmla="*/ 0 h 43"/>
              <a:gd name="T29" fmla="*/ 90 w 90"/>
              <a:gd name="T30" fmla="*/ 43 h 4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0" h="43">
                <a:moveTo>
                  <a:pt x="0" y="15"/>
                </a:moveTo>
                <a:lnTo>
                  <a:pt x="0" y="15"/>
                </a:lnTo>
                <a:lnTo>
                  <a:pt x="24" y="42"/>
                </a:lnTo>
                <a:lnTo>
                  <a:pt x="65" y="41"/>
                </a:lnTo>
                <a:lnTo>
                  <a:pt x="89" y="26"/>
                </a:lnTo>
                <a:lnTo>
                  <a:pt x="37" y="6"/>
                </a:lnTo>
                <a:lnTo>
                  <a:pt x="30" y="0"/>
                </a:lnTo>
                <a:lnTo>
                  <a:pt x="0" y="15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63" name="Freeform 860">
            <a:extLst>
              <a:ext uri="{FF2B5EF4-FFF2-40B4-BE49-F238E27FC236}">
                <a16:creationId xmlns:a16="http://schemas.microsoft.com/office/drawing/2014/main" id="{54EE71DE-07AD-80E3-B719-3FFF3AF8330A}"/>
              </a:ext>
            </a:extLst>
          </p:cNvPr>
          <p:cNvSpPr>
            <a:spLocks/>
          </p:cNvSpPr>
          <p:nvPr/>
        </p:nvSpPr>
        <p:spPr bwMode="auto">
          <a:xfrm>
            <a:off x="4382654" y="4408949"/>
            <a:ext cx="89061" cy="66251"/>
          </a:xfrm>
          <a:custGeom>
            <a:avLst/>
            <a:gdLst>
              <a:gd name="T0" fmla="*/ 0 w 78"/>
              <a:gd name="T1" fmla="*/ 12590929 h 58"/>
              <a:gd name="T2" fmla="*/ 33909086 w 78"/>
              <a:gd name="T3" fmla="*/ 8993902 h 58"/>
              <a:gd name="T4" fmla="*/ 60110943 w 78"/>
              <a:gd name="T5" fmla="*/ 0 h 58"/>
              <a:gd name="T6" fmla="*/ 95561981 w 78"/>
              <a:gd name="T7" fmla="*/ 7195391 h 58"/>
              <a:gd name="T8" fmla="*/ 118682426 w 78"/>
              <a:gd name="T9" fmla="*/ 21584828 h 58"/>
              <a:gd name="T10" fmla="*/ 104809911 w 78"/>
              <a:gd name="T11" fmla="*/ 34175757 h 58"/>
              <a:gd name="T12" fmla="*/ 87854752 w 78"/>
              <a:gd name="T13" fmla="*/ 35974269 h 58"/>
              <a:gd name="T14" fmla="*/ 67818172 w 78"/>
              <a:gd name="T15" fmla="*/ 55760591 h 58"/>
              <a:gd name="T16" fmla="*/ 53946898 w 78"/>
              <a:gd name="T17" fmla="*/ 102528622 h 58"/>
              <a:gd name="T18" fmla="*/ 44697726 w 78"/>
              <a:gd name="T19" fmla="*/ 82742290 h 58"/>
              <a:gd name="T20" fmla="*/ 18495865 w 78"/>
              <a:gd name="T21" fmla="*/ 80943778 h 58"/>
              <a:gd name="T22" fmla="*/ 35449787 w 78"/>
              <a:gd name="T23" fmla="*/ 43169657 h 58"/>
              <a:gd name="T24" fmla="*/ 0 w 78"/>
              <a:gd name="T25" fmla="*/ 30578733 h 58"/>
              <a:gd name="T26" fmla="*/ 0 w 78"/>
              <a:gd name="T27" fmla="*/ 12590929 h 58"/>
              <a:gd name="T28" fmla="*/ 0 w 78"/>
              <a:gd name="T29" fmla="*/ 12590929 h 5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78"/>
              <a:gd name="T46" fmla="*/ 0 h 58"/>
              <a:gd name="T47" fmla="*/ 78 w 78"/>
              <a:gd name="T48" fmla="*/ 58 h 58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78" h="58">
                <a:moveTo>
                  <a:pt x="0" y="7"/>
                </a:moveTo>
                <a:lnTo>
                  <a:pt x="22" y="5"/>
                </a:lnTo>
                <a:lnTo>
                  <a:pt x="39" y="0"/>
                </a:lnTo>
                <a:lnTo>
                  <a:pt x="62" y="4"/>
                </a:lnTo>
                <a:lnTo>
                  <a:pt x="77" y="12"/>
                </a:lnTo>
                <a:lnTo>
                  <a:pt x="68" y="19"/>
                </a:lnTo>
                <a:lnTo>
                  <a:pt x="57" y="20"/>
                </a:lnTo>
                <a:lnTo>
                  <a:pt x="44" y="31"/>
                </a:lnTo>
                <a:lnTo>
                  <a:pt x="35" y="57"/>
                </a:lnTo>
                <a:lnTo>
                  <a:pt x="29" y="46"/>
                </a:lnTo>
                <a:lnTo>
                  <a:pt x="12" y="45"/>
                </a:lnTo>
                <a:lnTo>
                  <a:pt x="23" y="24"/>
                </a:lnTo>
                <a:lnTo>
                  <a:pt x="0" y="17"/>
                </a:lnTo>
                <a:lnTo>
                  <a:pt x="0" y="7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64" name="Freeform 861">
            <a:extLst>
              <a:ext uri="{FF2B5EF4-FFF2-40B4-BE49-F238E27FC236}">
                <a16:creationId xmlns:a16="http://schemas.microsoft.com/office/drawing/2014/main" id="{BE35B9C7-6643-3215-12A1-A3C779782E6F}"/>
              </a:ext>
            </a:extLst>
          </p:cNvPr>
          <p:cNvSpPr>
            <a:spLocks/>
          </p:cNvSpPr>
          <p:nvPr/>
        </p:nvSpPr>
        <p:spPr bwMode="auto">
          <a:xfrm>
            <a:off x="4357845" y="4430582"/>
            <a:ext cx="51101" cy="32449"/>
          </a:xfrm>
          <a:custGeom>
            <a:avLst/>
            <a:gdLst>
              <a:gd name="T0" fmla="*/ 67080589 w 45"/>
              <a:gd name="T1" fmla="*/ 15534291 h 29"/>
              <a:gd name="T2" fmla="*/ 51835342 w 45"/>
              <a:gd name="T3" fmla="*/ 48329201 h 29"/>
              <a:gd name="T4" fmla="*/ 0 w 45"/>
              <a:gd name="T5" fmla="*/ 39698886 h 29"/>
              <a:gd name="T6" fmla="*/ 21343603 w 45"/>
              <a:gd name="T7" fmla="*/ 18986938 h 29"/>
              <a:gd name="T8" fmla="*/ 35065190 w 45"/>
              <a:gd name="T9" fmla="*/ 0 h 29"/>
              <a:gd name="T10" fmla="*/ 67080589 w 45"/>
              <a:gd name="T11" fmla="*/ 15534291 h 29"/>
              <a:gd name="T12" fmla="*/ 67080589 w 45"/>
              <a:gd name="T13" fmla="*/ 15534291 h 2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5"/>
              <a:gd name="T22" fmla="*/ 0 h 29"/>
              <a:gd name="T23" fmla="*/ 45 w 45"/>
              <a:gd name="T24" fmla="*/ 29 h 2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5" h="29">
                <a:moveTo>
                  <a:pt x="44" y="9"/>
                </a:moveTo>
                <a:lnTo>
                  <a:pt x="34" y="28"/>
                </a:lnTo>
                <a:lnTo>
                  <a:pt x="0" y="23"/>
                </a:lnTo>
                <a:lnTo>
                  <a:pt x="14" y="11"/>
                </a:lnTo>
                <a:lnTo>
                  <a:pt x="23" y="0"/>
                </a:lnTo>
                <a:lnTo>
                  <a:pt x="44" y="9"/>
                </a:lnTo>
              </a:path>
            </a:pathLst>
          </a:custGeom>
          <a:solidFill>
            <a:schemeClr val="accent2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65" name="Freeform 862">
            <a:extLst>
              <a:ext uri="{FF2B5EF4-FFF2-40B4-BE49-F238E27FC236}">
                <a16:creationId xmlns:a16="http://schemas.microsoft.com/office/drawing/2014/main" id="{FAD2C4EA-E673-F15C-735F-5692626EB020}"/>
              </a:ext>
            </a:extLst>
          </p:cNvPr>
          <p:cNvSpPr/>
          <p:nvPr/>
        </p:nvSpPr>
        <p:spPr bwMode="auto">
          <a:xfrm>
            <a:off x="5342021" y="5920384"/>
            <a:ext cx="115174" cy="186522"/>
          </a:xfrm>
          <a:custGeom>
            <a:avLst/>
            <a:gdLst>
              <a:gd name="connsiteX0" fmla="*/ 91373 w 171041"/>
              <a:gd name="connsiteY0" fmla="*/ 28656 h 209754"/>
              <a:gd name="connsiteX1" fmla="*/ 156688 w 171041"/>
              <a:gd name="connsiteY1" fmla="*/ 13583 h 209754"/>
              <a:gd name="connsiteX2" fmla="*/ 156688 w 171041"/>
              <a:gd name="connsiteY2" fmla="*/ 204502 h 209754"/>
              <a:gd name="connsiteX3" fmla="*/ 938 w 171041"/>
              <a:gd name="connsiteY3" fmla="*/ 154260 h 209754"/>
              <a:gd name="connsiteX4" fmla="*/ 91373 w 171041"/>
              <a:gd name="connsiteY4" fmla="*/ 134164 h 209754"/>
              <a:gd name="connsiteX5" fmla="*/ 91373 w 171041"/>
              <a:gd name="connsiteY5" fmla="*/ 28656 h 209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1041" h="209754">
                <a:moveTo>
                  <a:pt x="91373" y="28656"/>
                </a:moveTo>
                <a:cubicBezTo>
                  <a:pt x="102259" y="8559"/>
                  <a:pt x="145802" y="-15725"/>
                  <a:pt x="156688" y="13583"/>
                </a:cubicBezTo>
                <a:cubicBezTo>
                  <a:pt x="167574" y="42891"/>
                  <a:pt x="182646" y="181056"/>
                  <a:pt x="156688" y="204502"/>
                </a:cubicBezTo>
                <a:cubicBezTo>
                  <a:pt x="130730" y="227948"/>
                  <a:pt x="11824" y="165983"/>
                  <a:pt x="938" y="154260"/>
                </a:cubicBezTo>
                <a:cubicBezTo>
                  <a:pt x="-9948" y="142537"/>
                  <a:pt x="77138" y="150911"/>
                  <a:pt x="91373" y="134164"/>
                </a:cubicBezTo>
                <a:cubicBezTo>
                  <a:pt x="105608" y="117417"/>
                  <a:pt x="80487" y="48753"/>
                  <a:pt x="91373" y="2865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66" name="Graphic 7" descr="Rating Star with solid fill">
            <a:extLst>
              <a:ext uri="{FF2B5EF4-FFF2-40B4-BE49-F238E27FC236}">
                <a16:creationId xmlns:a16="http://schemas.microsoft.com/office/drawing/2014/main" id="{BAEE8E90-080B-56DE-2616-B6ED509D6571}"/>
              </a:ext>
            </a:extLst>
          </p:cNvPr>
          <p:cNvSpPr/>
          <p:nvPr/>
        </p:nvSpPr>
        <p:spPr>
          <a:xfrm>
            <a:off x="8166351" y="2116831"/>
            <a:ext cx="876299" cy="295275"/>
          </a:xfrm>
          <a:custGeom>
            <a:avLst/>
            <a:gdLst>
              <a:gd name="connsiteX0" fmla="*/ 51673 w 876299"/>
              <a:gd name="connsiteY0" fmla="*/ 295275 h 295275"/>
              <a:gd name="connsiteX1" fmla="*/ 147638 w 876299"/>
              <a:gd name="connsiteY1" fmla="*/ 228838 h 295275"/>
              <a:gd name="connsiteX2" fmla="*/ 243602 w 876299"/>
              <a:gd name="connsiteY2" fmla="*/ 295275 h 295275"/>
              <a:gd name="connsiteX3" fmla="*/ 210388 w 876299"/>
              <a:gd name="connsiteY3" fmla="*/ 184556 h 295275"/>
              <a:gd name="connsiteX4" fmla="*/ 292894 w 876299"/>
              <a:gd name="connsiteY4" fmla="*/ 112814 h 295275"/>
              <a:gd name="connsiteX5" fmla="*/ 375399 w 876299"/>
              <a:gd name="connsiteY5" fmla="*/ 184556 h 295275"/>
              <a:gd name="connsiteX6" fmla="*/ 342186 w 876299"/>
              <a:gd name="connsiteY6" fmla="*/ 295275 h 295275"/>
              <a:gd name="connsiteX7" fmla="*/ 438150 w 876299"/>
              <a:gd name="connsiteY7" fmla="*/ 228838 h 295275"/>
              <a:gd name="connsiteX8" fmla="*/ 534114 w 876299"/>
              <a:gd name="connsiteY8" fmla="*/ 295275 h 295275"/>
              <a:gd name="connsiteX9" fmla="*/ 500901 w 876299"/>
              <a:gd name="connsiteY9" fmla="*/ 184556 h 295275"/>
              <a:gd name="connsiteX10" fmla="*/ 583406 w 876299"/>
              <a:gd name="connsiteY10" fmla="*/ 112814 h 295275"/>
              <a:gd name="connsiteX11" fmla="*/ 665912 w 876299"/>
              <a:gd name="connsiteY11" fmla="*/ 184556 h 295275"/>
              <a:gd name="connsiteX12" fmla="*/ 632698 w 876299"/>
              <a:gd name="connsiteY12" fmla="*/ 295275 h 295275"/>
              <a:gd name="connsiteX13" fmla="*/ 728662 w 876299"/>
              <a:gd name="connsiteY13" fmla="*/ 228838 h 295275"/>
              <a:gd name="connsiteX14" fmla="*/ 824627 w 876299"/>
              <a:gd name="connsiteY14" fmla="*/ 295275 h 295275"/>
              <a:gd name="connsiteX15" fmla="*/ 791404 w 876299"/>
              <a:gd name="connsiteY15" fmla="*/ 184556 h 295275"/>
              <a:gd name="connsiteX16" fmla="*/ 876300 w 876299"/>
              <a:gd name="connsiteY16" fmla="*/ 110738 h 295275"/>
              <a:gd name="connsiteX17" fmla="*/ 765572 w 876299"/>
              <a:gd name="connsiteY17" fmla="*/ 110738 h 295275"/>
              <a:gd name="connsiteX18" fmla="*/ 728662 w 876299"/>
              <a:gd name="connsiteY18" fmla="*/ 0 h 295275"/>
              <a:gd name="connsiteX19" fmla="*/ 691753 w 876299"/>
              <a:gd name="connsiteY19" fmla="*/ 110738 h 295275"/>
              <a:gd name="connsiteX20" fmla="*/ 475059 w 876299"/>
              <a:gd name="connsiteY20" fmla="*/ 110738 h 295275"/>
              <a:gd name="connsiteX21" fmla="*/ 438150 w 876299"/>
              <a:gd name="connsiteY21" fmla="*/ 0 h 295275"/>
              <a:gd name="connsiteX22" fmla="*/ 401241 w 876299"/>
              <a:gd name="connsiteY22" fmla="*/ 110738 h 295275"/>
              <a:gd name="connsiteX23" fmla="*/ 184547 w 876299"/>
              <a:gd name="connsiteY23" fmla="*/ 110738 h 295275"/>
              <a:gd name="connsiteX24" fmla="*/ 147638 w 876299"/>
              <a:gd name="connsiteY24" fmla="*/ 0 h 295275"/>
              <a:gd name="connsiteX25" fmla="*/ 110728 w 876299"/>
              <a:gd name="connsiteY25" fmla="*/ 110738 h 295275"/>
              <a:gd name="connsiteX26" fmla="*/ 0 w 876299"/>
              <a:gd name="connsiteY26" fmla="*/ 110738 h 295275"/>
              <a:gd name="connsiteX27" fmla="*/ 84887 w 876299"/>
              <a:gd name="connsiteY27" fmla="*/ 184556 h 295275"/>
              <a:gd name="connsiteX28" fmla="*/ 691753 w 876299"/>
              <a:gd name="connsiteY28" fmla="*/ 129778 h 295275"/>
              <a:gd name="connsiteX29" fmla="*/ 705479 w 876299"/>
              <a:gd name="connsiteY29" fmla="*/ 129778 h 295275"/>
              <a:gd name="connsiteX30" fmla="*/ 709822 w 876299"/>
              <a:gd name="connsiteY30" fmla="*/ 116757 h 295275"/>
              <a:gd name="connsiteX31" fmla="*/ 728662 w 876299"/>
              <a:gd name="connsiteY31" fmla="*/ 60246 h 295275"/>
              <a:gd name="connsiteX32" fmla="*/ 747503 w 876299"/>
              <a:gd name="connsiteY32" fmla="*/ 116757 h 295275"/>
              <a:gd name="connsiteX33" fmla="*/ 751837 w 876299"/>
              <a:gd name="connsiteY33" fmla="*/ 129778 h 295275"/>
              <a:gd name="connsiteX34" fmla="*/ 825360 w 876299"/>
              <a:gd name="connsiteY34" fmla="*/ 129778 h 295275"/>
              <a:gd name="connsiteX35" fmla="*/ 778907 w 876299"/>
              <a:gd name="connsiteY35" fmla="*/ 170174 h 295275"/>
              <a:gd name="connsiteX36" fmla="*/ 769630 w 876299"/>
              <a:gd name="connsiteY36" fmla="*/ 178241 h 295275"/>
              <a:gd name="connsiteX37" fmla="*/ 773163 w 876299"/>
              <a:gd name="connsiteY37" fmla="*/ 190024 h 295275"/>
              <a:gd name="connsiteX38" fmla="*/ 790747 w 876299"/>
              <a:gd name="connsiteY38" fmla="*/ 248650 h 295275"/>
              <a:gd name="connsiteX39" fmla="*/ 739502 w 876299"/>
              <a:gd name="connsiteY39" fmla="*/ 213179 h 295275"/>
              <a:gd name="connsiteX40" fmla="*/ 728662 w 876299"/>
              <a:gd name="connsiteY40" fmla="*/ 205673 h 295275"/>
              <a:gd name="connsiteX41" fmla="*/ 717814 w 876299"/>
              <a:gd name="connsiteY41" fmla="*/ 213179 h 295275"/>
              <a:gd name="connsiteX42" fmla="*/ 666569 w 876299"/>
              <a:gd name="connsiteY42" fmla="*/ 248650 h 295275"/>
              <a:gd name="connsiteX43" fmla="*/ 684162 w 876299"/>
              <a:gd name="connsiteY43" fmla="*/ 190024 h 295275"/>
              <a:gd name="connsiteX44" fmla="*/ 687696 w 876299"/>
              <a:gd name="connsiteY44" fmla="*/ 178241 h 295275"/>
              <a:gd name="connsiteX45" fmla="*/ 678418 w 876299"/>
              <a:gd name="connsiteY45" fmla="*/ 170174 h 295275"/>
              <a:gd name="connsiteX46" fmla="*/ 631965 w 876299"/>
              <a:gd name="connsiteY46" fmla="*/ 129778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876299" h="295275">
                <a:moveTo>
                  <a:pt x="51673" y="295275"/>
                </a:moveTo>
                <a:lnTo>
                  <a:pt x="147638" y="228838"/>
                </a:lnTo>
                <a:lnTo>
                  <a:pt x="243602" y="295275"/>
                </a:lnTo>
                <a:lnTo>
                  <a:pt x="210388" y="184556"/>
                </a:lnTo>
                <a:lnTo>
                  <a:pt x="292894" y="112814"/>
                </a:lnTo>
                <a:lnTo>
                  <a:pt x="375399" y="184556"/>
                </a:lnTo>
                <a:lnTo>
                  <a:pt x="342186" y="295275"/>
                </a:lnTo>
                <a:lnTo>
                  <a:pt x="438150" y="228838"/>
                </a:lnTo>
                <a:lnTo>
                  <a:pt x="534114" y="295275"/>
                </a:lnTo>
                <a:lnTo>
                  <a:pt x="500901" y="184556"/>
                </a:lnTo>
                <a:lnTo>
                  <a:pt x="583406" y="112814"/>
                </a:lnTo>
                <a:lnTo>
                  <a:pt x="665912" y="184556"/>
                </a:lnTo>
                <a:lnTo>
                  <a:pt x="632698" y="295275"/>
                </a:lnTo>
                <a:lnTo>
                  <a:pt x="728662" y="228838"/>
                </a:lnTo>
                <a:lnTo>
                  <a:pt x="824627" y="295275"/>
                </a:lnTo>
                <a:lnTo>
                  <a:pt x="791404" y="184556"/>
                </a:lnTo>
                <a:lnTo>
                  <a:pt x="876300" y="110738"/>
                </a:lnTo>
                <a:lnTo>
                  <a:pt x="765572" y="110738"/>
                </a:lnTo>
                <a:lnTo>
                  <a:pt x="728662" y="0"/>
                </a:lnTo>
                <a:lnTo>
                  <a:pt x="691753" y="110738"/>
                </a:lnTo>
                <a:lnTo>
                  <a:pt x="475059" y="110738"/>
                </a:lnTo>
                <a:lnTo>
                  <a:pt x="438150" y="0"/>
                </a:lnTo>
                <a:lnTo>
                  <a:pt x="401241" y="110738"/>
                </a:lnTo>
                <a:lnTo>
                  <a:pt x="184547" y="110738"/>
                </a:lnTo>
                <a:lnTo>
                  <a:pt x="147638" y="0"/>
                </a:lnTo>
                <a:lnTo>
                  <a:pt x="110728" y="110738"/>
                </a:lnTo>
                <a:lnTo>
                  <a:pt x="0" y="110738"/>
                </a:lnTo>
                <a:lnTo>
                  <a:pt x="84887" y="184556"/>
                </a:lnTo>
                <a:close/>
                <a:moveTo>
                  <a:pt x="691753" y="129778"/>
                </a:moveTo>
                <a:lnTo>
                  <a:pt x="705479" y="129778"/>
                </a:lnTo>
                <a:lnTo>
                  <a:pt x="709822" y="116757"/>
                </a:lnTo>
                <a:lnTo>
                  <a:pt x="728662" y="60246"/>
                </a:lnTo>
                <a:lnTo>
                  <a:pt x="747503" y="116757"/>
                </a:lnTo>
                <a:lnTo>
                  <a:pt x="751837" y="129778"/>
                </a:lnTo>
                <a:lnTo>
                  <a:pt x="825360" y="129778"/>
                </a:lnTo>
                <a:lnTo>
                  <a:pt x="778907" y="170174"/>
                </a:lnTo>
                <a:lnTo>
                  <a:pt x="769630" y="178241"/>
                </a:lnTo>
                <a:lnTo>
                  <a:pt x="773163" y="190024"/>
                </a:lnTo>
                <a:lnTo>
                  <a:pt x="790747" y="248650"/>
                </a:lnTo>
                <a:lnTo>
                  <a:pt x="739502" y="213179"/>
                </a:lnTo>
                <a:lnTo>
                  <a:pt x="728662" y="205673"/>
                </a:lnTo>
                <a:lnTo>
                  <a:pt x="717814" y="213179"/>
                </a:lnTo>
                <a:lnTo>
                  <a:pt x="666569" y="248650"/>
                </a:lnTo>
                <a:lnTo>
                  <a:pt x="684162" y="190024"/>
                </a:lnTo>
                <a:lnTo>
                  <a:pt x="687696" y="178241"/>
                </a:lnTo>
                <a:lnTo>
                  <a:pt x="678418" y="170174"/>
                </a:lnTo>
                <a:lnTo>
                  <a:pt x="631965" y="129778"/>
                </a:lnTo>
                <a:close/>
              </a:path>
            </a:pathLst>
          </a:custGeom>
          <a:solidFill>
            <a:srgbClr val="F3D26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67" name="Graphic 7" descr="Rating Star with solid fill">
            <a:extLst>
              <a:ext uri="{FF2B5EF4-FFF2-40B4-BE49-F238E27FC236}">
                <a16:creationId xmlns:a16="http://schemas.microsoft.com/office/drawing/2014/main" id="{8AC3B36B-CF5E-312D-55CA-01E0F01F8ECC}"/>
              </a:ext>
            </a:extLst>
          </p:cNvPr>
          <p:cNvSpPr/>
          <p:nvPr/>
        </p:nvSpPr>
        <p:spPr>
          <a:xfrm>
            <a:off x="8757478" y="2116831"/>
            <a:ext cx="876299" cy="295275"/>
          </a:xfrm>
          <a:custGeom>
            <a:avLst/>
            <a:gdLst>
              <a:gd name="connsiteX0" fmla="*/ 51673 w 876299"/>
              <a:gd name="connsiteY0" fmla="*/ 295275 h 295275"/>
              <a:gd name="connsiteX1" fmla="*/ 147638 w 876299"/>
              <a:gd name="connsiteY1" fmla="*/ 228838 h 295275"/>
              <a:gd name="connsiteX2" fmla="*/ 243602 w 876299"/>
              <a:gd name="connsiteY2" fmla="*/ 295275 h 295275"/>
              <a:gd name="connsiteX3" fmla="*/ 210388 w 876299"/>
              <a:gd name="connsiteY3" fmla="*/ 184556 h 295275"/>
              <a:gd name="connsiteX4" fmla="*/ 292894 w 876299"/>
              <a:gd name="connsiteY4" fmla="*/ 112814 h 295275"/>
              <a:gd name="connsiteX5" fmla="*/ 375399 w 876299"/>
              <a:gd name="connsiteY5" fmla="*/ 184556 h 295275"/>
              <a:gd name="connsiteX6" fmla="*/ 342186 w 876299"/>
              <a:gd name="connsiteY6" fmla="*/ 295275 h 295275"/>
              <a:gd name="connsiteX7" fmla="*/ 438150 w 876299"/>
              <a:gd name="connsiteY7" fmla="*/ 228838 h 295275"/>
              <a:gd name="connsiteX8" fmla="*/ 534114 w 876299"/>
              <a:gd name="connsiteY8" fmla="*/ 295275 h 295275"/>
              <a:gd name="connsiteX9" fmla="*/ 500901 w 876299"/>
              <a:gd name="connsiteY9" fmla="*/ 184556 h 295275"/>
              <a:gd name="connsiteX10" fmla="*/ 583406 w 876299"/>
              <a:gd name="connsiteY10" fmla="*/ 112814 h 295275"/>
              <a:gd name="connsiteX11" fmla="*/ 665912 w 876299"/>
              <a:gd name="connsiteY11" fmla="*/ 184556 h 295275"/>
              <a:gd name="connsiteX12" fmla="*/ 632698 w 876299"/>
              <a:gd name="connsiteY12" fmla="*/ 295275 h 295275"/>
              <a:gd name="connsiteX13" fmla="*/ 728662 w 876299"/>
              <a:gd name="connsiteY13" fmla="*/ 228838 h 295275"/>
              <a:gd name="connsiteX14" fmla="*/ 824627 w 876299"/>
              <a:gd name="connsiteY14" fmla="*/ 295275 h 295275"/>
              <a:gd name="connsiteX15" fmla="*/ 791404 w 876299"/>
              <a:gd name="connsiteY15" fmla="*/ 184556 h 295275"/>
              <a:gd name="connsiteX16" fmla="*/ 876300 w 876299"/>
              <a:gd name="connsiteY16" fmla="*/ 110738 h 295275"/>
              <a:gd name="connsiteX17" fmla="*/ 765572 w 876299"/>
              <a:gd name="connsiteY17" fmla="*/ 110738 h 295275"/>
              <a:gd name="connsiteX18" fmla="*/ 728662 w 876299"/>
              <a:gd name="connsiteY18" fmla="*/ 0 h 295275"/>
              <a:gd name="connsiteX19" fmla="*/ 691753 w 876299"/>
              <a:gd name="connsiteY19" fmla="*/ 110738 h 295275"/>
              <a:gd name="connsiteX20" fmla="*/ 475059 w 876299"/>
              <a:gd name="connsiteY20" fmla="*/ 110738 h 295275"/>
              <a:gd name="connsiteX21" fmla="*/ 438150 w 876299"/>
              <a:gd name="connsiteY21" fmla="*/ 0 h 295275"/>
              <a:gd name="connsiteX22" fmla="*/ 401241 w 876299"/>
              <a:gd name="connsiteY22" fmla="*/ 110738 h 295275"/>
              <a:gd name="connsiteX23" fmla="*/ 184547 w 876299"/>
              <a:gd name="connsiteY23" fmla="*/ 110738 h 295275"/>
              <a:gd name="connsiteX24" fmla="*/ 147638 w 876299"/>
              <a:gd name="connsiteY24" fmla="*/ 0 h 295275"/>
              <a:gd name="connsiteX25" fmla="*/ 110728 w 876299"/>
              <a:gd name="connsiteY25" fmla="*/ 110738 h 295275"/>
              <a:gd name="connsiteX26" fmla="*/ 0 w 876299"/>
              <a:gd name="connsiteY26" fmla="*/ 110738 h 295275"/>
              <a:gd name="connsiteX27" fmla="*/ 84887 w 876299"/>
              <a:gd name="connsiteY27" fmla="*/ 184556 h 295275"/>
              <a:gd name="connsiteX28" fmla="*/ 691753 w 876299"/>
              <a:gd name="connsiteY28" fmla="*/ 129778 h 295275"/>
              <a:gd name="connsiteX29" fmla="*/ 705479 w 876299"/>
              <a:gd name="connsiteY29" fmla="*/ 129778 h 295275"/>
              <a:gd name="connsiteX30" fmla="*/ 709822 w 876299"/>
              <a:gd name="connsiteY30" fmla="*/ 116757 h 295275"/>
              <a:gd name="connsiteX31" fmla="*/ 728662 w 876299"/>
              <a:gd name="connsiteY31" fmla="*/ 60246 h 295275"/>
              <a:gd name="connsiteX32" fmla="*/ 747503 w 876299"/>
              <a:gd name="connsiteY32" fmla="*/ 116757 h 295275"/>
              <a:gd name="connsiteX33" fmla="*/ 751837 w 876299"/>
              <a:gd name="connsiteY33" fmla="*/ 129778 h 295275"/>
              <a:gd name="connsiteX34" fmla="*/ 825360 w 876299"/>
              <a:gd name="connsiteY34" fmla="*/ 129778 h 295275"/>
              <a:gd name="connsiteX35" fmla="*/ 778907 w 876299"/>
              <a:gd name="connsiteY35" fmla="*/ 170174 h 295275"/>
              <a:gd name="connsiteX36" fmla="*/ 769630 w 876299"/>
              <a:gd name="connsiteY36" fmla="*/ 178241 h 295275"/>
              <a:gd name="connsiteX37" fmla="*/ 773163 w 876299"/>
              <a:gd name="connsiteY37" fmla="*/ 190024 h 295275"/>
              <a:gd name="connsiteX38" fmla="*/ 790747 w 876299"/>
              <a:gd name="connsiteY38" fmla="*/ 248650 h 295275"/>
              <a:gd name="connsiteX39" fmla="*/ 739502 w 876299"/>
              <a:gd name="connsiteY39" fmla="*/ 213179 h 295275"/>
              <a:gd name="connsiteX40" fmla="*/ 728662 w 876299"/>
              <a:gd name="connsiteY40" fmla="*/ 205673 h 295275"/>
              <a:gd name="connsiteX41" fmla="*/ 717814 w 876299"/>
              <a:gd name="connsiteY41" fmla="*/ 213179 h 295275"/>
              <a:gd name="connsiteX42" fmla="*/ 666569 w 876299"/>
              <a:gd name="connsiteY42" fmla="*/ 248650 h 295275"/>
              <a:gd name="connsiteX43" fmla="*/ 684162 w 876299"/>
              <a:gd name="connsiteY43" fmla="*/ 190024 h 295275"/>
              <a:gd name="connsiteX44" fmla="*/ 687696 w 876299"/>
              <a:gd name="connsiteY44" fmla="*/ 178241 h 295275"/>
              <a:gd name="connsiteX45" fmla="*/ 678418 w 876299"/>
              <a:gd name="connsiteY45" fmla="*/ 170174 h 295275"/>
              <a:gd name="connsiteX46" fmla="*/ 631965 w 876299"/>
              <a:gd name="connsiteY46" fmla="*/ 129778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876299" h="295275">
                <a:moveTo>
                  <a:pt x="51673" y="295275"/>
                </a:moveTo>
                <a:lnTo>
                  <a:pt x="147638" y="228838"/>
                </a:lnTo>
                <a:lnTo>
                  <a:pt x="243602" y="295275"/>
                </a:lnTo>
                <a:lnTo>
                  <a:pt x="210388" y="184556"/>
                </a:lnTo>
                <a:lnTo>
                  <a:pt x="292894" y="112814"/>
                </a:lnTo>
                <a:lnTo>
                  <a:pt x="375399" y="184556"/>
                </a:lnTo>
                <a:lnTo>
                  <a:pt x="342186" y="295275"/>
                </a:lnTo>
                <a:lnTo>
                  <a:pt x="438150" y="228838"/>
                </a:lnTo>
                <a:lnTo>
                  <a:pt x="534114" y="295275"/>
                </a:lnTo>
                <a:lnTo>
                  <a:pt x="500901" y="184556"/>
                </a:lnTo>
                <a:lnTo>
                  <a:pt x="583406" y="112814"/>
                </a:lnTo>
                <a:lnTo>
                  <a:pt x="665912" y="184556"/>
                </a:lnTo>
                <a:lnTo>
                  <a:pt x="632698" y="295275"/>
                </a:lnTo>
                <a:lnTo>
                  <a:pt x="728662" y="228838"/>
                </a:lnTo>
                <a:lnTo>
                  <a:pt x="824627" y="295275"/>
                </a:lnTo>
                <a:lnTo>
                  <a:pt x="791404" y="184556"/>
                </a:lnTo>
                <a:lnTo>
                  <a:pt x="876300" y="110738"/>
                </a:lnTo>
                <a:lnTo>
                  <a:pt x="765572" y="110738"/>
                </a:lnTo>
                <a:lnTo>
                  <a:pt x="728662" y="0"/>
                </a:lnTo>
                <a:lnTo>
                  <a:pt x="691753" y="110738"/>
                </a:lnTo>
                <a:lnTo>
                  <a:pt x="475059" y="110738"/>
                </a:lnTo>
                <a:lnTo>
                  <a:pt x="438150" y="0"/>
                </a:lnTo>
                <a:lnTo>
                  <a:pt x="401241" y="110738"/>
                </a:lnTo>
                <a:lnTo>
                  <a:pt x="184547" y="110738"/>
                </a:lnTo>
                <a:lnTo>
                  <a:pt x="147638" y="0"/>
                </a:lnTo>
                <a:lnTo>
                  <a:pt x="110728" y="110738"/>
                </a:lnTo>
                <a:lnTo>
                  <a:pt x="0" y="110738"/>
                </a:lnTo>
                <a:lnTo>
                  <a:pt x="84887" y="184556"/>
                </a:lnTo>
                <a:close/>
                <a:moveTo>
                  <a:pt x="691753" y="129778"/>
                </a:moveTo>
                <a:lnTo>
                  <a:pt x="705479" y="129778"/>
                </a:lnTo>
                <a:lnTo>
                  <a:pt x="709822" y="116757"/>
                </a:lnTo>
                <a:lnTo>
                  <a:pt x="728662" y="60246"/>
                </a:lnTo>
                <a:lnTo>
                  <a:pt x="747503" y="116757"/>
                </a:lnTo>
                <a:lnTo>
                  <a:pt x="751837" y="129778"/>
                </a:lnTo>
                <a:lnTo>
                  <a:pt x="825360" y="129778"/>
                </a:lnTo>
                <a:lnTo>
                  <a:pt x="778907" y="170174"/>
                </a:lnTo>
                <a:lnTo>
                  <a:pt x="769630" y="178241"/>
                </a:lnTo>
                <a:lnTo>
                  <a:pt x="773163" y="190024"/>
                </a:lnTo>
                <a:lnTo>
                  <a:pt x="790747" y="248650"/>
                </a:lnTo>
                <a:lnTo>
                  <a:pt x="739502" y="213179"/>
                </a:lnTo>
                <a:lnTo>
                  <a:pt x="728662" y="205673"/>
                </a:lnTo>
                <a:lnTo>
                  <a:pt x="717814" y="213179"/>
                </a:lnTo>
                <a:lnTo>
                  <a:pt x="666569" y="248650"/>
                </a:lnTo>
                <a:lnTo>
                  <a:pt x="684162" y="190024"/>
                </a:lnTo>
                <a:lnTo>
                  <a:pt x="687696" y="178241"/>
                </a:lnTo>
                <a:lnTo>
                  <a:pt x="678418" y="170174"/>
                </a:lnTo>
                <a:lnTo>
                  <a:pt x="631965" y="129778"/>
                </a:lnTo>
                <a:close/>
              </a:path>
            </a:pathLst>
          </a:custGeom>
          <a:solidFill>
            <a:srgbClr val="F3D26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568" name="Picture 567">
            <a:extLst>
              <a:ext uri="{FF2B5EF4-FFF2-40B4-BE49-F238E27FC236}">
                <a16:creationId xmlns:a16="http://schemas.microsoft.com/office/drawing/2014/main" id="{A9D6EC4A-7F10-8764-EFB7-5813EA3D022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" r="49909" b="-904"/>
          <a:stretch/>
        </p:blipFill>
        <p:spPr>
          <a:xfrm>
            <a:off x="9042650" y="2116831"/>
            <a:ext cx="439751" cy="295275"/>
          </a:xfrm>
          <a:prstGeom prst="rect">
            <a:avLst/>
          </a:prstGeom>
        </p:spPr>
      </p:pic>
      <p:sp>
        <p:nvSpPr>
          <p:cNvPr id="569" name="TextBox 568">
            <a:extLst>
              <a:ext uri="{FF2B5EF4-FFF2-40B4-BE49-F238E27FC236}">
                <a16:creationId xmlns:a16="http://schemas.microsoft.com/office/drawing/2014/main" id="{894644BF-7457-4906-915E-015E8CD61AEB}"/>
              </a:ext>
            </a:extLst>
          </p:cNvPr>
          <p:cNvSpPr txBox="1"/>
          <p:nvPr/>
        </p:nvSpPr>
        <p:spPr>
          <a:xfrm>
            <a:off x="9647425" y="2015372"/>
            <a:ext cx="9328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accent2"/>
                </a:solidFill>
              </a:rPr>
              <a:t>4.8</a:t>
            </a:r>
          </a:p>
        </p:txBody>
      </p:sp>
      <p:sp>
        <p:nvSpPr>
          <p:cNvPr id="571" name="Rectangle 570">
            <a:extLst>
              <a:ext uri="{FF2B5EF4-FFF2-40B4-BE49-F238E27FC236}">
                <a16:creationId xmlns:a16="http://schemas.microsoft.com/office/drawing/2014/main" id="{92CE8EE8-C441-045E-9008-8C8CEE38D358}"/>
              </a:ext>
            </a:extLst>
          </p:cNvPr>
          <p:cNvSpPr/>
          <p:nvPr/>
        </p:nvSpPr>
        <p:spPr>
          <a:xfrm>
            <a:off x="8087873" y="4321473"/>
            <a:ext cx="3508381" cy="20868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2" name="TextBox 571">
            <a:extLst>
              <a:ext uri="{FF2B5EF4-FFF2-40B4-BE49-F238E27FC236}">
                <a16:creationId xmlns:a16="http://schemas.microsoft.com/office/drawing/2014/main" id="{8E26409F-B4E6-F678-DD1F-B4908504EB12}"/>
              </a:ext>
            </a:extLst>
          </p:cNvPr>
          <p:cNvSpPr txBox="1"/>
          <p:nvPr/>
        </p:nvSpPr>
        <p:spPr>
          <a:xfrm>
            <a:off x="8064688" y="4347830"/>
            <a:ext cx="360246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ily rate of our ex-McKinsey, Deloitte and BCG Management Consultants</a:t>
            </a:r>
          </a:p>
          <a:p>
            <a:endParaRPr lang="en-US" dirty="0"/>
          </a:p>
          <a:p>
            <a:r>
              <a:rPr lang="en-US" sz="2800" b="1" dirty="0">
                <a:solidFill>
                  <a:schemeClr val="accent2"/>
                </a:solidFill>
              </a:rPr>
              <a:t>$3k-$4k</a:t>
            </a:r>
          </a:p>
        </p:txBody>
      </p:sp>
      <p:pic>
        <p:nvPicPr>
          <p:cNvPr id="1026" name="Picture 2" descr="Brand logo">
            <a:extLst>
              <a:ext uri="{FF2B5EF4-FFF2-40B4-BE49-F238E27FC236}">
                <a16:creationId xmlns:a16="http://schemas.microsoft.com/office/drawing/2014/main" id="{93760E12-26B1-B7A6-15B8-F42EC2BA98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738" y="1997958"/>
            <a:ext cx="472546" cy="472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1027">
            <a:extLst>
              <a:ext uri="{FF2B5EF4-FFF2-40B4-BE49-F238E27FC236}">
                <a16:creationId xmlns:a16="http://schemas.microsoft.com/office/drawing/2014/main" id="{366D1FBC-C366-71B7-F1FC-78416F8373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05931" y="2008591"/>
            <a:ext cx="417027" cy="512313"/>
          </a:xfrm>
          <a:prstGeom prst="rect">
            <a:avLst/>
          </a:prstGeom>
        </p:spPr>
      </p:pic>
      <p:pic>
        <p:nvPicPr>
          <p:cNvPr id="1030" name="Picture 1029">
            <a:extLst>
              <a:ext uri="{FF2B5EF4-FFF2-40B4-BE49-F238E27FC236}">
                <a16:creationId xmlns:a16="http://schemas.microsoft.com/office/drawing/2014/main" id="{CADE705D-B24A-3DD6-5C9A-EC96EA421BC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49468" y="2122429"/>
            <a:ext cx="1214210" cy="410689"/>
          </a:xfrm>
          <a:prstGeom prst="rect">
            <a:avLst/>
          </a:prstGeom>
        </p:spPr>
      </p:pic>
      <p:pic>
        <p:nvPicPr>
          <p:cNvPr id="1032" name="Picture 1031">
            <a:extLst>
              <a:ext uri="{FF2B5EF4-FFF2-40B4-BE49-F238E27FC236}">
                <a16:creationId xmlns:a16="http://schemas.microsoft.com/office/drawing/2014/main" id="{CBC58040-A790-1F95-53F6-EF6AB3D18F4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26410" b="21153"/>
          <a:stretch/>
        </p:blipFill>
        <p:spPr>
          <a:xfrm>
            <a:off x="4814228" y="2017798"/>
            <a:ext cx="1676193" cy="585975"/>
          </a:xfrm>
          <a:prstGeom prst="rect">
            <a:avLst/>
          </a:prstGeom>
        </p:spPr>
      </p:pic>
      <p:pic>
        <p:nvPicPr>
          <p:cNvPr id="1034" name="Picture 1033">
            <a:extLst>
              <a:ext uri="{FF2B5EF4-FFF2-40B4-BE49-F238E27FC236}">
                <a16:creationId xmlns:a16="http://schemas.microsoft.com/office/drawing/2014/main" id="{BDB422D2-615F-CE40-00E8-08E03C7CB77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50983" y="2063580"/>
            <a:ext cx="1034502" cy="428348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9DB2F-2F23-DB66-D167-31840D42D9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C003A15-EC52-BB26-B2EA-D1F6A5BB5F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8262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Introduction</a:t>
            </a:r>
            <a:endParaRPr lang="en-US" b="0" kern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054480-D828-7B59-3328-48D130C91ED1}"/>
              </a:ext>
            </a:extLst>
          </p:cNvPr>
          <p:cNvSpPr/>
          <p:nvPr/>
        </p:nvSpPr>
        <p:spPr>
          <a:xfrm>
            <a:off x="3840479" y="1766066"/>
            <a:ext cx="7738111" cy="39336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563" indent="-18256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tx1"/>
                </a:solidFill>
                <a:cs typeface="Arial" panose="020B0604020202020204" pitchFamily="34" charset="0"/>
              </a:rPr>
              <a:t>This Toolkit was created by ex-McKinsey, Deloitte and BCG Management Consultants </a:t>
            </a:r>
            <a:r>
              <a:rPr lang="en-GB" sz="1600">
                <a:solidFill>
                  <a:schemeClr val="tx1"/>
                </a:solidFill>
                <a:cs typeface="Arial" panose="020B0604020202020204" pitchFamily="34" charset="0"/>
              </a:rPr>
              <a:t>after 4,000</a:t>
            </a:r>
            <a:r>
              <a:rPr lang="en-GB" sz="1600" dirty="0">
                <a:solidFill>
                  <a:schemeClr val="tx1"/>
                </a:solidFill>
                <a:cs typeface="Arial" panose="020B0604020202020204" pitchFamily="34" charset="0"/>
              </a:rPr>
              <a:t>+ hours of work. It shares our combined 100+ years of experience advising executive teams around the world. It includes all the Frameworks, Best Practices &amp; Templates required to successfully implement an operating model and organization design initiative, and make your strategy happen.</a:t>
            </a:r>
          </a:p>
          <a:p>
            <a:pPr marL="182563" indent="-18256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002060"/>
                </a:solidFill>
                <a:cs typeface="Arial" panose="020B0604020202020204" pitchFamily="34" charset="0"/>
              </a:rPr>
              <a:t>Join the 200,000+ Executives, Consultants &amp; Entrepreneurs </a:t>
            </a:r>
            <a:r>
              <a:rPr lang="en-GB" sz="1600" dirty="0">
                <a:solidFill>
                  <a:srgbClr val="002060"/>
                </a:solidFill>
                <a:cs typeface="Arial" panose="020B0604020202020204" pitchFamily="34" charset="0"/>
              </a:rPr>
              <a:t>who are already leveraging our Management Consulting Toolkits to improve the performance of their organization and boost their own career.</a:t>
            </a:r>
          </a:p>
          <a:p>
            <a:pPr marL="182563" indent="-18256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002060"/>
                </a:solidFill>
                <a:cs typeface="Arial" panose="020B0604020202020204" pitchFamily="34" charset="0"/>
              </a:rPr>
              <a:t>If you have any questions, send us an email at support@domontconsulting.com </a:t>
            </a:r>
            <a:r>
              <a:rPr lang="en-GB" sz="1600" dirty="0">
                <a:solidFill>
                  <a:srgbClr val="002060"/>
                </a:solidFill>
                <a:cs typeface="Arial" panose="020B0604020202020204" pitchFamily="34" charset="0"/>
              </a:rPr>
              <a:t>and one of our ex-McKinsey, Deloitte &amp; BCG Management Consultants will get back to you within 2 business days.</a:t>
            </a:r>
          </a:p>
        </p:txBody>
      </p:sp>
      <p:pic>
        <p:nvPicPr>
          <p:cNvPr id="6" name="Picture 5" descr="A person in a suit&#10;&#10;Description automatically generated with medium confidence">
            <a:extLst>
              <a:ext uri="{FF2B5EF4-FFF2-40B4-BE49-F238E27FC236}">
                <a16:creationId xmlns:a16="http://schemas.microsoft.com/office/drawing/2014/main" id="{7CE27B58-4E64-2C1A-172E-FF737A503B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838" y="1766066"/>
            <a:ext cx="2968409" cy="393365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A49D4D5-98E8-7870-FF2C-81E5593F9580}"/>
              </a:ext>
            </a:extLst>
          </p:cNvPr>
          <p:cNvSpPr txBox="1"/>
          <p:nvPr/>
        </p:nvSpPr>
        <p:spPr>
          <a:xfrm>
            <a:off x="522909" y="5782906"/>
            <a:ext cx="305033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Aurelien Domont</a:t>
            </a:r>
          </a:p>
          <a:p>
            <a:pPr algn="ctr"/>
            <a:r>
              <a:rPr lang="en-GB" sz="1100" dirty="0"/>
              <a:t>Management Consultant</a:t>
            </a:r>
          </a:p>
          <a:p>
            <a:pPr algn="ctr"/>
            <a:r>
              <a:rPr lang="en-GB" sz="1100" dirty="0"/>
              <a:t>Domont Consulting Managing Director</a:t>
            </a:r>
          </a:p>
        </p:txBody>
      </p:sp>
      <p:pic>
        <p:nvPicPr>
          <p:cNvPr id="8" name="Picture 7" descr="A picture containing drawing&#10;&#10;Description automatically generated">
            <a:hlinkClick r:id="rId7"/>
            <a:extLst>
              <a:ext uri="{FF2B5EF4-FFF2-40B4-BE49-F238E27FC236}">
                <a16:creationId xmlns:a16="http://schemas.microsoft.com/office/drawing/2014/main" id="{268E509B-2278-9C53-3AC5-C1C08EBA20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4027" y="5755943"/>
            <a:ext cx="224866" cy="224866"/>
          </a:xfrm>
          <a:prstGeom prst="rect">
            <a:avLst/>
          </a:prstGeom>
        </p:spPr>
      </p:pic>
      <p:pic>
        <p:nvPicPr>
          <p:cNvPr id="9" name="Picture 8">
            <a:hlinkClick r:id="rId9"/>
            <a:extLst>
              <a:ext uri="{FF2B5EF4-FFF2-40B4-BE49-F238E27FC236}">
                <a16:creationId xmlns:a16="http://schemas.microsoft.com/office/drawing/2014/main" id="{09402739-287F-B248-8F93-455BAF39FE3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06739" y="552454"/>
            <a:ext cx="3371439" cy="792954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A27F5ED-D4FF-789E-01B5-04A22C6E38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1A31051-71CD-77B8-816F-2961694712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1645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BD01E70-F8C7-493C-AEDD-E5492D344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2900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BD01E70-F8C7-493C-AEDD-E5492D344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A098EA-8CD1-417F-A724-88393CE457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>
            <a:hlinkClick r:id="rId7"/>
            <a:extLst>
              <a:ext uri="{FF2B5EF4-FFF2-40B4-BE49-F238E27FC236}">
                <a16:creationId xmlns:a16="http://schemas.microsoft.com/office/drawing/2014/main" id="{C0EC32D3-CE1C-48E3-89F2-1AFBF8A9B34F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9576" y="1756411"/>
            <a:ext cx="6232848" cy="3505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solidFill>
                  <a:schemeClr val="accent2"/>
                </a:solidFill>
                <a:sym typeface="Arial" panose="020B0604020202020204" pitchFamily="34" charset="0"/>
              </a:rPr>
              <a:t>Interested in more than 1 Toolkit? </a:t>
            </a:r>
            <a:r>
              <a:rPr lang="en-US" dirty="0">
                <a:sym typeface="Arial" panose="020B0604020202020204" pitchFamily="34" charset="0"/>
              </a:rPr>
              <a:t>Access all our Toolkits for </a:t>
            </a:r>
            <a:r>
              <a:rPr lang="en-US" u="sng" dirty="0">
                <a:sym typeface="Arial" panose="020B0604020202020204" pitchFamily="34" charset="0"/>
              </a:rPr>
              <a:t>half the price</a:t>
            </a:r>
            <a:r>
              <a:rPr lang="en-US" dirty="0">
                <a:sym typeface="Arial" panose="020B0604020202020204" pitchFamily="34" charset="0"/>
              </a:rPr>
              <a:t> with our Gold Acces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5724769-7F7A-49A0-978E-58661220D668}"/>
              </a:ext>
            </a:extLst>
          </p:cNvPr>
          <p:cNvSpPr txBox="1">
            <a:spLocks/>
          </p:cNvSpPr>
          <p:nvPr/>
        </p:nvSpPr>
        <p:spPr>
          <a:xfrm>
            <a:off x="3697289" y="5365291"/>
            <a:ext cx="4797423" cy="423802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400" kern="0" dirty="0"/>
              <a:t>Gold Access</a:t>
            </a:r>
          </a:p>
        </p:txBody>
      </p:sp>
      <p:sp>
        <p:nvSpPr>
          <p:cNvPr id="5" name="Rectangle: Rounded Corners 4">
            <a:hlinkClick r:id="rId9"/>
            <a:extLst>
              <a:ext uri="{FF2B5EF4-FFF2-40B4-BE49-F238E27FC236}">
                <a16:creationId xmlns:a16="http://schemas.microsoft.com/office/drawing/2014/main" id="{D4604511-274B-95D2-A130-C832BC31795C}"/>
              </a:ext>
            </a:extLst>
          </p:cNvPr>
          <p:cNvSpPr/>
          <p:nvPr/>
        </p:nvSpPr>
        <p:spPr bwMode="auto">
          <a:xfrm>
            <a:off x="4782000" y="6009488"/>
            <a:ext cx="2628000" cy="324000"/>
          </a:xfrm>
          <a:prstGeom prst="roundRect">
            <a:avLst>
              <a:gd name="adj" fmla="val 17808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4400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 b="1" kern="1200" dirty="0">
                <a:solidFill>
                  <a:schemeClr val="bg1"/>
                </a:solidFill>
                <a:latin typeface="Arial" charset="0"/>
                <a:ea typeface="+mn-ea"/>
                <a:cs typeface="Times New Roman" pitchFamily="18" charset="0"/>
              </a:rPr>
              <a:t>Click here to learn mo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7973EC-07C4-FF4C-740C-76BF40656E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CECF77-7C25-E4AC-F4D7-A7E06C4A35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5858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4BA662-CDE2-4A20-B082-F06179C98F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939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4BA662-CDE2-4A20-B082-F06179C98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088ED2B-BEA3-4D03-95DE-285838A9FDF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solidFill>
                  <a:schemeClr val="accent2"/>
                </a:solidFill>
                <a:latin typeface="+mn-lt"/>
              </a:rPr>
              <a:t>Need additional help? </a:t>
            </a:r>
            <a:r>
              <a:rPr lang="en-US" dirty="0">
                <a:latin typeface="+mn-lt"/>
              </a:rPr>
              <a:t>Send us a brief and we’ll find you the right talent from our network of 500+ tier-1 Management Consultants</a:t>
            </a:r>
          </a:p>
        </p:txBody>
      </p:sp>
      <p:sp>
        <p:nvSpPr>
          <p:cNvPr id="7" name="Rectangle: Rounded Corners 6">
            <a:hlinkClick r:id="rId7"/>
            <a:extLst>
              <a:ext uri="{FF2B5EF4-FFF2-40B4-BE49-F238E27FC236}">
                <a16:creationId xmlns:a16="http://schemas.microsoft.com/office/drawing/2014/main" id="{FCF3B6F5-0780-4160-979E-CDC4B2E2F5EC}"/>
              </a:ext>
            </a:extLst>
          </p:cNvPr>
          <p:cNvSpPr/>
          <p:nvPr/>
        </p:nvSpPr>
        <p:spPr bwMode="auto">
          <a:xfrm>
            <a:off x="4782000" y="6180938"/>
            <a:ext cx="2628000" cy="324000"/>
          </a:xfrm>
          <a:prstGeom prst="roundRect">
            <a:avLst>
              <a:gd name="adj" fmla="val 17808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4400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kern="1200" dirty="0">
                <a:solidFill>
                  <a:schemeClr val="bg1"/>
                </a:solidFill>
                <a:latin typeface="Arial" charset="0"/>
                <a:ea typeface="+mn-ea"/>
                <a:cs typeface="Times New Roman" pitchFamily="18" charset="0"/>
              </a:rPr>
              <a:t>Click here to send us a Project Brief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A26D682-5264-B706-F6AF-0D72378DBA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918" y="1696030"/>
            <a:ext cx="3187864" cy="214006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11A84D5-7403-36BA-1766-D2F531D226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44918" y="1696030"/>
            <a:ext cx="3187864" cy="213371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2DEE20F-275F-C091-1F85-E12BC455C0B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770"/>
          <a:stretch/>
        </p:blipFill>
        <p:spPr>
          <a:xfrm>
            <a:off x="7873918" y="1734132"/>
            <a:ext cx="3187864" cy="211465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4A2B9D2-D853-FE69-FBE1-01DA776C2EF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15918" y="4012597"/>
            <a:ext cx="3181514" cy="213371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855FA9D-ABAE-4A3D-DC8B-78877AE4B60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44918" y="4012597"/>
            <a:ext cx="3168813" cy="212100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894912F-62D0-D110-AAA1-7996F52565A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61217" y="4012597"/>
            <a:ext cx="3181514" cy="211465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69548C-8BDC-101F-0F14-9450ED82D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0BF72A-34C7-ED75-EACA-1530D71C5D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998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C4BA8F5-D233-6F88-C267-EBFA42ECB7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8900" y="3172775"/>
            <a:ext cx="4717062" cy="1087968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32FE54-3FF5-4B4C-8DBC-DAAD65190E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9427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32FE54-3FF5-4B4C-8DBC-DAAD65190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313AF4-C8B1-42E4-ACB5-22D9C13E37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latin typeface="+mn-lt"/>
              </a:rPr>
              <a:t>This was just a small preview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4EE5F8-9590-D51A-8C97-146730CFCC30}"/>
              </a:ext>
            </a:extLst>
          </p:cNvPr>
          <p:cNvSpPr txBox="1"/>
          <p:nvPr/>
        </p:nvSpPr>
        <p:spPr>
          <a:xfrm>
            <a:off x="4077852" y="4302860"/>
            <a:ext cx="3672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B0F0"/>
                </a:solidFill>
                <a:hlinkClick r:id="rId8"/>
              </a:rPr>
              <a:t>www.domontconsulting.com</a:t>
            </a:r>
            <a:r>
              <a:rPr lang="en-US" dirty="0">
                <a:solidFill>
                  <a:srgbClr val="00B0F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3806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A0928A2-5679-39E5-8050-3FF70F1108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1029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928A2-5679-39E5-8050-3FF70F1108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8D96AE-3B87-BB1A-13CC-08803680C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dirty="0">
                <a:solidFill>
                  <a:schemeClr val="accent2"/>
                </a:solidFill>
              </a:rPr>
              <a:t>Context: </a:t>
            </a:r>
            <a:r>
              <a:rPr lang="en-GB" dirty="0">
                <a:solidFill>
                  <a:schemeClr val="tx1"/>
                </a:solidFill>
              </a:rPr>
              <a:t>Having a great operating model and organization design is more important than ev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8" name="Footer Placeholder 107">
            <a:extLst>
              <a:ext uri="{FF2B5EF4-FFF2-40B4-BE49-F238E27FC236}">
                <a16:creationId xmlns:a16="http://schemas.microsoft.com/office/drawing/2014/main" id="{837A0A3E-F251-0B73-3ECB-60E5ECC8B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109" name="Slide Number Placeholder 108">
            <a:extLst>
              <a:ext uri="{FF2B5EF4-FFF2-40B4-BE49-F238E27FC236}">
                <a16:creationId xmlns:a16="http://schemas.microsoft.com/office/drawing/2014/main" id="{68C4106C-AF12-7F3F-BB93-145E55280C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06C86F0-A44E-FE3A-1253-41BC7273947D}"/>
              </a:ext>
            </a:extLst>
          </p:cNvPr>
          <p:cNvSpPr txBox="1"/>
          <p:nvPr/>
        </p:nvSpPr>
        <p:spPr>
          <a:xfrm>
            <a:off x="514114" y="1638469"/>
            <a:ext cx="1107304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/>
              <a:t>In these times of economic turbulence, disruptive technology, globalization and unprecedentedly fierce competition, having a great operating model and organization design is more important than ever.</a:t>
            </a:r>
          </a:p>
          <a:p>
            <a:endParaRPr lang="en-GB" sz="1600" dirty="0"/>
          </a:p>
          <a:p>
            <a:r>
              <a:rPr lang="en-GB" sz="1600" b="1" dirty="0"/>
              <a:t>A great operating model and organization design will help you:</a:t>
            </a:r>
          </a:p>
          <a:p>
            <a:pPr marL="360363" indent="-184150">
              <a:buFont typeface="Arial" panose="020B0604020202020204" pitchFamily="34" charset="0"/>
              <a:buChar char="•"/>
            </a:pPr>
            <a:r>
              <a:rPr lang="en-GB" sz="1600" dirty="0"/>
              <a:t>Make your strategy happen</a:t>
            </a:r>
          </a:p>
          <a:p>
            <a:pPr marL="360363" indent="-184150">
              <a:buFont typeface="Arial" panose="020B0604020202020204" pitchFamily="34" charset="0"/>
              <a:buChar char="•"/>
            </a:pPr>
            <a:r>
              <a:rPr lang="en-GB" sz="1600" dirty="0"/>
              <a:t>Boost your company’s performance</a:t>
            </a:r>
          </a:p>
          <a:p>
            <a:pPr marL="360363" indent="-184150">
              <a:buFont typeface="Arial" panose="020B0604020202020204" pitchFamily="34" charset="0"/>
              <a:buChar char="•"/>
            </a:pPr>
            <a:r>
              <a:rPr lang="en-GB" sz="1600" dirty="0"/>
              <a:t>Adapt to changing conditions</a:t>
            </a:r>
          </a:p>
          <a:p>
            <a:pPr marL="360363" indent="-184150">
              <a:buFont typeface="Arial" panose="020B0604020202020204" pitchFamily="34" charset="0"/>
              <a:buChar char="•"/>
            </a:pPr>
            <a:r>
              <a:rPr lang="en-GB" sz="1600" dirty="0"/>
              <a:t>Change the trajectory of your business</a:t>
            </a:r>
          </a:p>
          <a:p>
            <a:pPr marL="360363" indent="-184150">
              <a:buFont typeface="Arial" panose="020B0604020202020204" pitchFamily="34" charset="0"/>
              <a:buChar char="•"/>
            </a:pPr>
            <a:r>
              <a:rPr lang="en-GB" sz="1600" dirty="0"/>
              <a:t>Improve coordination and decision-making</a:t>
            </a:r>
          </a:p>
          <a:p>
            <a:pPr marL="360363" indent="-184150">
              <a:buFont typeface="Arial" panose="020B0604020202020204" pitchFamily="34" charset="0"/>
              <a:buChar char="•"/>
            </a:pPr>
            <a:r>
              <a:rPr lang="en-GB" sz="1600" dirty="0"/>
              <a:t>Improve risk management</a:t>
            </a:r>
          </a:p>
          <a:p>
            <a:pPr marL="285750" indent="-109538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b="1" dirty="0"/>
              <a:t>Companies without the right operating model and organization design often experience the following challenges:</a:t>
            </a:r>
          </a:p>
          <a:p>
            <a:pPr marL="360363" indent="-184150">
              <a:buFont typeface="Arial" panose="020B0604020202020204" pitchFamily="34" charset="0"/>
              <a:buChar char="•"/>
            </a:pPr>
            <a:r>
              <a:rPr lang="en-GB" sz="1600" dirty="0"/>
              <a:t>Operational inefficiencies as people expend effort in areas not aligned with the strategic plan</a:t>
            </a:r>
          </a:p>
          <a:p>
            <a:pPr marL="360363" indent="-184150">
              <a:buFont typeface="Arial" panose="020B0604020202020204" pitchFamily="34" charset="0"/>
              <a:buChar char="•"/>
            </a:pPr>
            <a:r>
              <a:rPr lang="en-GB" sz="1600" dirty="0"/>
              <a:t>Ambiguity around accountabilities, roles and responsibilities, slowing the decision-making process</a:t>
            </a:r>
          </a:p>
          <a:p>
            <a:pPr marL="360363" indent="-184150">
              <a:buFont typeface="Arial" panose="020B0604020202020204" pitchFamily="34" charset="0"/>
              <a:buChar char="•"/>
            </a:pPr>
            <a:r>
              <a:rPr lang="en-GB" sz="1600" dirty="0"/>
              <a:t>Low interaction and integration between divisional units and functional areas, as it is unclear to people how they should cross these implicit boundaries</a:t>
            </a:r>
          </a:p>
          <a:p>
            <a:pPr marL="360363" indent="-184150">
              <a:buFont typeface="Arial" panose="020B0604020202020204" pitchFamily="34" charset="0"/>
              <a:buChar char="•"/>
            </a:pPr>
            <a:r>
              <a:rPr lang="en-GB" sz="1600" dirty="0"/>
              <a:t>Increased or sustained operating risks due to the absence of clear principles, roles, responsibilities and processes </a:t>
            </a:r>
          </a:p>
        </p:txBody>
      </p:sp>
    </p:spTree>
    <p:extLst>
      <p:ext uri="{BB962C8B-B14F-4D97-AF65-F5344CB8AC3E}">
        <p14:creationId xmlns:p14="http://schemas.microsoft.com/office/powerpoint/2010/main" val="13939084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A0928A2-5679-39E5-8050-3FF70F1108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9066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0928A2-5679-39E5-8050-3FF70F1108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8D96AE-3B87-BB1A-13CC-08803680C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dirty="0">
                <a:solidFill>
                  <a:schemeClr val="accent2"/>
                </a:solidFill>
              </a:rPr>
              <a:t>Problem: </a:t>
            </a:r>
            <a:r>
              <a:rPr lang="en-GB" dirty="0">
                <a:solidFill>
                  <a:schemeClr val="tx1"/>
                </a:solidFill>
              </a:rPr>
              <a:t>Fewer than half of the reorganization efforts are successful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8" name="Footer Placeholder 107">
            <a:extLst>
              <a:ext uri="{FF2B5EF4-FFF2-40B4-BE49-F238E27FC236}">
                <a16:creationId xmlns:a16="http://schemas.microsoft.com/office/drawing/2014/main" id="{837A0A3E-F251-0B73-3ECB-60E5ECC8B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109" name="Slide Number Placeholder 108">
            <a:extLst>
              <a:ext uri="{FF2B5EF4-FFF2-40B4-BE49-F238E27FC236}">
                <a16:creationId xmlns:a16="http://schemas.microsoft.com/office/drawing/2014/main" id="{68C4106C-AF12-7F3F-BB93-145E55280C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38372C-B22A-86F9-2488-6C52595756F9}"/>
              </a:ext>
            </a:extLst>
          </p:cNvPr>
          <p:cNvSpPr txBox="1"/>
          <p:nvPr/>
        </p:nvSpPr>
        <p:spPr>
          <a:xfrm>
            <a:off x="518055" y="6571943"/>
            <a:ext cx="72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</a:rPr>
              <a:t>Source: ???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07F28EF-4362-30C3-8D17-E17CC23C8ADD}"/>
              </a:ext>
            </a:extLst>
          </p:cNvPr>
          <p:cNvGrpSpPr/>
          <p:nvPr/>
        </p:nvGrpSpPr>
        <p:grpSpPr>
          <a:xfrm>
            <a:off x="567278" y="1686792"/>
            <a:ext cx="7308000" cy="338554"/>
            <a:chOff x="599178" y="1686792"/>
            <a:chExt cx="5127265" cy="338554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905D847C-1D95-A3B7-7747-A9D630A2B2EE}"/>
                </a:ext>
              </a:extLst>
            </p:cNvPr>
            <p:cNvCxnSpPr/>
            <p:nvPr/>
          </p:nvCxnSpPr>
          <p:spPr>
            <a:xfrm>
              <a:off x="627319" y="2009553"/>
              <a:ext cx="5099124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A774151-5EBE-2B3D-1EB6-49902A92A678}"/>
                </a:ext>
              </a:extLst>
            </p:cNvPr>
            <p:cNvSpPr txBox="1"/>
            <p:nvPr/>
          </p:nvSpPr>
          <p:spPr>
            <a:xfrm>
              <a:off x="599178" y="1686792"/>
              <a:ext cx="5112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b="1" dirty="0"/>
                <a:t>Reorganization initiatives’ ability to reach value creation objective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4CC501C-7049-A44E-48B4-ADCE495F9653}"/>
              </a:ext>
            </a:extLst>
          </p:cNvPr>
          <p:cNvGrpSpPr/>
          <p:nvPr/>
        </p:nvGrpSpPr>
        <p:grpSpPr>
          <a:xfrm>
            <a:off x="8176436" y="1655948"/>
            <a:ext cx="3399614" cy="352458"/>
            <a:chOff x="8176436" y="1655948"/>
            <a:chExt cx="3399614" cy="352458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3FD03EA-B70E-8B1A-F5F1-B91DF7CACB7F}"/>
                </a:ext>
              </a:extLst>
            </p:cNvPr>
            <p:cNvCxnSpPr/>
            <p:nvPr/>
          </p:nvCxnSpPr>
          <p:spPr>
            <a:xfrm>
              <a:off x="8216244" y="2008406"/>
              <a:ext cx="335980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07C861C-1918-CD32-8EA8-0DE22EBE70C1}"/>
                </a:ext>
              </a:extLst>
            </p:cNvPr>
            <p:cNvSpPr txBox="1"/>
            <p:nvPr/>
          </p:nvSpPr>
          <p:spPr>
            <a:xfrm>
              <a:off x="8176436" y="1655948"/>
              <a:ext cx="3368290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Key insights:</a:t>
              </a:r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F4ED82C-94A2-4F07-41B4-97C65CE6EA9D}"/>
              </a:ext>
            </a:extLst>
          </p:cNvPr>
          <p:cNvCxnSpPr>
            <a:cxnSpLocks/>
          </p:cNvCxnSpPr>
          <p:nvPr/>
        </p:nvCxnSpPr>
        <p:spPr>
          <a:xfrm flipV="1">
            <a:off x="8054826" y="1761427"/>
            <a:ext cx="0" cy="4572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377A972-79D6-A144-0DBC-1677BF0D61C8}"/>
              </a:ext>
            </a:extLst>
          </p:cNvPr>
          <p:cNvSpPr txBox="1"/>
          <p:nvPr/>
        </p:nvSpPr>
        <p:spPr>
          <a:xfrm>
            <a:off x="8216244" y="2133600"/>
            <a:ext cx="3349748" cy="36240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+mj-lt"/>
              </a:rPr>
              <a:t>In a survey conducted by The Boston Consulting Group, almost 80% of the respondent companies reported under-going a recent reorganization exercise.</a:t>
            </a:r>
          </a:p>
          <a:p>
            <a:pPr marL="180975" indent="-18097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+mj-lt"/>
              </a:rPr>
              <a:t>However, the survey respondents rated fewer than half of the reorganization efforts as successful. The underlying reason for such a low success rate was that all too often, the companies’ leaders relied on complex organizational frameworks that have become outmoded and ineffective in today’s business environment. 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6D8FAA40-6874-F58E-AC79-DEBB9CC9653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272442"/>
              </p:ext>
            </p:extLst>
          </p:nvPr>
        </p:nvGraphicFramePr>
        <p:xfrm>
          <a:off x="515938" y="2322513"/>
          <a:ext cx="7285037" cy="375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5A7485EF-1AD1-88FC-9CC6-FFFD5732CE2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825625" y="5792788"/>
            <a:ext cx="11064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3E563BF-ED67-4926-AA23-E0E908421545}" type="datetime'S''''u''''c''''''''''''''ce''''ss'''' ''ra''''''''''te'''''">
              <a:rPr lang="en-US" altLang="en-US" sz="1400" b="1" smtClean="0">
                <a:solidFill>
                  <a:schemeClr val="tx1"/>
                </a:solidFill>
              </a:rPr>
              <a:pPr/>
              <a:t>Success rate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E1C7DD8-AAC4-6A0E-D7C3-DD8A0CE4B24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454650" y="5792788"/>
            <a:ext cx="9683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67FEFE-C779-4E2D-99FA-885CDD46A004}" type="datetime'''''''''F''''a''''i''lu''''r''''''''e'' r''''''a''''''''t''e'">
              <a:rPr lang="en-US" altLang="en-US" sz="1400" b="1" smtClean="0">
                <a:solidFill>
                  <a:schemeClr val="tx1"/>
                </a:solidFill>
              </a:rPr>
              <a:pPr/>
              <a:t>Failure rate</a:t>
            </a:fld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4155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4B90F8-16E2-149E-13EF-2AEEB8172E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0788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4B90F8-16E2-149E-13EF-2AEEB8172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C4AEFD-F24A-61C6-413F-137EBECAC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Solution: </a:t>
            </a:r>
            <a:r>
              <a:rPr lang="en-US" dirty="0"/>
              <a:t>Our </a:t>
            </a:r>
            <a:r>
              <a:rPr lang="en-GB" dirty="0"/>
              <a:t>ex-McKinsey, Deloitte &amp; BCG consultants</a:t>
            </a:r>
            <a:r>
              <a:rPr lang="en-US" dirty="0"/>
              <a:t> created </a:t>
            </a:r>
            <a:r>
              <a:rPr lang="en-GB" dirty="0"/>
              <a:t>a </a:t>
            </a:r>
            <a:r>
              <a:rPr lang="en-US" dirty="0"/>
              <a:t>Toolkit to help you reach your value creation objectiv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6727FD6-0702-B2CC-6E64-062AF0B6D15D}"/>
              </a:ext>
            </a:extLst>
          </p:cNvPr>
          <p:cNvGrpSpPr/>
          <p:nvPr/>
        </p:nvGrpSpPr>
        <p:grpSpPr>
          <a:xfrm>
            <a:off x="1294717" y="2215162"/>
            <a:ext cx="4010923" cy="4449451"/>
            <a:chOff x="876059" y="1538710"/>
            <a:chExt cx="4640724" cy="5148110"/>
          </a:xfrm>
        </p:grpSpPr>
        <p:sp>
          <p:nvSpPr>
            <p:cNvPr id="32" name="Shape 59118">
              <a:extLst>
                <a:ext uri="{FF2B5EF4-FFF2-40B4-BE49-F238E27FC236}">
                  <a16:creationId xmlns:a16="http://schemas.microsoft.com/office/drawing/2014/main" id="{507E91AB-4727-2A30-2D87-4F53F2D30E6E}"/>
                </a:ext>
              </a:extLst>
            </p:cNvPr>
            <p:cNvSpPr/>
            <p:nvPr/>
          </p:nvSpPr>
          <p:spPr>
            <a:xfrm>
              <a:off x="1575364" y="1538710"/>
              <a:ext cx="1595275" cy="1741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cubicBezTo>
                    <a:pt x="17695" y="40"/>
                    <a:pt x="13796" y="741"/>
                    <a:pt x="10124" y="2106"/>
                  </a:cubicBezTo>
                  <a:cubicBezTo>
                    <a:pt x="6451" y="3472"/>
                    <a:pt x="3004" y="5502"/>
                    <a:pt x="0" y="8194"/>
                  </a:cubicBezTo>
                  <a:lnTo>
                    <a:pt x="14636" y="21600"/>
                  </a:lnTo>
                  <a:cubicBezTo>
                    <a:pt x="15627" y="20789"/>
                    <a:pt x="16744" y="20179"/>
                    <a:pt x="17926" y="19771"/>
                  </a:cubicBezTo>
                  <a:cubicBezTo>
                    <a:pt x="19107" y="19363"/>
                    <a:pt x="20353" y="19158"/>
                    <a:pt x="21600" y="19158"/>
                  </a:cubicBezTo>
                  <a:lnTo>
                    <a:pt x="21600" y="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lang="en-US" sz="2400" dirty="0">
                <a:latin typeface="Lato Light" panose="020F0502020204030203" pitchFamily="34" charset="0"/>
              </a:endParaRPr>
            </a:p>
          </p:txBody>
        </p:sp>
        <p:sp>
          <p:nvSpPr>
            <p:cNvPr id="33" name="Shape 59119">
              <a:extLst>
                <a:ext uri="{FF2B5EF4-FFF2-40B4-BE49-F238E27FC236}">
                  <a16:creationId xmlns:a16="http://schemas.microsoft.com/office/drawing/2014/main" id="{864A878F-3035-4BF9-86C1-4CBC5C958D28}"/>
                </a:ext>
              </a:extLst>
            </p:cNvPr>
            <p:cNvSpPr/>
            <p:nvPr/>
          </p:nvSpPr>
          <p:spPr>
            <a:xfrm>
              <a:off x="879520" y="2242927"/>
              <a:ext cx="1748041" cy="15951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251" y="0"/>
                  </a:moveTo>
                  <a:cubicBezTo>
                    <a:pt x="5770" y="2801"/>
                    <a:pt x="3749" y="6098"/>
                    <a:pt x="2329" y="9742"/>
                  </a:cubicBezTo>
                  <a:cubicBezTo>
                    <a:pt x="909" y="13385"/>
                    <a:pt x="88" y="17377"/>
                    <a:pt x="0" y="21573"/>
                  </a:cubicBezTo>
                  <a:lnTo>
                    <a:pt x="18974" y="21600"/>
                  </a:lnTo>
                  <a:cubicBezTo>
                    <a:pt x="19085" y="20283"/>
                    <a:pt x="19372" y="19028"/>
                    <a:pt x="19808" y="17861"/>
                  </a:cubicBezTo>
                  <a:cubicBezTo>
                    <a:pt x="20255" y="16665"/>
                    <a:pt x="20861" y="15555"/>
                    <a:pt x="21600" y="14565"/>
                  </a:cubicBezTo>
                  <a:lnTo>
                    <a:pt x="8251" y="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lang="en-US" sz="2400" dirty="0">
                <a:latin typeface="Lato Light" panose="020F0502020204030203" pitchFamily="34" charset="0"/>
              </a:endParaRPr>
            </a:p>
          </p:txBody>
        </p:sp>
        <p:sp>
          <p:nvSpPr>
            <p:cNvPr id="34" name="Shape 59120">
              <a:extLst>
                <a:ext uri="{FF2B5EF4-FFF2-40B4-BE49-F238E27FC236}">
                  <a16:creationId xmlns:a16="http://schemas.microsoft.com/office/drawing/2014/main" id="{994CA33D-5029-C30F-279A-5AA73CDDF849}"/>
                </a:ext>
              </a:extLst>
            </p:cNvPr>
            <p:cNvSpPr/>
            <p:nvPr/>
          </p:nvSpPr>
          <p:spPr>
            <a:xfrm>
              <a:off x="1575364" y="4438730"/>
              <a:ext cx="1595275" cy="1741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cubicBezTo>
                    <a:pt x="17695" y="21560"/>
                    <a:pt x="13796" y="20859"/>
                    <a:pt x="10124" y="19494"/>
                  </a:cubicBezTo>
                  <a:cubicBezTo>
                    <a:pt x="6451" y="18128"/>
                    <a:pt x="3004" y="16098"/>
                    <a:pt x="0" y="13406"/>
                  </a:cubicBezTo>
                  <a:lnTo>
                    <a:pt x="14636" y="0"/>
                  </a:lnTo>
                  <a:cubicBezTo>
                    <a:pt x="15627" y="811"/>
                    <a:pt x="16744" y="1421"/>
                    <a:pt x="17926" y="1829"/>
                  </a:cubicBezTo>
                  <a:cubicBezTo>
                    <a:pt x="19107" y="2237"/>
                    <a:pt x="20353" y="2442"/>
                    <a:pt x="21600" y="2442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lang="en-US" sz="2400" dirty="0">
                <a:latin typeface="Lato Light" panose="020F0502020204030203" pitchFamily="34" charset="0"/>
              </a:endParaRPr>
            </a:p>
          </p:txBody>
        </p:sp>
        <p:sp>
          <p:nvSpPr>
            <p:cNvPr id="35" name="Shape 59121">
              <a:extLst>
                <a:ext uri="{FF2B5EF4-FFF2-40B4-BE49-F238E27FC236}">
                  <a16:creationId xmlns:a16="http://schemas.microsoft.com/office/drawing/2014/main" id="{90333B5F-C803-62E7-6B69-44702A54AFFC}"/>
                </a:ext>
              </a:extLst>
            </p:cNvPr>
            <p:cNvSpPr/>
            <p:nvPr/>
          </p:nvSpPr>
          <p:spPr>
            <a:xfrm>
              <a:off x="876059" y="3891220"/>
              <a:ext cx="1753117" cy="15951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142" y="21600"/>
                  </a:moveTo>
                  <a:cubicBezTo>
                    <a:pt x="5658" y="18808"/>
                    <a:pt x="3642" y="15510"/>
                    <a:pt x="2238" y="11858"/>
                  </a:cubicBezTo>
                  <a:cubicBezTo>
                    <a:pt x="834" y="8207"/>
                    <a:pt x="42" y="4202"/>
                    <a:pt x="0" y="0"/>
                  </a:cubicBezTo>
                  <a:lnTo>
                    <a:pt x="18834" y="0"/>
                  </a:lnTo>
                  <a:cubicBezTo>
                    <a:pt x="18902" y="1327"/>
                    <a:pt x="19193" y="2588"/>
                    <a:pt x="19666" y="3739"/>
                  </a:cubicBezTo>
                  <a:cubicBezTo>
                    <a:pt x="20140" y="4889"/>
                    <a:pt x="20798" y="5928"/>
                    <a:pt x="21600" y="6810"/>
                  </a:cubicBezTo>
                  <a:lnTo>
                    <a:pt x="8142" y="2160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lang="en-US" sz="2400" dirty="0">
                <a:latin typeface="Lato Light" panose="020F0502020204030203" pitchFamily="34" charset="0"/>
              </a:endParaRPr>
            </a:p>
          </p:txBody>
        </p:sp>
        <p:sp>
          <p:nvSpPr>
            <p:cNvPr id="36" name="Shape 59122">
              <a:extLst>
                <a:ext uri="{FF2B5EF4-FFF2-40B4-BE49-F238E27FC236}">
                  <a16:creationId xmlns:a16="http://schemas.microsoft.com/office/drawing/2014/main" id="{C5E260DC-65AB-70D6-7998-CF83EC790A79}"/>
                </a:ext>
              </a:extLst>
            </p:cNvPr>
            <p:cNvSpPr/>
            <p:nvPr/>
          </p:nvSpPr>
          <p:spPr>
            <a:xfrm flipH="1">
              <a:off x="3222203" y="1538710"/>
              <a:ext cx="1595275" cy="1741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cubicBezTo>
                    <a:pt x="17695" y="40"/>
                    <a:pt x="13796" y="741"/>
                    <a:pt x="10124" y="2106"/>
                  </a:cubicBezTo>
                  <a:cubicBezTo>
                    <a:pt x="6451" y="3472"/>
                    <a:pt x="3004" y="5502"/>
                    <a:pt x="0" y="8194"/>
                  </a:cubicBezTo>
                  <a:lnTo>
                    <a:pt x="14636" y="21600"/>
                  </a:lnTo>
                  <a:cubicBezTo>
                    <a:pt x="15627" y="20789"/>
                    <a:pt x="16744" y="20179"/>
                    <a:pt x="17926" y="19771"/>
                  </a:cubicBezTo>
                  <a:cubicBezTo>
                    <a:pt x="19107" y="19363"/>
                    <a:pt x="20353" y="19158"/>
                    <a:pt x="21600" y="19158"/>
                  </a:cubicBezTo>
                  <a:lnTo>
                    <a:pt x="21600" y="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lang="en-US" sz="2400" dirty="0">
                <a:latin typeface="Lato Light" panose="020F0502020204030203" pitchFamily="34" charset="0"/>
              </a:endParaRPr>
            </a:p>
          </p:txBody>
        </p:sp>
        <p:sp>
          <p:nvSpPr>
            <p:cNvPr id="37" name="Shape 59123">
              <a:extLst>
                <a:ext uri="{FF2B5EF4-FFF2-40B4-BE49-F238E27FC236}">
                  <a16:creationId xmlns:a16="http://schemas.microsoft.com/office/drawing/2014/main" id="{9B020927-995A-D507-4804-B4FC3B411ED8}"/>
                </a:ext>
              </a:extLst>
            </p:cNvPr>
            <p:cNvSpPr/>
            <p:nvPr/>
          </p:nvSpPr>
          <p:spPr>
            <a:xfrm flipH="1">
              <a:off x="3760387" y="2242927"/>
              <a:ext cx="1746084" cy="15951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175" y="0"/>
                  </a:moveTo>
                  <a:cubicBezTo>
                    <a:pt x="5681" y="2792"/>
                    <a:pt x="3656" y="6090"/>
                    <a:pt x="2247" y="9742"/>
                  </a:cubicBezTo>
                  <a:cubicBezTo>
                    <a:pt x="837" y="13393"/>
                    <a:pt x="42" y="17398"/>
                    <a:pt x="0" y="21600"/>
                  </a:cubicBezTo>
                  <a:lnTo>
                    <a:pt x="18910" y="21600"/>
                  </a:lnTo>
                  <a:cubicBezTo>
                    <a:pt x="18996" y="20277"/>
                    <a:pt x="19286" y="19018"/>
                    <a:pt x="19746" y="17861"/>
                  </a:cubicBezTo>
                  <a:cubicBezTo>
                    <a:pt x="20204" y="16707"/>
                    <a:pt x="20833" y="15651"/>
                    <a:pt x="21600" y="14733"/>
                  </a:cubicBezTo>
                  <a:lnTo>
                    <a:pt x="8175" y="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lang="en-US" sz="2400" dirty="0">
                <a:latin typeface="Lato Light" panose="020F0502020204030203" pitchFamily="34" charset="0"/>
              </a:endParaRPr>
            </a:p>
          </p:txBody>
        </p:sp>
        <p:sp>
          <p:nvSpPr>
            <p:cNvPr id="38" name="Shape 59124">
              <a:extLst>
                <a:ext uri="{FF2B5EF4-FFF2-40B4-BE49-F238E27FC236}">
                  <a16:creationId xmlns:a16="http://schemas.microsoft.com/office/drawing/2014/main" id="{F8BD7E52-876E-08D4-8F54-5579BB0125EE}"/>
                </a:ext>
              </a:extLst>
            </p:cNvPr>
            <p:cNvSpPr/>
            <p:nvPr/>
          </p:nvSpPr>
          <p:spPr>
            <a:xfrm flipH="1">
              <a:off x="3222203" y="4438730"/>
              <a:ext cx="1595275" cy="1741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cubicBezTo>
                    <a:pt x="17695" y="21560"/>
                    <a:pt x="13796" y="20859"/>
                    <a:pt x="10124" y="19494"/>
                  </a:cubicBezTo>
                  <a:cubicBezTo>
                    <a:pt x="6451" y="18128"/>
                    <a:pt x="3004" y="16098"/>
                    <a:pt x="0" y="13406"/>
                  </a:cubicBezTo>
                  <a:lnTo>
                    <a:pt x="14636" y="0"/>
                  </a:lnTo>
                  <a:cubicBezTo>
                    <a:pt x="15627" y="811"/>
                    <a:pt x="16744" y="1421"/>
                    <a:pt x="17926" y="1829"/>
                  </a:cubicBezTo>
                  <a:cubicBezTo>
                    <a:pt x="19107" y="2237"/>
                    <a:pt x="20353" y="2442"/>
                    <a:pt x="21600" y="2442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lang="en-US" sz="2400" dirty="0">
                <a:latin typeface="Lato Light" panose="020F0502020204030203" pitchFamily="34" charset="0"/>
              </a:endParaRPr>
            </a:p>
          </p:txBody>
        </p:sp>
        <p:sp>
          <p:nvSpPr>
            <p:cNvPr id="39" name="Shape 59125">
              <a:extLst>
                <a:ext uri="{FF2B5EF4-FFF2-40B4-BE49-F238E27FC236}">
                  <a16:creationId xmlns:a16="http://schemas.microsoft.com/office/drawing/2014/main" id="{34C2E997-304B-020C-D91A-E4F92750FF41}"/>
                </a:ext>
              </a:extLst>
            </p:cNvPr>
            <p:cNvSpPr/>
            <p:nvPr/>
          </p:nvSpPr>
          <p:spPr>
            <a:xfrm flipH="1">
              <a:off x="3773528" y="3891220"/>
              <a:ext cx="1743255" cy="15951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189" y="21600"/>
                  </a:moveTo>
                  <a:cubicBezTo>
                    <a:pt x="5690" y="18808"/>
                    <a:pt x="3662" y="15510"/>
                    <a:pt x="2250" y="11858"/>
                  </a:cubicBezTo>
                  <a:cubicBezTo>
                    <a:pt x="839" y="8207"/>
                    <a:pt x="42" y="4202"/>
                    <a:pt x="0" y="0"/>
                  </a:cubicBezTo>
                  <a:lnTo>
                    <a:pt x="18941" y="0"/>
                  </a:lnTo>
                  <a:cubicBezTo>
                    <a:pt x="19037" y="1321"/>
                    <a:pt x="19326" y="2578"/>
                    <a:pt x="19778" y="3739"/>
                  </a:cubicBezTo>
                  <a:cubicBezTo>
                    <a:pt x="20230" y="4902"/>
                    <a:pt x="20847" y="5973"/>
                    <a:pt x="21600" y="6914"/>
                  </a:cubicBezTo>
                  <a:lnTo>
                    <a:pt x="8189" y="2160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lang="en-US" sz="2400" dirty="0">
                <a:latin typeface="Lato Light" panose="020F0502020204030203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3070B26-6A06-34C4-A224-A0D750EACEFA}"/>
                </a:ext>
              </a:extLst>
            </p:cNvPr>
            <p:cNvSpPr txBox="1"/>
            <p:nvPr/>
          </p:nvSpPr>
          <p:spPr>
            <a:xfrm>
              <a:off x="3193605" y="2370576"/>
              <a:ext cx="1158512" cy="284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Frameworks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FA21893-580B-81EF-C384-A5E978590C1D}"/>
                </a:ext>
              </a:extLst>
            </p:cNvPr>
            <p:cNvSpPr txBox="1"/>
            <p:nvPr/>
          </p:nvSpPr>
          <p:spPr>
            <a:xfrm>
              <a:off x="4034713" y="3346307"/>
              <a:ext cx="1317412" cy="284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Tool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D8AC8DE-4B3B-61AC-D899-32674575AB40}"/>
                </a:ext>
              </a:extLst>
            </p:cNvPr>
            <p:cNvSpPr txBox="1"/>
            <p:nvPr/>
          </p:nvSpPr>
          <p:spPr>
            <a:xfrm>
              <a:off x="3995915" y="4544770"/>
              <a:ext cx="1317412" cy="284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Templates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93C8541-3CEB-40B1-D16E-7A6B113307C5}"/>
                </a:ext>
              </a:extLst>
            </p:cNvPr>
            <p:cNvSpPr txBox="1"/>
            <p:nvPr/>
          </p:nvSpPr>
          <p:spPr>
            <a:xfrm>
              <a:off x="3101681" y="5455438"/>
              <a:ext cx="1317412" cy="4629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ep-by-step Tutorials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0585AD6-28E0-83C0-69FD-C062B8D591A4}"/>
                </a:ext>
              </a:extLst>
            </p:cNvPr>
            <p:cNvSpPr txBox="1"/>
            <p:nvPr/>
          </p:nvSpPr>
          <p:spPr>
            <a:xfrm>
              <a:off x="1874021" y="5371702"/>
              <a:ext cx="1317412" cy="284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Video Training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637A745-4A7A-A5B7-CB86-CF150183E26E}"/>
                </a:ext>
              </a:extLst>
            </p:cNvPr>
            <p:cNvSpPr txBox="1"/>
            <p:nvPr/>
          </p:nvSpPr>
          <p:spPr>
            <a:xfrm>
              <a:off x="981336" y="4498337"/>
              <a:ext cx="1317412" cy="4629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Real-life Examples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6EAE97F-8C11-FCD2-66F4-299D20C7C460}"/>
                </a:ext>
              </a:extLst>
            </p:cNvPr>
            <p:cNvSpPr txBox="1"/>
            <p:nvPr/>
          </p:nvSpPr>
          <p:spPr>
            <a:xfrm>
              <a:off x="1912573" y="2355775"/>
              <a:ext cx="1317412" cy="284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est Practice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B51F0D2-E5EC-26B7-23F1-3C8B2D26EE8C}"/>
                </a:ext>
              </a:extLst>
            </p:cNvPr>
            <p:cNvSpPr txBox="1"/>
            <p:nvPr/>
          </p:nvSpPr>
          <p:spPr>
            <a:xfrm>
              <a:off x="911732" y="3051861"/>
              <a:ext cx="1408421" cy="819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Advice from 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tier-1 Management Consultants</a:t>
              </a: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69C9BE43-6A0C-EF9E-918B-8B8D3BC80AB9}"/>
                </a:ext>
              </a:extLst>
            </p:cNvPr>
            <p:cNvSpPr/>
            <p:nvPr/>
          </p:nvSpPr>
          <p:spPr>
            <a:xfrm>
              <a:off x="2174294" y="2860084"/>
              <a:ext cx="1980000" cy="198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b="1" dirty="0"/>
            </a:p>
          </p:txBody>
        </p:sp>
        <p:pic>
          <p:nvPicPr>
            <p:cNvPr id="49" name="Graphic 48" descr="Arrow circle">
              <a:extLst>
                <a:ext uri="{FF2B5EF4-FFF2-40B4-BE49-F238E27FC236}">
                  <a16:creationId xmlns:a16="http://schemas.microsoft.com/office/drawing/2014/main" id="{7B990492-B56E-8BD8-E2EA-A9A31C36FB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524859" y="1932870"/>
              <a:ext cx="504000" cy="504000"/>
            </a:xfrm>
            <a:prstGeom prst="rect">
              <a:avLst/>
            </a:prstGeom>
          </p:spPr>
        </p:pic>
        <p:pic>
          <p:nvPicPr>
            <p:cNvPr id="50" name="Graphic 49" descr="Tools">
              <a:extLst>
                <a:ext uri="{FF2B5EF4-FFF2-40B4-BE49-F238E27FC236}">
                  <a16:creationId xmlns:a16="http://schemas.microsoft.com/office/drawing/2014/main" id="{A9B115DA-02DE-1E92-B04F-2C76877F29B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46994" y="2851905"/>
              <a:ext cx="428393" cy="428393"/>
            </a:xfrm>
            <a:prstGeom prst="rect">
              <a:avLst/>
            </a:prstGeom>
          </p:spPr>
        </p:pic>
        <p:pic>
          <p:nvPicPr>
            <p:cNvPr id="51" name="Graphic 50" descr="Presentation with bar chart RTL">
              <a:extLst>
                <a:ext uri="{FF2B5EF4-FFF2-40B4-BE49-F238E27FC236}">
                  <a16:creationId xmlns:a16="http://schemas.microsoft.com/office/drawing/2014/main" id="{A9BE6839-426F-AFE5-1C90-DF28A0F169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431370" y="4016600"/>
              <a:ext cx="432000" cy="432000"/>
            </a:xfrm>
            <a:prstGeom prst="rect">
              <a:avLst/>
            </a:prstGeom>
          </p:spPr>
        </p:pic>
        <p:pic>
          <p:nvPicPr>
            <p:cNvPr id="52" name="Graphic 51" descr="Teacher">
              <a:extLst>
                <a:ext uri="{FF2B5EF4-FFF2-40B4-BE49-F238E27FC236}">
                  <a16:creationId xmlns:a16="http://schemas.microsoft.com/office/drawing/2014/main" id="{C3F947EF-9746-8A0B-886A-2300A96661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369499" y="4946145"/>
              <a:ext cx="432000" cy="432000"/>
            </a:xfrm>
            <a:prstGeom prst="rect">
              <a:avLst/>
            </a:prstGeom>
          </p:spPr>
        </p:pic>
        <p:pic>
          <p:nvPicPr>
            <p:cNvPr id="53" name="Graphic 52" descr="Podium">
              <a:extLst>
                <a:ext uri="{FF2B5EF4-FFF2-40B4-BE49-F238E27FC236}">
                  <a16:creationId xmlns:a16="http://schemas.microsoft.com/office/drawing/2014/main" id="{3C3A3915-23F2-6F69-8DCB-C0343929DC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2324129" y="1858815"/>
              <a:ext cx="506995" cy="506995"/>
            </a:xfrm>
            <a:prstGeom prst="rect">
              <a:avLst/>
            </a:prstGeom>
          </p:spPr>
        </p:pic>
        <p:pic>
          <p:nvPicPr>
            <p:cNvPr id="54" name="Graphic 53" descr="Checklist with solid fill">
              <a:extLst>
                <a:ext uri="{FF2B5EF4-FFF2-40B4-BE49-F238E27FC236}">
                  <a16:creationId xmlns:a16="http://schemas.microsoft.com/office/drawing/2014/main" id="{3491897B-2141-B19A-D473-6DA3D860EF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479768" y="4882325"/>
              <a:ext cx="577961" cy="577961"/>
            </a:xfrm>
            <a:prstGeom prst="rect">
              <a:avLst/>
            </a:prstGeom>
          </p:spPr>
        </p:pic>
        <p:pic>
          <p:nvPicPr>
            <p:cNvPr id="55" name="Graphic 54" descr="Customer review with solid fill">
              <a:extLst>
                <a:ext uri="{FF2B5EF4-FFF2-40B4-BE49-F238E27FC236}">
                  <a16:creationId xmlns:a16="http://schemas.microsoft.com/office/drawing/2014/main" id="{E9AD0067-6CA1-4126-11CD-69AD322FC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1388904" y="2587884"/>
              <a:ext cx="486907" cy="486907"/>
            </a:xfrm>
            <a:prstGeom prst="rect">
              <a:avLst/>
            </a:prstGeom>
          </p:spPr>
        </p:pic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38444726-E9BA-8A9C-05D6-6D8542379292}"/>
                </a:ext>
              </a:extLst>
            </p:cNvPr>
            <p:cNvGrpSpPr/>
            <p:nvPr/>
          </p:nvGrpSpPr>
          <p:grpSpPr>
            <a:xfrm>
              <a:off x="4352117" y="4097419"/>
              <a:ext cx="603238" cy="373065"/>
              <a:chOff x="579475" y="323541"/>
              <a:chExt cx="1528827" cy="945484"/>
            </a:xfrm>
          </p:grpSpPr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2CE29E14-33B4-9051-D4A2-8C7D5421F1FB}"/>
                  </a:ext>
                </a:extLst>
              </p:cNvPr>
              <p:cNvSpPr/>
              <p:nvPr/>
            </p:nvSpPr>
            <p:spPr>
              <a:xfrm>
                <a:off x="579475" y="323541"/>
                <a:ext cx="1528827" cy="945484"/>
              </a:xfrm>
              <a:prstGeom prst="rect">
                <a:avLst/>
              </a:prstGeom>
              <a:no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93E11ACC-59C0-E37B-CB03-20447D22BF0E}"/>
                  </a:ext>
                </a:extLst>
              </p:cNvPr>
              <p:cNvSpPr/>
              <p:nvPr/>
            </p:nvSpPr>
            <p:spPr>
              <a:xfrm>
                <a:off x="709723" y="457072"/>
                <a:ext cx="1268330" cy="136763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47FA06ED-3EBC-63BC-2B09-2FCE926CBB8B}"/>
                  </a:ext>
                </a:extLst>
              </p:cNvPr>
              <p:cNvSpPr/>
              <p:nvPr/>
            </p:nvSpPr>
            <p:spPr>
              <a:xfrm>
                <a:off x="709723" y="727366"/>
                <a:ext cx="543456" cy="433497"/>
              </a:xfrm>
              <a:prstGeom prst="rect">
                <a:avLst/>
              </a:prstGeom>
              <a:no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F213503F-249D-A370-FD61-124F71F768FA}"/>
                  </a:ext>
                </a:extLst>
              </p:cNvPr>
              <p:cNvSpPr/>
              <p:nvPr/>
            </p:nvSpPr>
            <p:spPr>
              <a:xfrm>
                <a:off x="1422703" y="727366"/>
                <a:ext cx="543456" cy="433497"/>
              </a:xfrm>
              <a:prstGeom prst="rect">
                <a:avLst/>
              </a:prstGeom>
              <a:no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sp>
          <p:nvSpPr>
            <p:cNvPr id="57" name="Ellipse 98">
              <a:extLst>
                <a:ext uri="{FF2B5EF4-FFF2-40B4-BE49-F238E27FC236}">
                  <a16:creationId xmlns:a16="http://schemas.microsoft.com/office/drawing/2014/main" id="{7907C555-FAB0-20D5-3934-00A46C895920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>
              <a:off x="1466015" y="6228201"/>
              <a:ext cx="3464141" cy="458619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19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en-US" sz="1400" dirty="0">
                <a:solidFill>
                  <a:srgbClr val="FFFFFF"/>
                </a:solidFill>
                <a:latin typeface="+mn-lt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8062C18-AB89-5CBD-7FB9-4782F059257E}"/>
              </a:ext>
            </a:extLst>
          </p:cNvPr>
          <p:cNvGrpSpPr/>
          <p:nvPr/>
        </p:nvGrpSpPr>
        <p:grpSpPr>
          <a:xfrm>
            <a:off x="599178" y="1686792"/>
            <a:ext cx="5127265" cy="338554"/>
            <a:chOff x="599178" y="1686792"/>
            <a:chExt cx="5127265" cy="338554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9CA760FA-8328-0E04-1AEC-1329BFAFC1C2}"/>
                </a:ext>
              </a:extLst>
            </p:cNvPr>
            <p:cNvCxnSpPr/>
            <p:nvPr/>
          </p:nvCxnSpPr>
          <p:spPr>
            <a:xfrm>
              <a:off x="627319" y="2009553"/>
              <a:ext cx="5099124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C87ED95-9981-C425-C0A5-6F200BC6AE34}"/>
                </a:ext>
              </a:extLst>
            </p:cNvPr>
            <p:cNvSpPr txBox="1"/>
            <p:nvPr/>
          </p:nvSpPr>
          <p:spPr>
            <a:xfrm>
              <a:off x="599178" y="1686792"/>
              <a:ext cx="5112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What’s inside the Toolkit?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4B3EDE2-C27D-1581-C6F5-C605790BF426}"/>
              </a:ext>
            </a:extLst>
          </p:cNvPr>
          <p:cNvGrpSpPr/>
          <p:nvPr/>
        </p:nvGrpSpPr>
        <p:grpSpPr>
          <a:xfrm>
            <a:off x="6448425" y="1687513"/>
            <a:ext cx="5127625" cy="338138"/>
            <a:chOff x="599178" y="1686792"/>
            <a:chExt cx="5127265" cy="338554"/>
          </a:xfrm>
        </p:grpSpPr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4F0606F-77E4-6BF8-23B8-D79B0B9728E9}"/>
                </a:ext>
              </a:extLst>
            </p:cNvPr>
            <p:cNvCxnSpPr/>
            <p:nvPr/>
          </p:nvCxnSpPr>
          <p:spPr>
            <a:xfrm>
              <a:off x="627319" y="2009553"/>
              <a:ext cx="5099124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629FB2E-5B05-BEB2-FDB0-F05DD6C01F9F}"/>
                </a:ext>
              </a:extLst>
            </p:cNvPr>
            <p:cNvSpPr txBox="1"/>
            <p:nvPr/>
          </p:nvSpPr>
          <p:spPr>
            <a:xfrm>
              <a:off x="599178" y="1686792"/>
              <a:ext cx="5112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Who created the Toolkit?</a:t>
              </a:r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6EF07348-B887-1E63-314E-8D5065886A79}"/>
              </a:ext>
            </a:extLst>
          </p:cNvPr>
          <p:cNvSpPr txBox="1"/>
          <p:nvPr/>
        </p:nvSpPr>
        <p:spPr>
          <a:xfrm>
            <a:off x="6434036" y="2025346"/>
            <a:ext cx="49640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he Toolkit was created </a:t>
            </a:r>
            <a:r>
              <a:rPr lang="en-GB" sz="1400" dirty="0"/>
              <a:t>by former McKinsey, Deloitte &amp; BCG management consultants.</a:t>
            </a:r>
            <a:endParaRPr lang="en-US" sz="1400" dirty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FFDDE99-5BBE-E557-167B-797A5B7AA2DC}"/>
              </a:ext>
            </a:extLst>
          </p:cNvPr>
          <p:cNvGrpSpPr/>
          <p:nvPr/>
        </p:nvGrpSpPr>
        <p:grpSpPr>
          <a:xfrm>
            <a:off x="6448425" y="3352141"/>
            <a:ext cx="5127625" cy="338138"/>
            <a:chOff x="599178" y="1686792"/>
            <a:chExt cx="5127265" cy="338554"/>
          </a:xfrm>
        </p:grpSpPr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CB4D8FF-7BE9-0311-510A-CB304A4F2467}"/>
                </a:ext>
              </a:extLst>
            </p:cNvPr>
            <p:cNvCxnSpPr/>
            <p:nvPr/>
          </p:nvCxnSpPr>
          <p:spPr>
            <a:xfrm>
              <a:off x="627319" y="2009553"/>
              <a:ext cx="5099124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466D9ACC-0AC3-9289-65AD-6EF68BB166BE}"/>
                </a:ext>
              </a:extLst>
            </p:cNvPr>
            <p:cNvSpPr txBox="1"/>
            <p:nvPr/>
          </p:nvSpPr>
          <p:spPr>
            <a:xfrm>
              <a:off x="599178" y="1686792"/>
              <a:ext cx="5112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Number of professionals leveraging our Toolkits</a:t>
              </a: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FE359F32-85A0-ACB5-DB66-C02488E95509}"/>
              </a:ext>
            </a:extLst>
          </p:cNvPr>
          <p:cNvSpPr txBox="1"/>
          <p:nvPr/>
        </p:nvSpPr>
        <p:spPr>
          <a:xfrm>
            <a:off x="6434036" y="3689974"/>
            <a:ext cx="496406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There are 200,000+ Executives, Consultants &amp; Entrepreneurs leveraging our Toolkits to improve the performance of their organization.</a:t>
            </a:r>
            <a:endParaRPr lang="en-US" sz="1400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183F95-A02F-6E62-0053-C919268175C2}"/>
              </a:ext>
            </a:extLst>
          </p:cNvPr>
          <p:cNvGrpSpPr/>
          <p:nvPr/>
        </p:nvGrpSpPr>
        <p:grpSpPr>
          <a:xfrm>
            <a:off x="6448425" y="5067028"/>
            <a:ext cx="5127625" cy="338138"/>
            <a:chOff x="599178" y="1686792"/>
            <a:chExt cx="5127265" cy="338554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7C95F68-0C65-7A10-5DB5-0AF3DD88EEDD}"/>
                </a:ext>
              </a:extLst>
            </p:cNvPr>
            <p:cNvCxnSpPr/>
            <p:nvPr/>
          </p:nvCxnSpPr>
          <p:spPr>
            <a:xfrm>
              <a:off x="627319" y="2009553"/>
              <a:ext cx="5099124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BF30535-1852-266A-AA62-8E1C596DDF4A}"/>
                </a:ext>
              </a:extLst>
            </p:cNvPr>
            <p:cNvSpPr txBox="1"/>
            <p:nvPr/>
          </p:nvSpPr>
          <p:spPr>
            <a:xfrm>
              <a:off x="599178" y="1686792"/>
              <a:ext cx="5112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b="1" dirty="0"/>
                <a:t>Trusted by small and large organizations</a:t>
              </a:r>
            </a:p>
          </p:txBody>
        </p:sp>
      </p:grpSp>
      <p:pic>
        <p:nvPicPr>
          <p:cNvPr id="19" name="Picture 2" descr="Brand logo">
            <a:extLst>
              <a:ext uri="{FF2B5EF4-FFF2-40B4-BE49-F238E27FC236}">
                <a16:creationId xmlns:a16="http://schemas.microsoft.com/office/drawing/2014/main" id="{1A420441-34F2-FAE3-5B1C-5C358B7CA8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188" y="5641752"/>
            <a:ext cx="395709" cy="395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B556060-2AA7-76B2-ED87-FC9647822972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472547" y="5682226"/>
            <a:ext cx="349218" cy="42901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73B31A3-BF1B-2658-953A-4FDFBC8356EC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198734" y="5767326"/>
            <a:ext cx="1016777" cy="34391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8D5A2CB-3C61-817E-AA34-7B0945D439B9}"/>
              </a:ext>
            </a:extLst>
          </p:cNvPr>
          <p:cNvPicPr>
            <a:picLocks noChangeAspect="1"/>
          </p:cNvPicPr>
          <p:nvPr/>
        </p:nvPicPr>
        <p:blipFill rotWithShape="1">
          <a:blip r:embed="rId24"/>
          <a:srcRect t="26410" b="21153"/>
          <a:stretch/>
        </p:blipFill>
        <p:spPr>
          <a:xfrm>
            <a:off x="9007454" y="5707948"/>
            <a:ext cx="1403640" cy="49069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887A1EC-3A21-F8AF-DB81-6E8359841D2C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642206" y="5734964"/>
            <a:ext cx="866290" cy="358698"/>
          </a:xfrm>
          <a:prstGeom prst="rect">
            <a:avLst/>
          </a:prstGeom>
        </p:spPr>
      </p:pic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0B841915-6BBA-61C7-023B-507BAD0134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E6B4B1F3-D437-9783-F897-3911110109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2929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421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Our Toolkit will help you fulfill multiple objectiv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2D27BA3-CC85-4DD2-AEDB-C22AC367D60A}"/>
              </a:ext>
            </a:extLst>
          </p:cNvPr>
          <p:cNvSpPr/>
          <p:nvPr/>
        </p:nvSpPr>
        <p:spPr>
          <a:xfrm>
            <a:off x="493155" y="1547879"/>
            <a:ext cx="11094412" cy="49192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algn="l" defTabSz="914400" eaLnBrk="1" fontAlgn="auto" latinLnBrk="0" hangingPunct="1">
              <a:spcBef>
                <a:spcPts val="4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 sz="1300" b="1" dirty="0">
                <a:solidFill>
                  <a:srgbClr val="002060"/>
                </a:solidFill>
                <a:latin typeface="Arial (Body)"/>
              </a:rPr>
              <a:t>The </a:t>
            </a:r>
            <a:r>
              <a:rPr lang="en-GB" sz="1300" b="1" dirty="0">
                <a:solidFill>
                  <a:srgbClr val="002060"/>
                </a:solidFill>
                <a:latin typeface="Arial (Body)"/>
              </a:rPr>
              <a:t>Operating Model and Organization Design Toolkit </a:t>
            </a:r>
            <a:r>
              <a:rPr lang="en-US" sz="1300" b="1" dirty="0">
                <a:solidFill>
                  <a:srgbClr val="002060"/>
                </a:solidFill>
                <a:latin typeface="Arial (Body)"/>
              </a:rPr>
              <a:t>includes frameworks, tools, templates, tutorials, real-life examples, video training, and best practices to help you:</a:t>
            </a:r>
          </a:p>
          <a:p>
            <a:pPr marL="263525" marR="0" lvl="1" indent="-1778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(Body)"/>
              </a:rPr>
              <a:t>Make your strategy happen </a:t>
            </a:r>
            <a:r>
              <a:rPr kumimoji="0" lang="en-US" sz="1300" i="0" u="none" strike="noStrike" kern="120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(Body)"/>
              </a:rPr>
              <a:t>and boost your company’s performance</a:t>
            </a:r>
          </a:p>
          <a:p>
            <a:pPr marL="263525" marR="0" lvl="1" indent="-1778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300" b="1" dirty="0">
                <a:solidFill>
                  <a:srgbClr val="002060"/>
                </a:solidFill>
                <a:latin typeface="Arial (Body)"/>
              </a:rPr>
              <a:t>S</a:t>
            </a:r>
            <a:r>
              <a:rPr kumimoji="0" lang="en-GB" sz="1300" b="1" i="0" u="none" strike="noStrike" kern="120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(Body)"/>
              </a:rPr>
              <a:t>uccessfully implement an operating model and organization design initiative </a:t>
            </a:r>
            <a:r>
              <a:rPr kumimoji="0" lang="en-GB" sz="1300" i="0" u="none" strike="noStrike" kern="120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(Body)"/>
              </a:rPr>
              <a:t>with our simple and comprehensive 7-phase approach </a:t>
            </a:r>
          </a:p>
          <a:p>
            <a:pPr marL="263525" marR="0" lvl="1" indent="-1778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300" b="1" dirty="0">
                <a:latin typeface="Arial (Body)"/>
              </a:rPr>
              <a:t>(I) Carry out your </a:t>
            </a:r>
            <a:r>
              <a:rPr kumimoji="0" lang="en-GB" sz="13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 (Body)"/>
              </a:rPr>
              <a:t>business case for</a:t>
            </a:r>
            <a:r>
              <a:rPr lang="en-GB" sz="1300" b="1" dirty="0">
                <a:latin typeface="Arial (Body)"/>
              </a:rPr>
              <a:t> </a:t>
            </a:r>
            <a:r>
              <a:rPr kumimoji="0" lang="en-GB" sz="13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 (Body)"/>
              </a:rPr>
              <a:t>change: </a:t>
            </a:r>
            <a:r>
              <a:rPr kumimoji="0" lang="en-GB" sz="130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 (Body)"/>
              </a:rPr>
              <a:t>(1) Situation, key challenge and proposed solution, (2) Project objectives and key performance indicators (KPIs), (3) Project scope, approach and team, (4) Key activities and deliverables, (5) Strategic alignment, (6) Value: project initial investment, project costs, additional revenue generated, cost savings, cash flows and net present value, (7) Ease of implementation </a:t>
            </a:r>
          </a:p>
          <a:p>
            <a:pPr marL="263525" marR="0" lvl="1" indent="-1778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1" i="0" u="none" strike="noStrike" kern="120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(Body)"/>
              </a:rPr>
              <a:t>(II) Define your operating model and organization </a:t>
            </a:r>
            <a:r>
              <a:rPr lang="en-GB" sz="1300" b="1" dirty="0">
                <a:solidFill>
                  <a:srgbClr val="002060"/>
                </a:solidFill>
                <a:latin typeface="Arial (Body)"/>
              </a:rPr>
              <a:t>d</a:t>
            </a:r>
            <a:r>
              <a:rPr kumimoji="0" lang="en-GB" sz="1300" b="1" i="0" u="none" strike="noStrike" kern="120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(Body)"/>
              </a:rPr>
              <a:t>esign: </a:t>
            </a:r>
            <a:r>
              <a:rPr kumimoji="0" lang="en-GB" sz="1300" i="0" u="none" strike="noStrike" kern="120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(Body)"/>
              </a:rPr>
              <a:t>(1) Capability management, (2) Structure and governance, (3) Culture, (4) Talent management, (5) Processes, (6) Technology, (6) Culture</a:t>
            </a:r>
            <a:endParaRPr lang="en-GB" sz="1300" dirty="0">
              <a:solidFill>
                <a:srgbClr val="002060"/>
              </a:solidFill>
              <a:latin typeface="Arial (Body)"/>
            </a:endParaRPr>
          </a:p>
          <a:p>
            <a:pPr marL="263525" marR="0" lvl="1" indent="-1778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1" i="0" u="none" strike="noStrike" kern="120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(Body)"/>
              </a:rPr>
              <a:t>(III) </a:t>
            </a:r>
            <a:r>
              <a:rPr lang="en-GB" sz="1300" b="1" dirty="0">
                <a:latin typeface="Arial (Body)"/>
              </a:rPr>
              <a:t>List your potential initiatives </a:t>
            </a:r>
            <a:r>
              <a:rPr lang="en-GB" sz="1300" dirty="0">
                <a:latin typeface="Arial (Body)"/>
              </a:rPr>
              <a:t>for each pillar</a:t>
            </a:r>
          </a:p>
          <a:p>
            <a:pPr marL="263525" lvl="1" indent="-1778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GB" sz="1300" b="1" dirty="0">
                <a:latin typeface="Arial (Body)"/>
              </a:rPr>
              <a:t>(IV) Create your business cases and financial models </a:t>
            </a:r>
            <a:r>
              <a:rPr lang="en-GB" sz="1300" dirty="0">
                <a:latin typeface="Arial (Body)"/>
              </a:rPr>
              <a:t>to assess potential initiatives</a:t>
            </a:r>
          </a:p>
          <a:p>
            <a:pPr marL="263525" lvl="1" indent="-1778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GB" sz="1300" b="1" dirty="0">
                <a:latin typeface="Arial (Body)"/>
              </a:rPr>
              <a:t>(V) Prioritize, plan and implement your projects: </a:t>
            </a:r>
            <a:r>
              <a:rPr lang="en-GB" sz="1300" dirty="0">
                <a:latin typeface="Arial (Body)"/>
              </a:rPr>
              <a:t>(1) Project prioritization, (2) Business roadmap, (3) Governance, (4) Dashboards, (5) Project implementation: agile methodology, design thinking and traditional methodology, (6) Continuous improvement (7) Post projects evaluation and lessons learnt, (8) Post program evaluation and lessons learnt</a:t>
            </a:r>
          </a:p>
          <a:p>
            <a:pPr marL="265113" marR="0" lvl="1" indent="-174625" algn="l" defTabSz="914400" eaLnBrk="1" fontAlgn="auto" latinLnBrk="0" hangingPunct="1"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300" b="1" dirty="0">
                <a:solidFill>
                  <a:srgbClr val="002060"/>
                </a:solidFill>
                <a:latin typeface="Arial (Body)"/>
              </a:rPr>
              <a:t>(VI) Define and implement your change management strategy and internal communication strategy: </a:t>
            </a:r>
            <a:r>
              <a:rPr lang="en-GB" sz="1300" dirty="0">
                <a:solidFill>
                  <a:srgbClr val="002060"/>
                </a:solidFill>
                <a:latin typeface="Arial (Body)"/>
              </a:rPr>
              <a:t>(1) Change management strategy, (2) Change management plans, (3) Implementation, tracking and progress management, (4) Effective communication</a:t>
            </a:r>
          </a:p>
          <a:p>
            <a:pPr marL="265113" marR="0" lvl="1" indent="-174625" algn="l" defTabSz="914400" eaLnBrk="1" fontAlgn="auto" latinLnBrk="0" hangingPunct="1"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300" b="1" dirty="0">
                <a:solidFill>
                  <a:srgbClr val="002060"/>
                </a:solidFill>
                <a:latin typeface="Arial (Body)"/>
              </a:rPr>
              <a:t>(VII) Engage your stakeholders effectively: </a:t>
            </a:r>
            <a:r>
              <a:rPr lang="en-GB" sz="1300" dirty="0">
                <a:solidFill>
                  <a:srgbClr val="002060"/>
                </a:solidFill>
                <a:latin typeface="Arial (Body)"/>
              </a:rPr>
              <a:t>(1) Stakeholder analysis, (2) Stakeholder engagement strategy, (3) Stakeholder engagement detailed plan</a:t>
            </a:r>
            <a:endParaRPr lang="en-US" sz="1300" dirty="0">
              <a:solidFill>
                <a:srgbClr val="002060"/>
              </a:solidFill>
              <a:latin typeface="Arial (Body)"/>
            </a:endParaRPr>
          </a:p>
          <a:p>
            <a:pPr marL="265113" marR="0" lvl="1" indent="-174625" algn="l" defTabSz="914400" eaLnBrk="1" fontAlgn="auto" latinLnBrk="0" hangingPunct="1"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300" dirty="0">
              <a:solidFill>
                <a:srgbClr val="002060"/>
              </a:solidFill>
              <a:latin typeface="Arial (Body)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8CA76AC-0E27-93F2-CD7A-3E94A53195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3F767A9-7249-A2B4-86C1-ABCEE14FA6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4445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5558AF-F507-3620-F387-A147332454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36DF99A-A951-D115-D75E-300D3138DB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0165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36DF99A-A951-D115-D75E-300D3138DB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A7E63F1C-0D16-81DD-5829-675E48179E9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400" kern="0" dirty="0"/>
              <a:t>The Operating Model and Organization Design Toolkit focuses on 6 components that will help you make your strategy happen</a:t>
            </a:r>
            <a:endParaRPr lang="en-US" sz="2400" kern="0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D493971-29C1-679E-AEF5-119DD51020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40379EE-B061-35EF-CA45-D52D8B265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BF6F9CC-EAEE-B431-9A33-1AF02B22E181}"/>
              </a:ext>
            </a:extLst>
          </p:cNvPr>
          <p:cNvSpPr/>
          <p:nvPr/>
        </p:nvSpPr>
        <p:spPr>
          <a:xfrm>
            <a:off x="1671782" y="3221080"/>
            <a:ext cx="8994499" cy="296255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50CDB0B-3416-0AFF-982C-A5B62B3AC143}"/>
              </a:ext>
            </a:extLst>
          </p:cNvPr>
          <p:cNvCxnSpPr>
            <a:cxnSpLocks/>
          </p:cNvCxnSpPr>
          <p:nvPr/>
        </p:nvCxnSpPr>
        <p:spPr>
          <a:xfrm flipH="1">
            <a:off x="1440872" y="1819563"/>
            <a:ext cx="4572002" cy="147839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315FB84-5079-84A5-7BF4-C92A64B93EEE}"/>
              </a:ext>
            </a:extLst>
          </p:cNvPr>
          <p:cNvCxnSpPr>
            <a:cxnSpLocks/>
          </p:cNvCxnSpPr>
          <p:nvPr/>
        </p:nvCxnSpPr>
        <p:spPr>
          <a:xfrm flipH="1" flipV="1">
            <a:off x="6012875" y="1819562"/>
            <a:ext cx="4884316" cy="14589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5B010C56-F58C-B336-957F-7872ACFEAE48}"/>
              </a:ext>
            </a:extLst>
          </p:cNvPr>
          <p:cNvSpPr txBox="1"/>
          <p:nvPr/>
        </p:nvSpPr>
        <p:spPr>
          <a:xfrm>
            <a:off x="3278906" y="3375309"/>
            <a:ext cx="54956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Operating Model and Organization Design</a:t>
            </a:r>
          </a:p>
          <a:p>
            <a:pPr algn="ctr"/>
            <a:r>
              <a:rPr lang="en-GB" sz="1400" dirty="0"/>
              <a:t>This is how you make your strategy happen</a:t>
            </a:r>
            <a:endParaRPr lang="en-US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4896A14-6232-CE11-7A2F-0EF51667DEAB}"/>
              </a:ext>
            </a:extLst>
          </p:cNvPr>
          <p:cNvSpPr txBox="1"/>
          <p:nvPr/>
        </p:nvSpPr>
        <p:spPr>
          <a:xfrm>
            <a:off x="5366327" y="2154327"/>
            <a:ext cx="13669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trategy</a:t>
            </a:r>
          </a:p>
        </p:txBody>
      </p:sp>
      <p:pic>
        <p:nvPicPr>
          <p:cNvPr id="8" name="Graphic 7" descr="Lightbulb and gear">
            <a:extLst>
              <a:ext uri="{FF2B5EF4-FFF2-40B4-BE49-F238E27FC236}">
                <a16:creationId xmlns:a16="http://schemas.microsoft.com/office/drawing/2014/main" id="{46FADE97-CD68-6D48-7058-3AFFA7EA20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46739" y="2462554"/>
            <a:ext cx="607798" cy="607796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98C2D79-D8C3-AAC8-7E54-1CD727892176}"/>
              </a:ext>
            </a:extLst>
          </p:cNvPr>
          <p:cNvSpPr/>
          <p:nvPr/>
        </p:nvSpPr>
        <p:spPr>
          <a:xfrm>
            <a:off x="1808894" y="4224194"/>
            <a:ext cx="2520000" cy="576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r>
              <a:rPr lang="en-US" sz="1400" b="1" dirty="0">
                <a:solidFill>
                  <a:schemeClr val="tx2"/>
                </a:solidFill>
              </a:rPr>
              <a:t>Capability Managemen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E862E71-F20C-D2C3-28B1-E98769F0CC70}"/>
              </a:ext>
            </a:extLst>
          </p:cNvPr>
          <p:cNvSpPr/>
          <p:nvPr/>
        </p:nvSpPr>
        <p:spPr>
          <a:xfrm>
            <a:off x="4836571" y="4224194"/>
            <a:ext cx="2520000" cy="576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r>
              <a:rPr lang="en-US" sz="1400" b="1" dirty="0">
                <a:solidFill>
                  <a:schemeClr val="tx2"/>
                </a:solidFill>
              </a:rPr>
              <a:t>Structure &amp; Governance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B646F9B-FDE0-589F-3497-157C24D64E79}"/>
              </a:ext>
            </a:extLst>
          </p:cNvPr>
          <p:cNvSpPr/>
          <p:nvPr/>
        </p:nvSpPr>
        <p:spPr>
          <a:xfrm>
            <a:off x="7955688" y="4224194"/>
            <a:ext cx="2520000" cy="576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r>
              <a:rPr lang="en-US" sz="1400" b="1" dirty="0">
                <a:solidFill>
                  <a:schemeClr val="tx2"/>
                </a:solidFill>
              </a:rPr>
              <a:t>Culture</a:t>
            </a:r>
          </a:p>
        </p:txBody>
      </p:sp>
      <p:pic>
        <p:nvPicPr>
          <p:cNvPr id="15" name="Graphic 14" descr="Excellent with solid fill">
            <a:extLst>
              <a:ext uri="{FF2B5EF4-FFF2-40B4-BE49-F238E27FC236}">
                <a16:creationId xmlns:a16="http://schemas.microsoft.com/office/drawing/2014/main" id="{9BFA3F09-6EAF-B20F-8ED0-87449D5923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20049" y="4304749"/>
            <a:ext cx="394722" cy="394722"/>
          </a:xfrm>
          <a:prstGeom prst="rect">
            <a:avLst/>
          </a:prstGeom>
        </p:spPr>
      </p:pic>
      <p:pic>
        <p:nvPicPr>
          <p:cNvPr id="17" name="Graphic 16" descr="Hierarchy with solid fill">
            <a:extLst>
              <a:ext uri="{FF2B5EF4-FFF2-40B4-BE49-F238E27FC236}">
                <a16:creationId xmlns:a16="http://schemas.microsoft.com/office/drawing/2014/main" id="{538C6686-B5C6-EE56-14F5-C3B3491C5CA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96784" y="4287038"/>
            <a:ext cx="458153" cy="458153"/>
          </a:xfrm>
          <a:prstGeom prst="rect">
            <a:avLst/>
          </a:prstGeom>
        </p:spPr>
      </p:pic>
      <p:pic>
        <p:nvPicPr>
          <p:cNvPr id="18" name="Graphic 17" descr="Cheers with solid fill">
            <a:extLst>
              <a:ext uri="{FF2B5EF4-FFF2-40B4-BE49-F238E27FC236}">
                <a16:creationId xmlns:a16="http://schemas.microsoft.com/office/drawing/2014/main" id="{429573B1-9BA1-6215-180C-1F1577E8A70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064042" y="4358820"/>
            <a:ext cx="353801" cy="353801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DDF3EC4-364E-9C83-EEF7-3B7E796A1989}"/>
              </a:ext>
            </a:extLst>
          </p:cNvPr>
          <p:cNvSpPr/>
          <p:nvPr/>
        </p:nvSpPr>
        <p:spPr>
          <a:xfrm>
            <a:off x="1808894" y="5200370"/>
            <a:ext cx="2520000" cy="576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r>
              <a:rPr lang="en-US" sz="1400" b="1" dirty="0">
                <a:solidFill>
                  <a:schemeClr val="tx2"/>
                </a:solidFill>
              </a:rPr>
              <a:t>Talent Development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BC2B914-7E4F-5761-E92C-887BAB286DCB}"/>
              </a:ext>
            </a:extLst>
          </p:cNvPr>
          <p:cNvSpPr/>
          <p:nvPr/>
        </p:nvSpPr>
        <p:spPr>
          <a:xfrm>
            <a:off x="4836571" y="5200370"/>
            <a:ext cx="2520000" cy="576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r>
              <a:rPr lang="en-US" sz="1400" b="1" dirty="0">
                <a:solidFill>
                  <a:schemeClr val="tx2"/>
                </a:solidFill>
              </a:rPr>
              <a:t>Processes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0D2E543-5E00-56C9-5150-43263ECD8207}"/>
              </a:ext>
            </a:extLst>
          </p:cNvPr>
          <p:cNvSpPr/>
          <p:nvPr/>
        </p:nvSpPr>
        <p:spPr>
          <a:xfrm>
            <a:off x="7955688" y="5200370"/>
            <a:ext cx="2520000" cy="576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r>
              <a:rPr lang="en-US" sz="1400" b="1" dirty="0">
                <a:solidFill>
                  <a:schemeClr val="tx2"/>
                </a:solidFill>
              </a:rPr>
              <a:t>Technology</a:t>
            </a:r>
          </a:p>
        </p:txBody>
      </p:sp>
      <p:pic>
        <p:nvPicPr>
          <p:cNvPr id="22" name="Graphic 21" descr="Users with solid fill">
            <a:extLst>
              <a:ext uri="{FF2B5EF4-FFF2-40B4-BE49-F238E27FC236}">
                <a16:creationId xmlns:a16="http://schemas.microsoft.com/office/drawing/2014/main" id="{4B9B9B4C-1F55-FEF5-EDD9-EA4820C4178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863976" y="5232751"/>
            <a:ext cx="485085" cy="485085"/>
          </a:xfrm>
          <a:prstGeom prst="rect">
            <a:avLst/>
          </a:prstGeom>
        </p:spPr>
      </p:pic>
      <p:pic>
        <p:nvPicPr>
          <p:cNvPr id="23" name="Graphic 22" descr="Workflow with solid fill">
            <a:extLst>
              <a:ext uri="{FF2B5EF4-FFF2-40B4-BE49-F238E27FC236}">
                <a16:creationId xmlns:a16="http://schemas.microsoft.com/office/drawing/2014/main" id="{07E04AA4-EA2F-D26B-334F-E7EDEF12EDC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28011" y="5275108"/>
            <a:ext cx="426926" cy="426926"/>
          </a:xfrm>
          <a:prstGeom prst="rect">
            <a:avLst/>
          </a:prstGeom>
        </p:spPr>
      </p:pic>
      <p:pic>
        <p:nvPicPr>
          <p:cNvPr id="24" name="Graphic 23" descr="Cloud Computing with solid fill">
            <a:extLst>
              <a:ext uri="{FF2B5EF4-FFF2-40B4-BE49-F238E27FC236}">
                <a16:creationId xmlns:a16="http://schemas.microsoft.com/office/drawing/2014/main" id="{23CCA375-4A9D-87E2-2B50-5F2B863885D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061325" y="5232751"/>
            <a:ext cx="457852" cy="457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2902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5887244-1866-E102-5FD5-79FA13041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3599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87244-1866-E102-5FD5-79FA13041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009DA8-0966-101B-E219-F283F194B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The Toolkit includes a 7-phase approach that we have built and refined over the past 20 years through constant trial and erro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63E3F0-E584-CAB8-E78D-4B53E6277C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3BBE21D-BAC3-6D20-D000-C42F0ED687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A7A43E85-BA7D-FC08-4F3C-0F55980E1481}"/>
              </a:ext>
            </a:extLst>
          </p:cNvPr>
          <p:cNvSpPr/>
          <p:nvPr/>
        </p:nvSpPr>
        <p:spPr>
          <a:xfrm>
            <a:off x="591671" y="1379851"/>
            <a:ext cx="10995492" cy="875889"/>
          </a:xfrm>
          <a:prstGeom prst="roundRect">
            <a:avLst>
              <a:gd name="adj" fmla="val 239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00" b="1" kern="0" dirty="0">
                <a:solidFill>
                  <a:schemeClr val="bg1">
                    <a:lumMod val="95000"/>
                  </a:schemeClr>
                </a:solidFill>
              </a:rPr>
              <a:t>I. Business Case for Change</a:t>
            </a:r>
            <a:endParaRPr lang="en-US" sz="13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0F0B0624-A434-34BB-AF7C-81FB5EF86D42}"/>
              </a:ext>
            </a:extLst>
          </p:cNvPr>
          <p:cNvSpPr/>
          <p:nvPr/>
        </p:nvSpPr>
        <p:spPr>
          <a:xfrm>
            <a:off x="591671" y="2296826"/>
            <a:ext cx="10995492" cy="3100751"/>
          </a:xfrm>
          <a:prstGeom prst="roundRect">
            <a:avLst>
              <a:gd name="adj" fmla="val 609"/>
            </a:avLst>
          </a:prstGeom>
          <a:solidFill>
            <a:srgbClr val="EBF1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00" b="1" kern="0" dirty="0">
                <a:solidFill>
                  <a:schemeClr val="tx1"/>
                </a:solidFill>
              </a:rPr>
              <a:t>II. The 6 Pillars of our Operating Model and Organization Design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4F27D601-3970-94F5-BFE6-286753CEC9BF}"/>
              </a:ext>
            </a:extLst>
          </p:cNvPr>
          <p:cNvSpPr/>
          <p:nvPr/>
        </p:nvSpPr>
        <p:spPr>
          <a:xfrm>
            <a:off x="591671" y="5677749"/>
            <a:ext cx="10995492" cy="198000"/>
          </a:xfrm>
          <a:prstGeom prst="roundRect">
            <a:avLst>
              <a:gd name="adj" fmla="val 9295"/>
            </a:avLst>
          </a:prstGeom>
          <a:solidFill>
            <a:srgbClr val="F7F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kern="0" dirty="0">
                <a:solidFill>
                  <a:schemeClr val="tx1"/>
                </a:solidFill>
              </a:rPr>
              <a:t>IV. Business Cases and Financial Models to assess Potential Initiatives</a:t>
            </a: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4289508E-2732-48E0-9EB3-43516D3FEC07}"/>
              </a:ext>
            </a:extLst>
          </p:cNvPr>
          <p:cNvSpPr/>
          <p:nvPr/>
        </p:nvSpPr>
        <p:spPr>
          <a:xfrm>
            <a:off x="591671" y="5916835"/>
            <a:ext cx="10995492" cy="198000"/>
          </a:xfrm>
          <a:prstGeom prst="roundRect">
            <a:avLst>
              <a:gd name="adj" fmla="val 9295"/>
            </a:avLst>
          </a:prstGeom>
          <a:solidFill>
            <a:srgbClr val="F7F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kern="0" dirty="0">
                <a:solidFill>
                  <a:schemeClr val="tx1"/>
                </a:solidFill>
              </a:rPr>
              <a:t>V. Project Prioritization, Business Roadmap and Implementatio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739E3E6E-4823-CA1E-BA42-693C394E36C5}"/>
              </a:ext>
            </a:extLst>
          </p:cNvPr>
          <p:cNvSpPr/>
          <p:nvPr/>
        </p:nvSpPr>
        <p:spPr>
          <a:xfrm>
            <a:off x="591671" y="6155921"/>
            <a:ext cx="10995492" cy="198000"/>
          </a:xfrm>
          <a:prstGeom prst="roundRect">
            <a:avLst>
              <a:gd name="adj" fmla="val 9295"/>
            </a:avLst>
          </a:prstGeom>
          <a:solidFill>
            <a:srgbClr val="F7F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kern="0" dirty="0">
                <a:solidFill>
                  <a:schemeClr val="tx1"/>
                </a:solidFill>
              </a:rPr>
              <a:t>VI. Change Management and Internal Communication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6F56E799-54F2-974E-2269-F082D4E741B3}"/>
              </a:ext>
            </a:extLst>
          </p:cNvPr>
          <p:cNvSpPr/>
          <p:nvPr/>
        </p:nvSpPr>
        <p:spPr>
          <a:xfrm>
            <a:off x="661046" y="1687990"/>
            <a:ext cx="1476000" cy="504000"/>
          </a:xfrm>
          <a:prstGeom prst="roundRect">
            <a:avLst>
              <a:gd name="adj" fmla="val 512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Situation, key challenge and proposed solution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315048E3-033D-8A7C-D1DE-AC2D34350848}"/>
              </a:ext>
            </a:extLst>
          </p:cNvPr>
          <p:cNvSpPr/>
          <p:nvPr/>
        </p:nvSpPr>
        <p:spPr>
          <a:xfrm>
            <a:off x="2226202" y="1687990"/>
            <a:ext cx="1476000" cy="504000"/>
          </a:xfrm>
          <a:prstGeom prst="roundRect">
            <a:avLst>
              <a:gd name="adj" fmla="val 76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ject objectives and key performance indicators (KPIs)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D5C80B47-F72D-EC8A-7B03-ABA803F4D3BC}"/>
              </a:ext>
            </a:extLst>
          </p:cNvPr>
          <p:cNvSpPr/>
          <p:nvPr/>
        </p:nvSpPr>
        <p:spPr>
          <a:xfrm>
            <a:off x="6921670" y="1687989"/>
            <a:ext cx="1476000" cy="504000"/>
          </a:xfrm>
          <a:prstGeom prst="roundRect">
            <a:avLst>
              <a:gd name="adj" fmla="val 1153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trategic 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A5472601-475C-7FF5-5CF6-B966B0124255}"/>
              </a:ext>
            </a:extLst>
          </p:cNvPr>
          <p:cNvSpPr/>
          <p:nvPr/>
        </p:nvSpPr>
        <p:spPr>
          <a:xfrm>
            <a:off x="591671" y="5438663"/>
            <a:ext cx="10995492" cy="198000"/>
          </a:xfrm>
          <a:prstGeom prst="roundRect">
            <a:avLst>
              <a:gd name="adj" fmla="val 9295"/>
            </a:avLst>
          </a:prstGeom>
          <a:solidFill>
            <a:srgbClr val="F7F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kern="0" dirty="0">
                <a:solidFill>
                  <a:schemeClr val="tx1"/>
                </a:solidFill>
              </a:rPr>
              <a:t>III. List of Potential Initiatives for each Pillar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F972E18-EF20-60C6-39B6-57C43668EF28}"/>
              </a:ext>
            </a:extLst>
          </p:cNvPr>
          <p:cNvSpPr/>
          <p:nvPr/>
        </p:nvSpPr>
        <p:spPr>
          <a:xfrm>
            <a:off x="8486826" y="1687989"/>
            <a:ext cx="1476000" cy="504000"/>
          </a:xfrm>
          <a:prstGeom prst="roundRect">
            <a:avLst>
              <a:gd name="adj" fmla="val 1153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060F8374-4DAB-62F8-798C-8EF80FD8042C}"/>
              </a:ext>
            </a:extLst>
          </p:cNvPr>
          <p:cNvSpPr/>
          <p:nvPr/>
        </p:nvSpPr>
        <p:spPr>
          <a:xfrm>
            <a:off x="10051984" y="1687989"/>
            <a:ext cx="1476000" cy="504000"/>
          </a:xfrm>
          <a:prstGeom prst="roundRect">
            <a:avLst>
              <a:gd name="adj" fmla="val 1153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ase of implementation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A44B63C5-B15C-5FA1-3FC9-B9F6225C28A9}"/>
              </a:ext>
            </a:extLst>
          </p:cNvPr>
          <p:cNvSpPr/>
          <p:nvPr/>
        </p:nvSpPr>
        <p:spPr>
          <a:xfrm>
            <a:off x="3791358" y="1687990"/>
            <a:ext cx="1476000" cy="504000"/>
          </a:xfrm>
          <a:prstGeom prst="roundRect">
            <a:avLst>
              <a:gd name="adj" fmla="val 76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Project scope, approach and team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A041EB7B-DCC8-99D6-B9F0-87F97EE1623B}"/>
              </a:ext>
            </a:extLst>
          </p:cNvPr>
          <p:cNvSpPr/>
          <p:nvPr/>
        </p:nvSpPr>
        <p:spPr>
          <a:xfrm>
            <a:off x="5356514" y="1687989"/>
            <a:ext cx="1476000" cy="504000"/>
          </a:xfrm>
          <a:prstGeom prst="roundRect">
            <a:avLst>
              <a:gd name="adj" fmla="val 1153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Key activities and deliverables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73855F5F-C472-C8DE-24B0-20E8FA03A018}"/>
              </a:ext>
            </a:extLst>
          </p:cNvPr>
          <p:cNvSpPr/>
          <p:nvPr/>
        </p:nvSpPr>
        <p:spPr>
          <a:xfrm>
            <a:off x="734474" y="2617890"/>
            <a:ext cx="3240000" cy="360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r>
              <a:rPr lang="en-US" sz="1200" b="1" dirty="0">
                <a:solidFill>
                  <a:schemeClr val="tx2"/>
                </a:solidFill>
              </a:rPr>
              <a:t>Capability Management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BAF1AA2F-4459-4EDD-B484-F18FEF1EFDBC}"/>
              </a:ext>
            </a:extLst>
          </p:cNvPr>
          <p:cNvSpPr/>
          <p:nvPr/>
        </p:nvSpPr>
        <p:spPr>
          <a:xfrm>
            <a:off x="4470811" y="2617890"/>
            <a:ext cx="3240000" cy="360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r>
              <a:rPr lang="en-US" sz="1200" b="1" dirty="0">
                <a:solidFill>
                  <a:schemeClr val="tx2"/>
                </a:solidFill>
              </a:rPr>
              <a:t>Structure &amp; Governance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E0F5D6B0-B49F-F5E9-CC18-B4BE9052C402}"/>
              </a:ext>
            </a:extLst>
          </p:cNvPr>
          <p:cNvSpPr/>
          <p:nvPr/>
        </p:nvSpPr>
        <p:spPr>
          <a:xfrm>
            <a:off x="8207148" y="2617890"/>
            <a:ext cx="3240000" cy="360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r>
              <a:rPr lang="en-US" sz="1200" b="1" dirty="0">
                <a:solidFill>
                  <a:schemeClr val="tx2"/>
                </a:solidFill>
              </a:rPr>
              <a:t>Culture</a:t>
            </a:r>
          </a:p>
        </p:txBody>
      </p:sp>
      <p:pic>
        <p:nvPicPr>
          <p:cNvPr id="87" name="Graphic 86" descr="Excellent with solid fill">
            <a:extLst>
              <a:ext uri="{FF2B5EF4-FFF2-40B4-BE49-F238E27FC236}">
                <a16:creationId xmlns:a16="http://schemas.microsoft.com/office/drawing/2014/main" id="{8CDC246F-87AD-45AA-D4F1-A795ED88FD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390" y="2657874"/>
            <a:ext cx="324287" cy="324287"/>
          </a:xfrm>
          <a:prstGeom prst="rect">
            <a:avLst/>
          </a:prstGeom>
        </p:spPr>
      </p:pic>
      <p:pic>
        <p:nvPicPr>
          <p:cNvPr id="88" name="Graphic 87" descr="Hierarchy with solid fill">
            <a:extLst>
              <a:ext uri="{FF2B5EF4-FFF2-40B4-BE49-F238E27FC236}">
                <a16:creationId xmlns:a16="http://schemas.microsoft.com/office/drawing/2014/main" id="{709A38EE-9C87-8752-C2D8-E38EF0FE37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53884" y="2635014"/>
            <a:ext cx="374517" cy="374517"/>
          </a:xfrm>
          <a:prstGeom prst="rect">
            <a:avLst/>
          </a:prstGeom>
        </p:spPr>
      </p:pic>
      <p:pic>
        <p:nvPicPr>
          <p:cNvPr id="89" name="Graphic 88" descr="Cheers with solid fill">
            <a:extLst>
              <a:ext uri="{FF2B5EF4-FFF2-40B4-BE49-F238E27FC236}">
                <a16:creationId xmlns:a16="http://schemas.microsoft.com/office/drawing/2014/main" id="{B5BA2A0E-3D4C-9E4A-DB1D-998E9AFE038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26933" y="2683937"/>
            <a:ext cx="282524" cy="282524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1AE63B57-A348-C665-343E-E47CA0258B56}"/>
              </a:ext>
            </a:extLst>
          </p:cNvPr>
          <p:cNvSpPr/>
          <p:nvPr/>
        </p:nvSpPr>
        <p:spPr>
          <a:xfrm>
            <a:off x="813211" y="2995245"/>
            <a:ext cx="3161263" cy="861774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82563" indent="-182563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en-US" sz="900" dirty="0"/>
              <a:t>The importance of capability management</a:t>
            </a:r>
          </a:p>
          <a:p>
            <a:pPr marL="182563" indent="-182563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en-US" sz="900" dirty="0"/>
              <a:t>Desired capabilities</a:t>
            </a:r>
          </a:p>
          <a:p>
            <a:pPr marL="182563" indent="-182563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en-US" sz="900" dirty="0"/>
              <a:t>Current state and target state of each desired capabilities</a:t>
            </a:r>
          </a:p>
          <a:p>
            <a:pPr marL="182563" indent="-182563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en-US" sz="900" dirty="0"/>
              <a:t>Gap analysis and action plan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276666B-CDE4-01A1-A163-F7A3A7D75520}"/>
              </a:ext>
            </a:extLst>
          </p:cNvPr>
          <p:cNvSpPr/>
          <p:nvPr/>
        </p:nvSpPr>
        <p:spPr>
          <a:xfrm>
            <a:off x="4538930" y="2995245"/>
            <a:ext cx="3161263" cy="923330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79388" indent="-179388">
              <a:buFont typeface="+mj-lt"/>
              <a:buAutoNum type="arabicPeriod"/>
              <a:defRPr/>
            </a:pPr>
            <a:r>
              <a:rPr lang="en-US" sz="900" dirty="0">
                <a:solidFill>
                  <a:srgbClr val="002776"/>
                </a:solidFill>
              </a:rPr>
              <a:t>The importance of structure &amp; governance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>
                <a:solidFill>
                  <a:srgbClr val="002776"/>
                </a:solidFill>
              </a:rPr>
              <a:t>Structure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>
                <a:solidFill>
                  <a:srgbClr val="002776"/>
                </a:solidFill>
              </a:rPr>
              <a:t>Roles and responsibilities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>
                <a:solidFill>
                  <a:srgbClr val="002776"/>
                </a:solidFill>
              </a:rPr>
              <a:t>Governance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>
                <a:solidFill>
                  <a:srgbClr val="002776"/>
                </a:solidFill>
              </a:rPr>
              <a:t>Workforce size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>
                <a:solidFill>
                  <a:srgbClr val="002776"/>
                </a:solidFill>
              </a:rPr>
              <a:t>Location mode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FC1C28D-BE5D-8F26-B37D-55C7D565C740}"/>
              </a:ext>
            </a:extLst>
          </p:cNvPr>
          <p:cNvSpPr/>
          <p:nvPr/>
        </p:nvSpPr>
        <p:spPr>
          <a:xfrm>
            <a:off x="8267844" y="2995245"/>
            <a:ext cx="3110945" cy="923330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79388" indent="-179388">
              <a:buFont typeface="+mj-lt"/>
              <a:buAutoNum type="arabicPeriod"/>
              <a:defRPr/>
            </a:pPr>
            <a:r>
              <a:rPr lang="en-US" sz="900" dirty="0"/>
              <a:t>The importance of organizational culture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/>
              <a:t>Current culture assessment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/>
              <a:t>Culture design principles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/>
              <a:t>Highest performing cultures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/>
              <a:t>Desired culture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/>
              <a:t>Action plan and progress monitoring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8F581031-3838-039F-7124-E37742039E94}"/>
              </a:ext>
            </a:extLst>
          </p:cNvPr>
          <p:cNvSpPr/>
          <p:nvPr/>
        </p:nvSpPr>
        <p:spPr>
          <a:xfrm>
            <a:off x="734474" y="3961148"/>
            <a:ext cx="3240000" cy="360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r>
              <a:rPr lang="en-US" sz="1200" b="1" dirty="0">
                <a:solidFill>
                  <a:schemeClr val="tx2"/>
                </a:solidFill>
              </a:rPr>
              <a:t>Talent Development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8A2ED13E-4ADC-A0DD-0F99-DB825CE4DE09}"/>
              </a:ext>
            </a:extLst>
          </p:cNvPr>
          <p:cNvSpPr/>
          <p:nvPr/>
        </p:nvSpPr>
        <p:spPr>
          <a:xfrm>
            <a:off x="4470811" y="3961148"/>
            <a:ext cx="3240000" cy="360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r>
              <a:rPr lang="en-US" sz="1200" b="1" dirty="0">
                <a:solidFill>
                  <a:schemeClr val="tx2"/>
                </a:solidFill>
              </a:rPr>
              <a:t>Processes</a:t>
            </a: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849B49FC-D412-3B4B-2DC9-0227DC92525D}"/>
              </a:ext>
            </a:extLst>
          </p:cNvPr>
          <p:cNvSpPr/>
          <p:nvPr/>
        </p:nvSpPr>
        <p:spPr>
          <a:xfrm>
            <a:off x="8207148" y="3961148"/>
            <a:ext cx="3240000" cy="360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r>
              <a:rPr lang="en-US" sz="1200" b="1" dirty="0">
                <a:solidFill>
                  <a:schemeClr val="tx2"/>
                </a:solidFill>
              </a:rPr>
              <a:t>Technology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46920B10-678A-71CC-B999-72B50EAC019D}"/>
              </a:ext>
            </a:extLst>
          </p:cNvPr>
          <p:cNvSpPr/>
          <p:nvPr/>
        </p:nvSpPr>
        <p:spPr>
          <a:xfrm>
            <a:off x="813212" y="4349933"/>
            <a:ext cx="3158067" cy="1051570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82563" indent="-182563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en-US" sz="900" dirty="0"/>
              <a:t>Identifying high-potential talent</a:t>
            </a:r>
          </a:p>
          <a:p>
            <a:pPr marL="182563" indent="-182563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en-US" sz="900" dirty="0"/>
              <a:t>Individual development plans</a:t>
            </a:r>
          </a:p>
          <a:p>
            <a:pPr marL="182563" indent="-182563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en-US" sz="900" dirty="0"/>
              <a:t>Forming talent pools and leadership pipelines </a:t>
            </a:r>
          </a:p>
          <a:p>
            <a:pPr marL="182563" indent="-182563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en-US" sz="900" dirty="0"/>
              <a:t>Blended learning for talent development</a:t>
            </a:r>
          </a:p>
          <a:p>
            <a:pPr marL="182563" indent="-182563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en-US" sz="900" dirty="0"/>
              <a:t>Talent mobility and career pathing</a:t>
            </a:r>
          </a:p>
          <a:p>
            <a:pPr marL="182563" indent="-182563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en-US" sz="900" dirty="0"/>
              <a:t>Employee retention strategies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EE0A99E-B5F6-3112-4045-7195728CBB32}"/>
              </a:ext>
            </a:extLst>
          </p:cNvPr>
          <p:cNvSpPr/>
          <p:nvPr/>
        </p:nvSpPr>
        <p:spPr>
          <a:xfrm>
            <a:off x="4538930" y="4349933"/>
            <a:ext cx="3161263" cy="784830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79388" indent="-179388">
              <a:buFont typeface="+mj-lt"/>
              <a:buAutoNum type="arabicPeriod"/>
              <a:defRPr/>
            </a:pPr>
            <a:r>
              <a:rPr lang="en-US" sz="900" dirty="0">
                <a:solidFill>
                  <a:srgbClr val="002776"/>
                </a:solidFill>
              </a:rPr>
              <a:t>Business process management essentials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>
                <a:solidFill>
                  <a:srgbClr val="002776"/>
                </a:solidFill>
              </a:rPr>
              <a:t>Identification of key processes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>
                <a:solidFill>
                  <a:srgbClr val="002776"/>
                </a:solidFill>
              </a:rPr>
              <a:t>Design principles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>
                <a:solidFill>
                  <a:srgbClr val="002776"/>
                </a:solidFill>
              </a:rPr>
              <a:t>Current state and target state</a:t>
            </a:r>
          </a:p>
          <a:p>
            <a:pPr marL="179388" indent="-179388">
              <a:buFont typeface="+mj-lt"/>
              <a:buAutoNum type="arabicPeriod"/>
              <a:defRPr/>
            </a:pPr>
            <a:endParaRPr lang="en-US" sz="900" dirty="0">
              <a:solidFill>
                <a:srgbClr val="002776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4AE952C-8B99-9A79-ADDB-6573541BFB92}"/>
              </a:ext>
            </a:extLst>
          </p:cNvPr>
          <p:cNvSpPr/>
          <p:nvPr/>
        </p:nvSpPr>
        <p:spPr>
          <a:xfrm>
            <a:off x="8267844" y="4349933"/>
            <a:ext cx="3110945" cy="646331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79388" indent="-179388">
              <a:buFont typeface="+mj-lt"/>
              <a:buAutoNum type="arabicPeriod"/>
              <a:defRPr/>
            </a:pPr>
            <a:r>
              <a:rPr lang="en-US" sz="900" dirty="0"/>
              <a:t>Design principles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/>
              <a:t>IT tools and systems</a:t>
            </a:r>
          </a:p>
          <a:p>
            <a:pPr marL="179388" indent="-179388">
              <a:buFont typeface="+mj-lt"/>
              <a:buAutoNum type="arabicPeriod"/>
              <a:defRPr/>
            </a:pPr>
            <a:r>
              <a:rPr lang="en-US" sz="900" dirty="0"/>
              <a:t>Technologies</a:t>
            </a:r>
          </a:p>
          <a:p>
            <a:pPr marL="179388" indent="-179388">
              <a:buFont typeface="+mj-lt"/>
              <a:buAutoNum type="arabicPeriod"/>
              <a:defRPr/>
            </a:pPr>
            <a:endParaRPr lang="en-US" sz="900" dirty="0"/>
          </a:p>
        </p:txBody>
      </p:sp>
      <p:pic>
        <p:nvPicPr>
          <p:cNvPr id="99" name="Graphic 98" descr="Users with solid fill">
            <a:extLst>
              <a:ext uri="{FF2B5EF4-FFF2-40B4-BE49-F238E27FC236}">
                <a16:creationId xmlns:a16="http://schemas.microsoft.com/office/drawing/2014/main" id="{453C4F9A-22C1-C7AF-321A-DE29C22828F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45629" y="3972481"/>
            <a:ext cx="357277" cy="357277"/>
          </a:xfrm>
          <a:prstGeom prst="rect">
            <a:avLst/>
          </a:prstGeom>
        </p:spPr>
      </p:pic>
      <p:pic>
        <p:nvPicPr>
          <p:cNvPr id="100" name="Graphic 99" descr="Workflow with solid fill">
            <a:extLst>
              <a:ext uri="{FF2B5EF4-FFF2-40B4-BE49-F238E27FC236}">
                <a16:creationId xmlns:a16="http://schemas.microsoft.com/office/drawing/2014/main" id="{76F866B5-9F3E-0137-4EEE-40AE6A41565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591859" y="3973814"/>
            <a:ext cx="345089" cy="345089"/>
          </a:xfrm>
          <a:prstGeom prst="rect">
            <a:avLst/>
          </a:prstGeom>
        </p:spPr>
      </p:pic>
      <p:pic>
        <p:nvPicPr>
          <p:cNvPr id="101" name="Graphic 100" descr="Cloud Computing with solid fill">
            <a:extLst>
              <a:ext uri="{FF2B5EF4-FFF2-40B4-BE49-F238E27FC236}">
                <a16:creationId xmlns:a16="http://schemas.microsoft.com/office/drawing/2014/main" id="{9A19DF8D-5B60-1C50-4303-215A2F8E0EE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335645" y="3970669"/>
            <a:ext cx="345089" cy="345089"/>
          </a:xfrm>
          <a:prstGeom prst="rect">
            <a:avLst/>
          </a:prstGeom>
        </p:spPr>
      </p:pic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79F5E398-C605-077C-E466-FCBB7E25C410}"/>
              </a:ext>
            </a:extLst>
          </p:cNvPr>
          <p:cNvSpPr/>
          <p:nvPr/>
        </p:nvSpPr>
        <p:spPr>
          <a:xfrm>
            <a:off x="591671" y="6395007"/>
            <a:ext cx="10995492" cy="198000"/>
          </a:xfrm>
          <a:prstGeom prst="roundRect">
            <a:avLst>
              <a:gd name="adj" fmla="val 9295"/>
            </a:avLst>
          </a:prstGeom>
          <a:solidFill>
            <a:srgbClr val="F7F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kern="0" dirty="0">
                <a:solidFill>
                  <a:schemeClr val="tx1"/>
                </a:solidFill>
              </a:rPr>
              <a:t>VII. Stakeholder Engagement</a:t>
            </a:r>
          </a:p>
        </p:txBody>
      </p:sp>
    </p:spTree>
    <p:extLst>
      <p:ext uri="{BB962C8B-B14F-4D97-AF65-F5344CB8AC3E}">
        <p14:creationId xmlns:p14="http://schemas.microsoft.com/office/powerpoint/2010/main" val="23924400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5887244-1866-E102-5FD5-79FA13041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1074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87244-1866-E102-5FD5-79FA13041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00ACA2BE-B75C-0C1C-DC2E-5287A2B056DF}"/>
              </a:ext>
            </a:extLst>
          </p:cNvPr>
          <p:cNvSpPr/>
          <p:nvPr/>
        </p:nvSpPr>
        <p:spPr>
          <a:xfrm>
            <a:off x="613321" y="1589585"/>
            <a:ext cx="10960193" cy="4915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009DA8-0966-101B-E219-F283F194BD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8916756" cy="1081710"/>
          </a:xfrm>
        </p:spPr>
        <p:txBody>
          <a:bodyPr vert="horz">
            <a:normAutofit/>
          </a:bodyPr>
          <a:lstStyle/>
          <a:p>
            <a:r>
              <a:rPr lang="en-US" dirty="0"/>
              <a:t>Small preview of the phase 1 ‘</a:t>
            </a:r>
            <a:r>
              <a:rPr lang="en-GB" dirty="0"/>
              <a:t>Business Case for Change’</a:t>
            </a:r>
            <a:r>
              <a:rPr lang="en-US" dirty="0"/>
              <a:t> </a:t>
            </a:r>
            <a:endParaRPr lang="en-US" b="0" dirty="0"/>
          </a:p>
        </p:txBody>
      </p:sp>
      <p:sp>
        <p:nvSpPr>
          <p:cNvPr id="54" name="Footer Placeholder 53">
            <a:extLst>
              <a:ext uri="{FF2B5EF4-FFF2-40B4-BE49-F238E27FC236}">
                <a16:creationId xmlns:a16="http://schemas.microsoft.com/office/drawing/2014/main" id="{8F8E7917-8A82-1FE2-AB04-78EC2E0973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omont Consulting</a:t>
            </a: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id="{1613E1FC-9173-92FF-8931-4F9A3AC48C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A94EBA5-D819-DF81-BC93-C11B7D4E50B1}"/>
              </a:ext>
            </a:extLst>
          </p:cNvPr>
          <p:cNvGrpSpPr/>
          <p:nvPr/>
        </p:nvGrpSpPr>
        <p:grpSpPr>
          <a:xfrm>
            <a:off x="9877648" y="317253"/>
            <a:ext cx="1695866" cy="1083101"/>
            <a:chOff x="9675628" y="224090"/>
            <a:chExt cx="1897886" cy="1212113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3A1DE33E-EB84-CFA3-DADE-60337BDE9DFB}"/>
                </a:ext>
              </a:extLst>
            </p:cNvPr>
            <p:cNvSpPr/>
            <p:nvPr/>
          </p:nvSpPr>
          <p:spPr>
            <a:xfrm>
              <a:off x="9675628" y="224090"/>
              <a:ext cx="1897886" cy="203651"/>
            </a:xfrm>
            <a:prstGeom prst="roundRect">
              <a:avLst>
                <a:gd name="adj" fmla="val 2394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1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67DEF38A-FD79-4818-B46C-14F237E0F9FB}"/>
                </a:ext>
              </a:extLst>
            </p:cNvPr>
            <p:cNvSpPr/>
            <p:nvPr/>
          </p:nvSpPr>
          <p:spPr>
            <a:xfrm>
              <a:off x="9675628" y="466564"/>
              <a:ext cx="1897886" cy="545319"/>
            </a:xfrm>
            <a:prstGeom prst="roundRect">
              <a:avLst>
                <a:gd name="adj" fmla="val 60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F1B5EC43-BF81-6D0E-BCB7-180E8E7435E1}"/>
                </a:ext>
              </a:extLst>
            </p:cNvPr>
            <p:cNvSpPr/>
            <p:nvPr/>
          </p:nvSpPr>
          <p:spPr>
            <a:xfrm>
              <a:off x="9675628" y="1135570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C368E3D6-2116-2E18-8725-4C5E32279F0E}"/>
                </a:ext>
              </a:extLst>
            </p:cNvPr>
            <p:cNvSpPr/>
            <p:nvPr/>
          </p:nvSpPr>
          <p:spPr>
            <a:xfrm>
              <a:off x="9675628" y="1220431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C59A6CEF-E5FE-D9D3-5D53-8E987F9A3484}"/>
                </a:ext>
              </a:extLst>
            </p:cNvPr>
            <p:cNvSpPr/>
            <p:nvPr/>
          </p:nvSpPr>
          <p:spPr>
            <a:xfrm>
              <a:off x="9675628" y="1305291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C2F24FBD-6B7F-3D3D-6095-6AA08B8EBC39}"/>
                </a:ext>
              </a:extLst>
            </p:cNvPr>
            <p:cNvSpPr/>
            <p:nvPr/>
          </p:nvSpPr>
          <p:spPr>
            <a:xfrm>
              <a:off x="9675628" y="1050710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2D01958-DB30-D0C6-971A-336E3204385F}"/>
                </a:ext>
              </a:extLst>
            </p:cNvPr>
            <p:cNvSpPr/>
            <p:nvPr/>
          </p:nvSpPr>
          <p:spPr>
            <a:xfrm>
              <a:off x="9675628" y="1390166"/>
              <a:ext cx="1897886" cy="46037"/>
            </a:xfrm>
            <a:prstGeom prst="roundRect">
              <a:avLst>
                <a:gd name="adj" fmla="val 92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kern="0" dirty="0">
                <a:solidFill>
                  <a:schemeClr val="tx1"/>
                </a:solidFill>
              </a:endParaRPr>
            </a:p>
          </p:txBody>
        </p:sp>
      </p:grp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CFBE3C49-B4E1-51BB-C14B-91B7BE9BE64B}"/>
              </a:ext>
            </a:extLst>
          </p:cNvPr>
          <p:cNvSpPr/>
          <p:nvPr/>
        </p:nvSpPr>
        <p:spPr>
          <a:xfrm>
            <a:off x="9956591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211AD12E-F78F-1B26-E53B-B6B9602DB3E3}"/>
              </a:ext>
            </a:extLst>
          </p:cNvPr>
          <p:cNvSpPr/>
          <p:nvPr/>
        </p:nvSpPr>
        <p:spPr>
          <a:xfrm>
            <a:off x="10501787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ABD95C9-0128-EFBA-C192-81BA19AA9758}"/>
              </a:ext>
            </a:extLst>
          </p:cNvPr>
          <p:cNvSpPr/>
          <p:nvPr/>
        </p:nvSpPr>
        <p:spPr>
          <a:xfrm>
            <a:off x="11046982" y="602405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75DD022F-3BD3-9106-39C7-A6D7E8EDAD4B}"/>
              </a:ext>
            </a:extLst>
          </p:cNvPr>
          <p:cNvSpPr/>
          <p:nvPr/>
        </p:nvSpPr>
        <p:spPr>
          <a:xfrm>
            <a:off x="9956591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53CCCDBE-27EB-06DE-2B77-CD64161C07D4}"/>
              </a:ext>
            </a:extLst>
          </p:cNvPr>
          <p:cNvSpPr/>
          <p:nvPr/>
        </p:nvSpPr>
        <p:spPr>
          <a:xfrm>
            <a:off x="10501787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2F117F95-3BB5-6315-0741-6C81DBD41A17}"/>
              </a:ext>
            </a:extLst>
          </p:cNvPr>
          <p:cNvSpPr/>
          <p:nvPr/>
        </p:nvSpPr>
        <p:spPr>
          <a:xfrm>
            <a:off x="11046982" y="808802"/>
            <a:ext cx="432000" cy="1379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accent1"/>
            </a:solidFill>
            <a:prstDash val="dash"/>
            <a:miter lim="800000"/>
            <a:headEnd/>
            <a:tailEnd/>
          </a:ln>
          <a:effectLst/>
        </p:spPr>
        <p:txBody>
          <a:bodyPr wrap="square" tIns="126000" bIns="91440" anchor="ctr">
            <a:noAutofit/>
          </a:bodyPr>
          <a:lstStyle/>
          <a:p>
            <a:pPr marL="446088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FD7EE931-6AD5-D45D-476B-2726384F99CA}"/>
              </a:ext>
            </a:extLst>
          </p:cNvPr>
          <p:cNvSpPr/>
          <p:nvPr/>
        </p:nvSpPr>
        <p:spPr>
          <a:xfrm>
            <a:off x="9649778" y="294574"/>
            <a:ext cx="188259" cy="20465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1F118AE-221B-0B88-9807-B395C2764C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7148" y="4139485"/>
            <a:ext cx="4087913" cy="229259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A574962-DAC7-F10D-46EC-B0214047A8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55341" y="1700957"/>
            <a:ext cx="5533610" cy="473111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C47414C-5194-F895-ADE5-3E56F59072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7148" y="1705386"/>
            <a:ext cx="4076800" cy="22932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84207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2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FF&quot; g=&quot;8E&quot; b=&quot;8D&quot;/&gt;&lt;/elem&gt;&lt;elem m_fUsage=&quot;9.00000000000000022204E-01&quot;&gt;&lt;m_msothmcolidx val=&quot;0&quot;/&gt;&lt;m_rgb r=&quot;B5&quot; g=&quot;ED&quot; b=&quot;A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sJ_uIZwbfpGgnTea6K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YJIvpWnqLvNU0KVFaU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PC3f2gZgVY9SboLNfy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MwFWYsF7UvYfkRPDc1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LOCPV1M0yDVVtpiKAY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XP1LSJmKysQgoJBj3Q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LE9WS72SqpZufFKGkeW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OshOgcz1ZkcHGw0AtB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Fj9g7Zy2LthORA4sdb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heme/theme1.xml><?xml version="1.0" encoding="utf-8"?>
<a:theme xmlns:a="http://schemas.openxmlformats.org/drawingml/2006/main" name="1_Theme3">
  <a:themeElements>
    <a:clrScheme name="Custom 1">
      <a:dk1>
        <a:srgbClr val="FFFFFF"/>
      </a:dk1>
      <a:lt1>
        <a:srgbClr val="002060"/>
      </a:lt1>
      <a:dk2>
        <a:srgbClr val="002060"/>
      </a:dk2>
      <a:lt2>
        <a:srgbClr val="002060"/>
      </a:lt2>
      <a:accent1>
        <a:srgbClr val="002060"/>
      </a:accent1>
      <a:accent2>
        <a:srgbClr val="00B0F0"/>
      </a:accent2>
      <a:accent3>
        <a:srgbClr val="00B050"/>
      </a:accent3>
      <a:accent4>
        <a:srgbClr val="92D050"/>
      </a:accent4>
      <a:accent5>
        <a:srgbClr val="FFC000"/>
      </a:accent5>
      <a:accent6>
        <a:srgbClr val="FF000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3" id="{7D1C7C3E-DDBB-4A1D-8861-A10BD3664B8D}" vid="{E1945AC1-AF09-43B9-95F3-80375804439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54</TotalTime>
  <Words>1800</Words>
  <Application>Microsoft Office PowerPoint</Application>
  <PresentationFormat>Widescreen</PresentationFormat>
  <Paragraphs>227</Paragraphs>
  <Slides>2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ＭＳ Ｐゴシック</vt:lpstr>
      <vt:lpstr>Arial</vt:lpstr>
      <vt:lpstr>Arial (Body)</vt:lpstr>
      <vt:lpstr>Calibri</vt:lpstr>
      <vt:lpstr>Helvetica</vt:lpstr>
      <vt:lpstr>Lato Light</vt:lpstr>
      <vt:lpstr>1_Theme3</vt:lpstr>
      <vt:lpstr>think-cell Slide</vt:lpstr>
      <vt:lpstr>PowerPoint Presentation</vt:lpstr>
      <vt:lpstr>Introduction</vt:lpstr>
      <vt:lpstr>Context: Having a great operating model and organization design is more important than ever</vt:lpstr>
      <vt:lpstr>Problem: Fewer than half of the reorganization efforts are successful</vt:lpstr>
      <vt:lpstr>Solution: Our ex-McKinsey, Deloitte &amp; BCG consultants created a Toolkit to help you reach your value creation objectives</vt:lpstr>
      <vt:lpstr>Our Toolkit will help you fulfill multiple objectives</vt:lpstr>
      <vt:lpstr>The Operating Model and Organization Design Toolkit focuses on 6 components that will help you make your strategy happen</vt:lpstr>
      <vt:lpstr>The Toolkit includes a 7-phase approach that we have built and refined over the past 20 years through constant trial and error</vt:lpstr>
      <vt:lpstr>Small preview of the phase 1 ‘Business Case for Change’ </vt:lpstr>
      <vt:lpstr>Small preview of the phase 2 ‘Operating Model and Organization Design 6 Pillars’ </vt:lpstr>
      <vt:lpstr>Small preview of the phase 3 ‘List of Potential Initiatives for each Pillar’</vt:lpstr>
      <vt:lpstr>Small preview of the phase 4 ‘Business cases and financial models to assess potential initiatives’</vt:lpstr>
      <vt:lpstr>Small preview of the phase 5 ‘Project Prioritization, Business Roadmap and Implementation’</vt:lpstr>
      <vt:lpstr>Small preview of the phase 6 ‘Change Management and Internal Communication’</vt:lpstr>
      <vt:lpstr>Small preview of the phase 7 ‘Stakeholder Engagement’</vt:lpstr>
      <vt:lpstr>The Toolkit includes multiple PowerPoint slides, Excel sheets and Video training that you can download on your device immediately after purchase</vt:lpstr>
      <vt:lpstr>Our Management Consulting Toolkits include 9 key benefits</vt:lpstr>
      <vt:lpstr>What our clients say about our Toolkits</vt:lpstr>
      <vt:lpstr>Join 200,000+ Executives, Consultants &amp; Entrepreneurs leveraging our Toolkits to improve the performance of their organization</vt:lpstr>
      <vt:lpstr>Interested in more than 1 Toolkit? Access all our Toolkits for half the price with our Gold Access</vt:lpstr>
      <vt:lpstr>Need additional help? Send us a brief and we’ll find you the right talent from our network of 500+ tier-1 Management Consultants</vt:lpstr>
      <vt:lpstr>This was just a small preview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257</cp:revision>
  <dcterms:created xsi:type="dcterms:W3CDTF">2020-07-08T04:44:55Z</dcterms:created>
  <dcterms:modified xsi:type="dcterms:W3CDTF">2024-02-27T00:12:20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